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8.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bookmarkIdSeed="2">
  <p:sldMasterIdLst>
    <p:sldMasterId id="2147484029" r:id="rId4"/>
    <p:sldMasterId id="2147483825" r:id="rId5"/>
    <p:sldMasterId id="2147484032" r:id="rId6"/>
    <p:sldMasterId id="2147484087" r:id="rId7"/>
    <p:sldMasterId id="2147484170" r:id="rId8"/>
    <p:sldMasterId id="2147484177" r:id="rId9"/>
    <p:sldMasterId id="2147484217" r:id="rId10"/>
    <p:sldMasterId id="2147484323" r:id="rId11"/>
    <p:sldMasterId id="2147484356" r:id="rId12"/>
  </p:sldMasterIdLst>
  <p:notesMasterIdLst>
    <p:notesMasterId r:id="rId50"/>
  </p:notesMasterIdLst>
  <p:handoutMasterIdLst>
    <p:handoutMasterId r:id="rId51"/>
  </p:handoutMasterIdLst>
  <p:sldIdLst>
    <p:sldId id="2076139012" r:id="rId13"/>
    <p:sldId id="2076138761" r:id="rId14"/>
    <p:sldId id="2076138999" r:id="rId15"/>
    <p:sldId id="2076139015" r:id="rId16"/>
    <p:sldId id="2076139010" r:id="rId17"/>
    <p:sldId id="2076138963" r:id="rId18"/>
    <p:sldId id="2076139016" r:id="rId19"/>
    <p:sldId id="2076139017" r:id="rId20"/>
    <p:sldId id="2076139013" r:id="rId21"/>
    <p:sldId id="2076139014" r:id="rId22"/>
    <p:sldId id="2076139007" r:id="rId23"/>
    <p:sldId id="2076138983" r:id="rId24"/>
    <p:sldId id="2076138919" r:id="rId25"/>
    <p:sldId id="2076138978" r:id="rId26"/>
    <p:sldId id="2076138965" r:id="rId27"/>
    <p:sldId id="2076138931" r:id="rId28"/>
    <p:sldId id="2076138908" r:id="rId29"/>
    <p:sldId id="2076139019" r:id="rId30"/>
    <p:sldId id="2076138979" r:id="rId31"/>
    <p:sldId id="2076138969" r:id="rId32"/>
    <p:sldId id="2076138985" r:id="rId33"/>
    <p:sldId id="2076138786" r:id="rId34"/>
    <p:sldId id="2076138980" r:id="rId35"/>
    <p:sldId id="2076138938" r:id="rId36"/>
    <p:sldId id="2076139004" r:id="rId37"/>
    <p:sldId id="2076139005" r:id="rId38"/>
    <p:sldId id="2076138970" r:id="rId39"/>
    <p:sldId id="2076139006" r:id="rId40"/>
    <p:sldId id="2076138971" r:id="rId41"/>
    <p:sldId id="2076138981" r:id="rId42"/>
    <p:sldId id="2076138967" r:id="rId43"/>
    <p:sldId id="2076138982" r:id="rId44"/>
    <p:sldId id="2076138966" r:id="rId45"/>
    <p:sldId id="2076138984" r:id="rId46"/>
    <p:sldId id="2076138973" r:id="rId47"/>
    <p:sldId id="2076139011" r:id="rId48"/>
    <p:sldId id="2076138974" r:id="rId49"/>
  </p:sldIdLst>
  <p:sldSz cx="12436475" cy="6994525"/>
  <p:notesSz cx="9601200" cy="15087600"/>
  <p:defaultTextStyle>
    <a:defPPr>
      <a:defRPr lang="en-US"/>
    </a:defPPr>
    <a:lvl1pPr marL="0" algn="l" defTabSz="547738" rtl="0" eaLnBrk="1" latinLnBrk="0" hangingPunct="1">
      <a:defRPr sz="2173" kern="1200">
        <a:solidFill>
          <a:schemeClr val="tx1"/>
        </a:solidFill>
        <a:latin typeface="+mn-lt"/>
        <a:ea typeface="+mn-ea"/>
        <a:cs typeface="+mn-cs"/>
      </a:defRPr>
    </a:lvl1pPr>
    <a:lvl2pPr marL="547738" algn="l" defTabSz="547738" rtl="0" eaLnBrk="1" latinLnBrk="0" hangingPunct="1">
      <a:defRPr sz="2173" kern="1200">
        <a:solidFill>
          <a:schemeClr val="tx1"/>
        </a:solidFill>
        <a:latin typeface="+mn-lt"/>
        <a:ea typeface="+mn-ea"/>
        <a:cs typeface="+mn-cs"/>
      </a:defRPr>
    </a:lvl2pPr>
    <a:lvl3pPr marL="1095474" algn="l" defTabSz="547738" rtl="0" eaLnBrk="1" latinLnBrk="0" hangingPunct="1">
      <a:defRPr sz="2173" kern="1200">
        <a:solidFill>
          <a:schemeClr val="tx1"/>
        </a:solidFill>
        <a:latin typeface="+mn-lt"/>
        <a:ea typeface="+mn-ea"/>
        <a:cs typeface="+mn-cs"/>
      </a:defRPr>
    </a:lvl3pPr>
    <a:lvl4pPr marL="1643211" algn="l" defTabSz="547738" rtl="0" eaLnBrk="1" latinLnBrk="0" hangingPunct="1">
      <a:defRPr sz="2173" kern="1200">
        <a:solidFill>
          <a:schemeClr val="tx1"/>
        </a:solidFill>
        <a:latin typeface="+mn-lt"/>
        <a:ea typeface="+mn-ea"/>
        <a:cs typeface="+mn-cs"/>
      </a:defRPr>
    </a:lvl4pPr>
    <a:lvl5pPr marL="2190948" algn="l" defTabSz="547738" rtl="0" eaLnBrk="1" latinLnBrk="0" hangingPunct="1">
      <a:defRPr sz="2173" kern="1200">
        <a:solidFill>
          <a:schemeClr val="tx1"/>
        </a:solidFill>
        <a:latin typeface="+mn-lt"/>
        <a:ea typeface="+mn-ea"/>
        <a:cs typeface="+mn-cs"/>
      </a:defRPr>
    </a:lvl5pPr>
    <a:lvl6pPr marL="2738686" algn="l" defTabSz="547738" rtl="0" eaLnBrk="1" latinLnBrk="0" hangingPunct="1">
      <a:defRPr sz="2173" kern="1200">
        <a:solidFill>
          <a:schemeClr val="tx1"/>
        </a:solidFill>
        <a:latin typeface="+mn-lt"/>
        <a:ea typeface="+mn-ea"/>
        <a:cs typeface="+mn-cs"/>
      </a:defRPr>
    </a:lvl6pPr>
    <a:lvl7pPr marL="3286423" algn="l" defTabSz="547738" rtl="0" eaLnBrk="1" latinLnBrk="0" hangingPunct="1">
      <a:defRPr sz="2173" kern="1200">
        <a:solidFill>
          <a:schemeClr val="tx1"/>
        </a:solidFill>
        <a:latin typeface="+mn-lt"/>
        <a:ea typeface="+mn-ea"/>
        <a:cs typeface="+mn-cs"/>
      </a:defRPr>
    </a:lvl7pPr>
    <a:lvl8pPr marL="3834161" algn="l" defTabSz="547738" rtl="0" eaLnBrk="1" latinLnBrk="0" hangingPunct="1">
      <a:defRPr sz="2173" kern="1200">
        <a:solidFill>
          <a:schemeClr val="tx1"/>
        </a:solidFill>
        <a:latin typeface="+mn-lt"/>
        <a:ea typeface="+mn-ea"/>
        <a:cs typeface="+mn-cs"/>
      </a:defRPr>
    </a:lvl8pPr>
    <a:lvl9pPr marL="4381896" algn="l" defTabSz="547738" rtl="0" eaLnBrk="1" latinLnBrk="0" hangingPunct="1">
      <a:defRPr sz="2173"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Learn for Educators" id="{15AFE06F-3A48-4879-9029-15286B9C4E92}">
          <p14:sldIdLst>
            <p14:sldId id="2076139012"/>
            <p14:sldId id="2076138761"/>
          </p14:sldIdLst>
        </p14:section>
        <p14:section name="Content" id="{E558AA08-5079-427F-9A56-51CD921D9939}">
          <p14:sldIdLst>
            <p14:sldId id="2076138999"/>
            <p14:sldId id="2076139015"/>
            <p14:sldId id="2076139010"/>
            <p14:sldId id="2076138963"/>
            <p14:sldId id="2076139016"/>
            <p14:sldId id="2076139017"/>
            <p14:sldId id="2076139013"/>
            <p14:sldId id="2076139014"/>
            <p14:sldId id="2076139007"/>
            <p14:sldId id="2076138983"/>
            <p14:sldId id="2076138919"/>
            <p14:sldId id="2076138978"/>
            <p14:sldId id="2076138965"/>
            <p14:sldId id="2076138931"/>
            <p14:sldId id="2076138908"/>
            <p14:sldId id="2076139019"/>
            <p14:sldId id="2076138979"/>
            <p14:sldId id="2076138969"/>
            <p14:sldId id="2076138985"/>
            <p14:sldId id="2076138786"/>
            <p14:sldId id="2076138980"/>
            <p14:sldId id="2076138938"/>
            <p14:sldId id="2076139004"/>
            <p14:sldId id="2076139005"/>
            <p14:sldId id="2076138970"/>
            <p14:sldId id="2076139006"/>
            <p14:sldId id="2076138971"/>
            <p14:sldId id="2076138981"/>
            <p14:sldId id="2076138967"/>
            <p14:sldId id="2076138982"/>
            <p14:sldId id="2076138966"/>
            <p14:sldId id="2076138984"/>
            <p14:sldId id="2076138973"/>
            <p14:sldId id="2076139011"/>
            <p14:sldId id="20761389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99"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A1A"/>
    <a:srgbClr val="026DCE"/>
    <a:srgbClr val="3C8E28"/>
    <a:srgbClr val="3C9B28"/>
    <a:srgbClr val="8661C5"/>
    <a:srgbClr val="FFCC00"/>
    <a:srgbClr val="243A5E"/>
    <a:srgbClr val="3C9428"/>
    <a:srgbClr val="F2F2F2"/>
    <a:srgbClr val="3C8928"/>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952C59-2E9A-486C-B459-B4EF19CA4C91}" v="55" dt="2021-02-11T20:07:58.946"/>
    <p1510:client id="{D78E0557-1796-4F1D-AA91-FABDA718E0C2}" v="116" dt="2021-02-12T19:39:40.064"/>
  </p1510:revLst>
</p1510:revInfo>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43" autoAdjust="0"/>
    <p:restoredTop sz="86378" autoAdjust="0"/>
  </p:normalViewPr>
  <p:slideViewPr>
    <p:cSldViewPr snapToGrid="0">
      <p:cViewPr varScale="1">
        <p:scale>
          <a:sx n="73" d="100"/>
          <a:sy n="73" d="100"/>
        </p:scale>
        <p:origin x="33" y="396"/>
      </p:cViewPr>
      <p:guideLst/>
    </p:cSldViewPr>
  </p:slideViewPr>
  <p:outlineViewPr>
    <p:cViewPr>
      <p:scale>
        <a:sx n="33" d="100"/>
        <a:sy n="33" d="100"/>
      </p:scale>
      <p:origin x="0" y="-41520"/>
    </p:cViewPr>
  </p:outlineViewPr>
  <p:notesTextViewPr>
    <p:cViewPr>
      <p:scale>
        <a:sx n="1" d="1"/>
        <a:sy n="1" d="1"/>
      </p:scale>
      <p:origin x="0" y="0"/>
    </p:cViewPr>
  </p:notesTextViewPr>
  <p:sorterViewPr>
    <p:cViewPr>
      <p:scale>
        <a:sx n="130" d="100"/>
        <a:sy n="13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838" cy="755650"/>
          </a:xfrm>
          <a:prstGeom prst="rect">
            <a:avLst/>
          </a:prstGeom>
        </p:spPr>
        <p:txBody>
          <a:bodyPr vert="horz" lIns="91440" tIns="45720" rIns="91440" bIns="45720" rtlCol="0"/>
          <a:lstStyle>
            <a:lvl1pPr algn="l">
              <a:defRPr sz="1200"/>
            </a:lvl1pPr>
          </a:lstStyle>
          <a:p>
            <a:endParaRPr lang="en-US">
              <a:latin typeface="Segoe UI" panose="020B0502040204020203" pitchFamily="34" charset="0"/>
              <a:cs typeface="Segoe UI" panose="020B0502040204020203" pitchFamily="34" charset="0"/>
            </a:endParaRPr>
          </a:p>
        </p:txBody>
      </p:sp>
      <p:sp>
        <p:nvSpPr>
          <p:cNvPr id="3" name="Date Placeholder 2"/>
          <p:cNvSpPr>
            <a:spLocks noGrp="1"/>
          </p:cNvSpPr>
          <p:nvPr>
            <p:ph type="dt" sz="quarter" idx="1"/>
          </p:nvPr>
        </p:nvSpPr>
        <p:spPr>
          <a:xfrm>
            <a:off x="5438775" y="0"/>
            <a:ext cx="4160838" cy="755650"/>
          </a:xfrm>
          <a:prstGeom prst="rect">
            <a:avLst/>
          </a:prstGeom>
        </p:spPr>
        <p:txBody>
          <a:bodyPr vert="horz" lIns="91440" tIns="45720" rIns="91440" bIns="45720" rtlCol="0"/>
          <a:lstStyle>
            <a:lvl1pPr algn="r">
              <a:defRPr sz="1200"/>
            </a:lvl1pPr>
          </a:lstStyle>
          <a:p>
            <a:fld id="{270A2F2F-CFF9-4CE5-ABD8-D4B170FC8863}" type="datetimeFigureOut">
              <a:rPr lang="en-US" smtClean="0">
                <a:latin typeface="Segoe UI" panose="020B0502040204020203" pitchFamily="34" charset="0"/>
                <a:cs typeface="Segoe UI" panose="020B0502040204020203" pitchFamily="34" charset="0"/>
              </a:rPr>
              <a:t>2/12/2021</a:t>
            </a:fld>
            <a:endParaRPr lang="en-US">
              <a:latin typeface="Segoe UI" panose="020B0502040204020203" pitchFamily="34" charset="0"/>
              <a:cs typeface="Segoe UI" panose="020B0502040204020203" pitchFamily="34" charset="0"/>
            </a:endParaRPr>
          </a:p>
        </p:txBody>
      </p:sp>
      <p:sp>
        <p:nvSpPr>
          <p:cNvPr id="4" name="Footer Placeholder 3"/>
          <p:cNvSpPr>
            <a:spLocks noGrp="1"/>
          </p:cNvSpPr>
          <p:nvPr>
            <p:ph type="ftr" sz="quarter" idx="2"/>
          </p:nvPr>
        </p:nvSpPr>
        <p:spPr>
          <a:xfrm>
            <a:off x="0" y="14331950"/>
            <a:ext cx="4160838" cy="755650"/>
          </a:xfrm>
          <a:prstGeom prst="rect">
            <a:avLst/>
          </a:prstGeom>
        </p:spPr>
        <p:txBody>
          <a:bodyPr vert="horz" lIns="91440" tIns="45720" rIns="91440" bIns="45720" rtlCol="0" anchor="b"/>
          <a:lstStyle>
            <a:lvl1pPr algn="l">
              <a:defRPr sz="1200"/>
            </a:lvl1pPr>
          </a:lstStyle>
          <a:p>
            <a:endParaRPr lang="en-US">
              <a:latin typeface="Segoe UI" panose="020B0502040204020203" pitchFamily="34" charset="0"/>
              <a:cs typeface="Segoe UI" panose="020B0502040204020203" pitchFamily="34" charset="0"/>
            </a:endParaRPr>
          </a:p>
        </p:txBody>
      </p:sp>
      <p:sp>
        <p:nvSpPr>
          <p:cNvPr id="5" name="Slide Number Placeholder 4"/>
          <p:cNvSpPr>
            <a:spLocks noGrp="1"/>
          </p:cNvSpPr>
          <p:nvPr>
            <p:ph type="sldNum" sz="quarter" idx="3"/>
          </p:nvPr>
        </p:nvSpPr>
        <p:spPr>
          <a:xfrm>
            <a:off x="5438775" y="14331950"/>
            <a:ext cx="4160838" cy="755650"/>
          </a:xfrm>
          <a:prstGeom prst="rect">
            <a:avLst/>
          </a:prstGeom>
        </p:spPr>
        <p:txBody>
          <a:bodyPr vert="horz" lIns="91440" tIns="45720" rIns="91440" bIns="45720" rtlCol="0" anchor="b"/>
          <a:lstStyle>
            <a:lvl1pPr algn="r">
              <a:defRPr sz="1200"/>
            </a:lvl1pPr>
          </a:lstStyle>
          <a:p>
            <a:fld id="{8576D46E-833B-4FD2-820F-33C140C6C5BA}" type="slidenum">
              <a:rPr lang="en-US" smtClean="0">
                <a:latin typeface="Segoe UI" panose="020B0502040204020203" pitchFamily="34" charset="0"/>
                <a:cs typeface="Segoe UI" panose="020B0502040204020203" pitchFamily="34" charset="0"/>
              </a:rPr>
              <a:t>‹#›</a:t>
            </a:fld>
            <a:endParaRPr lang="en-US">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66436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520" cy="754380"/>
          </a:xfrm>
          <a:prstGeom prst="rect">
            <a:avLst/>
          </a:prstGeom>
        </p:spPr>
        <p:txBody>
          <a:bodyPr vert="horz" lIns="141067" tIns="70534" rIns="141067" bIns="70534" rtlCol="0"/>
          <a:lstStyle>
            <a:lvl1pPr algn="l">
              <a:defRPr sz="1900">
                <a:latin typeface="Segoe UI" panose="020B0502040204020203" pitchFamily="34" charset="0"/>
                <a:cs typeface="Segoe UI" panose="020B0502040204020203" pitchFamily="34" charset="0"/>
              </a:defRPr>
            </a:lvl1pPr>
          </a:lstStyle>
          <a:p>
            <a:endParaRPr lang="en-US"/>
          </a:p>
        </p:txBody>
      </p:sp>
      <p:sp>
        <p:nvSpPr>
          <p:cNvPr id="3" name="Date Placeholder 2"/>
          <p:cNvSpPr>
            <a:spLocks noGrp="1"/>
          </p:cNvSpPr>
          <p:nvPr>
            <p:ph type="dt" idx="1"/>
          </p:nvPr>
        </p:nvSpPr>
        <p:spPr>
          <a:xfrm>
            <a:off x="5438458" y="0"/>
            <a:ext cx="4160520" cy="754380"/>
          </a:xfrm>
          <a:prstGeom prst="rect">
            <a:avLst/>
          </a:prstGeom>
        </p:spPr>
        <p:txBody>
          <a:bodyPr vert="horz" lIns="141067" tIns="70534" rIns="141067" bIns="70534" rtlCol="0"/>
          <a:lstStyle>
            <a:lvl1pPr algn="r">
              <a:defRPr sz="1900">
                <a:latin typeface="Segoe UI" panose="020B0502040204020203" pitchFamily="34" charset="0"/>
                <a:cs typeface="Segoe UI" panose="020B0502040204020203" pitchFamily="34" charset="0"/>
              </a:defRPr>
            </a:lvl1pPr>
          </a:lstStyle>
          <a:p>
            <a:fld id="{8CEAF84F-AE06-7C4B-81DA-C19B1498DB6D}" type="datetimeFigureOut">
              <a:rPr lang="en-US" smtClean="0"/>
              <a:pPr/>
              <a:t>2/12/2021</a:t>
            </a:fld>
            <a:endParaRPr lang="en-US"/>
          </a:p>
        </p:txBody>
      </p:sp>
      <p:sp>
        <p:nvSpPr>
          <p:cNvPr id="4" name="Slide Image Placeholder 3"/>
          <p:cNvSpPr>
            <a:spLocks noGrp="1" noRot="1" noChangeAspect="1"/>
          </p:cNvSpPr>
          <p:nvPr>
            <p:ph type="sldImg" idx="2"/>
          </p:nvPr>
        </p:nvSpPr>
        <p:spPr>
          <a:xfrm>
            <a:off x="960120" y="2469198"/>
            <a:ext cx="7680960" cy="4320540"/>
          </a:xfrm>
          <a:prstGeom prst="rect">
            <a:avLst/>
          </a:prstGeom>
          <a:noFill/>
          <a:ln w="12700">
            <a:solidFill>
              <a:prstClr val="black"/>
            </a:solidFill>
          </a:ln>
        </p:spPr>
        <p:txBody>
          <a:bodyPr vert="horz" lIns="141067" tIns="70534" rIns="141067" bIns="70534" rtlCol="0" anchor="ctr"/>
          <a:lstStyle/>
          <a:p>
            <a:endParaRPr lang="en-US"/>
          </a:p>
        </p:txBody>
      </p:sp>
      <p:sp>
        <p:nvSpPr>
          <p:cNvPr id="5" name="Notes Placeholder 4"/>
          <p:cNvSpPr>
            <a:spLocks noGrp="1"/>
          </p:cNvSpPr>
          <p:nvPr>
            <p:ph type="body" sz="quarter" idx="3"/>
          </p:nvPr>
        </p:nvSpPr>
        <p:spPr>
          <a:xfrm>
            <a:off x="960120" y="7166610"/>
            <a:ext cx="7680960" cy="6789420"/>
          </a:xfrm>
          <a:prstGeom prst="rect">
            <a:avLst/>
          </a:prstGeom>
        </p:spPr>
        <p:txBody>
          <a:bodyPr vert="horz" lIns="141067" tIns="70534" rIns="141067" bIns="7053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4330602"/>
            <a:ext cx="4160520" cy="754380"/>
          </a:xfrm>
          <a:prstGeom prst="rect">
            <a:avLst/>
          </a:prstGeom>
        </p:spPr>
        <p:txBody>
          <a:bodyPr vert="horz" lIns="141067" tIns="70534" rIns="141067" bIns="70534" rtlCol="0" anchor="b"/>
          <a:lstStyle>
            <a:lvl1pPr algn="l">
              <a:defRPr sz="1900">
                <a:latin typeface="Segoe UI" panose="020B0502040204020203" pitchFamily="34" charset="0"/>
                <a:cs typeface="Segoe UI" panose="020B0502040204020203" pitchFamily="34" charset="0"/>
              </a:defRPr>
            </a:lvl1pPr>
          </a:lstStyle>
          <a:p>
            <a:endParaRPr lang="en-US"/>
          </a:p>
        </p:txBody>
      </p:sp>
      <p:sp>
        <p:nvSpPr>
          <p:cNvPr id="7" name="Slide Number Placeholder 6"/>
          <p:cNvSpPr>
            <a:spLocks noGrp="1"/>
          </p:cNvSpPr>
          <p:nvPr>
            <p:ph type="sldNum" sz="quarter" idx="5"/>
          </p:nvPr>
        </p:nvSpPr>
        <p:spPr>
          <a:xfrm>
            <a:off x="5438458" y="14330602"/>
            <a:ext cx="4160520" cy="754380"/>
          </a:xfrm>
          <a:prstGeom prst="rect">
            <a:avLst/>
          </a:prstGeom>
        </p:spPr>
        <p:txBody>
          <a:bodyPr vert="horz" lIns="141067" tIns="70534" rIns="141067" bIns="70534" rtlCol="0" anchor="b"/>
          <a:lstStyle>
            <a:lvl1pPr algn="r">
              <a:defRPr sz="1900">
                <a:latin typeface="Segoe UI" panose="020B0502040204020203" pitchFamily="34" charset="0"/>
                <a:cs typeface="Segoe UI" panose="020B0502040204020203" pitchFamily="34" charset="0"/>
              </a:defRPr>
            </a:lvl1pPr>
          </a:lstStyle>
          <a:p>
            <a:fld id="{AF7A91F6-C84C-D54B-9DE1-2A2DF49EE04F}" type="slidenum">
              <a:rPr lang="en-US" smtClean="0"/>
              <a:pPr/>
              <a:t>‹#›</a:t>
            </a:fld>
            <a:endParaRPr lang="en-US"/>
          </a:p>
        </p:txBody>
      </p:sp>
    </p:spTree>
    <p:extLst>
      <p:ext uri="{BB962C8B-B14F-4D97-AF65-F5344CB8AC3E}">
        <p14:creationId xmlns:p14="http://schemas.microsoft.com/office/powerpoint/2010/main" val="1762081424"/>
      </p:ext>
    </p:extLst>
  </p:cSld>
  <p:clrMap bg1="lt1" tx1="dk1" bg2="lt2" tx2="dk2" accent1="accent1" accent2="accent2" accent3="accent3" accent4="accent4" accent5="accent5" accent6="accent6" hlink="hlink" folHlink="folHlink"/>
  <p:notesStyle>
    <a:lvl1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2pPr>
    <a:lvl3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3pPr>
    <a:lvl4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4pPr>
    <a:lvl5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5pPr>
    <a:lvl6pPr marL="2738686" algn="l" defTabSz="547738" rtl="0" eaLnBrk="1" latinLnBrk="0" hangingPunct="1">
      <a:defRPr sz="1423" kern="1200">
        <a:solidFill>
          <a:schemeClr val="tx1"/>
        </a:solidFill>
        <a:latin typeface="+mn-lt"/>
        <a:ea typeface="+mn-ea"/>
        <a:cs typeface="+mn-cs"/>
      </a:defRPr>
    </a:lvl6pPr>
    <a:lvl7pPr marL="3286423" algn="l" defTabSz="547738" rtl="0" eaLnBrk="1" latinLnBrk="0" hangingPunct="1">
      <a:defRPr sz="1423" kern="1200">
        <a:solidFill>
          <a:schemeClr val="tx1"/>
        </a:solidFill>
        <a:latin typeface="+mn-lt"/>
        <a:ea typeface="+mn-ea"/>
        <a:cs typeface="+mn-cs"/>
      </a:defRPr>
    </a:lvl7pPr>
    <a:lvl8pPr marL="3834161" algn="l" defTabSz="547738" rtl="0" eaLnBrk="1" latinLnBrk="0" hangingPunct="1">
      <a:defRPr sz="1423" kern="1200">
        <a:solidFill>
          <a:schemeClr val="tx1"/>
        </a:solidFill>
        <a:latin typeface="+mn-lt"/>
        <a:ea typeface="+mn-ea"/>
        <a:cs typeface="+mn-cs"/>
      </a:defRPr>
    </a:lvl8pPr>
    <a:lvl9pPr marL="4381896" algn="l" defTabSz="547738" rtl="0" eaLnBrk="1" latinLnBrk="0" hangingPunct="1">
      <a:defRPr sz="142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learn%2Fpaths%2Fazure-fundamentals%2F&amp;data=04%7C01%7CCAROLINE.MCGRATH%40microsoft.com%7C3dd9d6fc843e4b4f85db08d875e09b85%7C72f988bf86f141af91ab2d7cd011db47%7C1%7C0%7C637388954828252317%7CUnknown%7CTWFpbGZsb3d8eyJWIjoiMC4wLjAwMDAiLCJQIjoiV2luMzIiLCJBTiI6Ik1haWwiLCJXVCI6Mn0%3D%7C1000&amp;sdata=7vQZA30%2Bv2bvLGLDnGSnyOn%2BS8QLN9hHhi87vBlYrn0%3D&amp;reserved=0"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105289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DB4EEE-C0E4-480C-94FF-08B17096B5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1717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1787551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DB4EEE-C0E4-480C-94FF-08B17096B5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686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2529047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3114015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38300881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40378361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2268325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12305998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2992377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10254124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40519715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32257364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2531847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dirty="0"/>
              <a:t>Azure Blog: https://azure.microsoft.com/en-us/blog/ </a:t>
            </a:r>
          </a:p>
          <a:p>
            <a:r>
              <a:rPr lang="en-US" dirty="0"/>
              <a:t>Channel 9: https://channel9.msdn.com/</a:t>
            </a:r>
          </a:p>
          <a:p>
            <a:r>
              <a:rPr lang="en-US" dirty="0"/>
              <a:t>Microsoft Docs: https://docs.microsoft.com/en-us/azure/</a:t>
            </a:r>
          </a:p>
          <a:p>
            <a:r>
              <a:rPr lang="en-US" dirty="0"/>
              <a:t>Azure Architecture Centre: https://docs.microsoft.com/en-us/azure/architecture/</a:t>
            </a:r>
          </a:p>
          <a:p>
            <a:r>
              <a:rPr lang="en-US" dirty="0"/>
              <a:t>Github Repo: https://github.com/MicrosoftDocs/</a:t>
            </a:r>
          </a:p>
          <a:p>
            <a:r>
              <a:rPr lang="en-US" dirty="0"/>
              <a:t>Exam: https://docs.microsoft.com/en-us/learn/certifications/exams/az-900</a:t>
            </a:r>
          </a:p>
          <a:p>
            <a:r>
              <a:rPr lang="en-US" dirty="0"/>
              <a:t>Microsoft Learn for Educators: https://docs.microsoft.com/en-us/learn/support/educator-resources</a:t>
            </a:r>
          </a:p>
          <a:p>
            <a:r>
              <a:rPr lang="en-US" dirty="0"/>
              <a:t>Azure Community Support: https://azure.microsoft.com/en-us/support/commun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DB4EEE-C0E4-480C-94FF-08B17096B5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8357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DB4EEE-C0E4-480C-94FF-08B17096B5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33136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A91F6-C84C-D54B-9DE1-2A2DF49EE04F}" type="slidenum">
              <a:rPr lang="en-US" smtClean="0"/>
              <a:pPr/>
              <a:t>36</a:t>
            </a:fld>
            <a:endParaRPr lang="en-US"/>
          </a:p>
        </p:txBody>
      </p:sp>
    </p:spTree>
    <p:extLst>
      <p:ext uri="{BB962C8B-B14F-4D97-AF65-F5344CB8AC3E}">
        <p14:creationId xmlns:p14="http://schemas.microsoft.com/office/powerpoint/2010/main" val="4044962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2094537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A91F6-C84C-D54B-9DE1-2A2DF49EE04F}" type="slidenum">
              <a:rPr lang="en-US" smtClean="0"/>
              <a:pPr/>
              <a:t>5</a:t>
            </a:fld>
            <a:endParaRPr lang="en-US"/>
          </a:p>
        </p:txBody>
      </p:sp>
    </p:spTree>
    <p:extLst>
      <p:ext uri="{BB962C8B-B14F-4D97-AF65-F5344CB8AC3E}">
        <p14:creationId xmlns:p14="http://schemas.microsoft.com/office/powerpoint/2010/main" val="2117255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A91F6-C84C-D54B-9DE1-2A2DF49EE04F}" type="slidenum">
              <a:rPr lang="en-US" smtClean="0"/>
              <a:pPr/>
              <a:t>8</a:t>
            </a:fld>
            <a:endParaRPr lang="en-US"/>
          </a:p>
        </p:txBody>
      </p:sp>
    </p:spTree>
    <p:extLst>
      <p:ext uri="{BB962C8B-B14F-4D97-AF65-F5344CB8AC3E}">
        <p14:creationId xmlns:p14="http://schemas.microsoft.com/office/powerpoint/2010/main" val="2818465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A91F6-C84C-D54B-9DE1-2A2DF49EE04F}" type="slidenum">
              <a:rPr lang="en-US" smtClean="0"/>
              <a:pPr/>
              <a:t>9</a:t>
            </a:fld>
            <a:endParaRPr lang="en-US"/>
          </a:p>
        </p:txBody>
      </p:sp>
    </p:spTree>
    <p:extLst>
      <p:ext uri="{BB962C8B-B14F-4D97-AF65-F5344CB8AC3E}">
        <p14:creationId xmlns:p14="http://schemas.microsoft.com/office/powerpoint/2010/main" val="1605556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2495916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marR="0" lvl="0" indent="0" defTabSz="951028"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1600" b="1" dirty="0">
                <a:gradFill>
                  <a:gsLst>
                    <a:gs pos="2917">
                      <a:srgbClr val="1A1A1A"/>
                    </a:gs>
                    <a:gs pos="30000">
                      <a:srgbClr val="1A1A1A"/>
                    </a:gs>
                  </a:gsLst>
                  <a:lin ang="5400000" scaled="0"/>
                </a:gradFill>
                <a:latin typeface="Segoe UI"/>
                <a:ea typeface="Segoe UI" pitchFamily="34" charset="0"/>
                <a:cs typeface="Segoe UI" pitchFamily="34" charset="0"/>
              </a:rPr>
              <a:t>FAQs</a:t>
            </a:r>
          </a:p>
          <a:p>
            <a:pPr marL="285750" marR="0" indent="-285750">
              <a:spcBef>
                <a:spcPts val="0"/>
              </a:spcBef>
              <a:spcAft>
                <a:spcPts val="0"/>
              </a:spcAft>
              <a:buFont typeface="Arial" panose="020B0604020202020204" pitchFamily="34" charset="0"/>
              <a:buChar char="•"/>
            </a:pPr>
            <a:r>
              <a:rPr kumimoji="0" lang="en-US" sz="1600" b="0" i="0" u="none" strike="noStrike" kern="1200" cap="none" spc="0" normalizeH="0" baseline="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What if I run out of credits? </a:t>
            </a:r>
            <a:r>
              <a:rPr kumimoji="0" lang="en-US" sz="1600" b="0" i="0" u="none" strike="noStrike" kern="1200" cap="none" spc="0" normalizeH="0" baseline="0" dirty="0">
                <a:ln>
                  <a:noFill/>
                </a:ln>
                <a:gradFill>
                  <a:gsLst>
                    <a:gs pos="2917">
                      <a:srgbClr val="1A1A1A"/>
                    </a:gs>
                    <a:gs pos="30000">
                      <a:srgbClr val="1A1A1A"/>
                    </a:gs>
                  </a:gsLst>
                  <a:lin ang="5400000" scaled="0"/>
                </a:gradFill>
                <a:effectLst/>
                <a:uLnTx/>
                <a:uFillTx/>
                <a:latin typeface="Calibri" panose="020F0502020204030204" pitchFamily="34" charset="0"/>
                <a:ea typeface="Segoe UI" pitchFamily="34" charset="0"/>
                <a:cs typeface="Segoe UI" pitchFamily="34" charset="0"/>
              </a:rPr>
              <a:t>R</a:t>
            </a:r>
            <a:r>
              <a:rPr lang="en-US" sz="1600" dirty="0">
                <a:effectLst/>
                <a:latin typeface="Calibri" panose="020F0502020204030204" pitchFamily="34" charset="0"/>
                <a:ea typeface="Calibri" panose="020F0502020204030204" pitchFamily="34" charset="0"/>
              </a:rPr>
              <a:t>each out to your Microsoft contact to understand options available to your institution.</a:t>
            </a:r>
            <a:endParaRPr kumimoji="0" lang="en-US" sz="1400" b="0" i="0" u="none" strike="noStrike" kern="1200" cap="none" spc="0" normalizeH="0" baseline="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a:p>
            <a:pPr marL="285750" marR="0" indent="-285750">
              <a:spcBef>
                <a:spcPts val="0"/>
              </a:spcBef>
              <a:spcAft>
                <a:spcPts val="0"/>
              </a:spcAft>
              <a:buFont typeface="Arial" panose="020B0604020202020204" pitchFamily="34" charset="0"/>
              <a:buChar char="•"/>
            </a:pPr>
            <a:r>
              <a:rPr lang="en-US" sz="1600" dirty="0">
                <a:gradFill>
                  <a:gsLst>
                    <a:gs pos="2917">
                      <a:srgbClr val="1A1A1A"/>
                    </a:gs>
                    <a:gs pos="30000">
                      <a:srgbClr val="1A1A1A"/>
                    </a:gs>
                  </a:gsLst>
                  <a:lin ang="5400000" scaled="0"/>
                </a:gradFill>
                <a:latin typeface="Segoe UI"/>
                <a:ea typeface="Segoe UI" pitchFamily="34" charset="0"/>
                <a:cs typeface="Segoe UI" pitchFamily="34" charset="0"/>
              </a:rPr>
              <a:t>What if my students run out of credits? </a:t>
            </a:r>
            <a:r>
              <a:rPr kumimoji="0" lang="en-US" sz="1600" b="0" i="0" u="none" strike="noStrike" kern="1200" cap="none" spc="0" normalizeH="0" baseline="0" dirty="0">
                <a:ln>
                  <a:noFill/>
                </a:ln>
                <a:gradFill>
                  <a:gsLst>
                    <a:gs pos="2917">
                      <a:srgbClr val="1A1A1A"/>
                    </a:gs>
                    <a:gs pos="30000">
                      <a:srgbClr val="1A1A1A"/>
                    </a:gs>
                  </a:gsLst>
                  <a:lin ang="5400000" scaled="0"/>
                </a:gradFill>
                <a:effectLst/>
                <a:uLnTx/>
                <a:uFillTx/>
                <a:latin typeface="Calibri" panose="020F0502020204030204" pitchFamily="34" charset="0"/>
                <a:ea typeface="Segoe UI" pitchFamily="34" charset="0"/>
                <a:cs typeface="Segoe UI" pitchFamily="34" charset="0"/>
              </a:rPr>
              <a:t>R</a:t>
            </a:r>
            <a:r>
              <a:rPr lang="en-US" sz="1600" dirty="0">
                <a:effectLst/>
                <a:latin typeface="Calibri" panose="020F0502020204030204" pitchFamily="34" charset="0"/>
                <a:ea typeface="Calibri" panose="020F0502020204030204" pitchFamily="34" charset="0"/>
              </a:rPr>
              <a:t>each out to your Microsoft contact to understand options available to your institution.</a:t>
            </a:r>
            <a:endParaRPr kumimoji="0" lang="en-US" sz="1400" b="0" i="0" u="none" strike="noStrike" kern="1200" cap="none" spc="0" normalizeH="0" baseline="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a:p>
            <a:pPr marL="285750" marR="0" lvl="0" indent="-285750" algn="l" defTabSz="951028"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rPr>
              <a:t>When completing AZ-900 on the </a:t>
            </a:r>
            <a:r>
              <a:rPr lang="en-US" sz="1800" u="sng" dirty="0">
                <a:solidFill>
                  <a:srgbClr val="0563C1"/>
                </a:solidFill>
                <a:effectLst/>
                <a:latin typeface="Calibri" panose="020F0502020204030204" pitchFamily="34" charset="0"/>
                <a:ea typeface="Calibri" panose="020F0502020204030204" pitchFamily="34" charset="0"/>
                <a:hlinkClick r:id="rId3"/>
              </a:rPr>
              <a:t>self-paced training on Learn</a:t>
            </a:r>
            <a:r>
              <a:rPr lang="en-US" sz="1800" dirty="0">
                <a:effectLst/>
                <a:latin typeface="Calibri" panose="020F0502020204030204" pitchFamily="34" charset="0"/>
                <a:ea typeface="Calibri" panose="020F0502020204030204" pitchFamily="34" charset="0"/>
              </a:rPr>
              <a:t>, you’ll need:</a:t>
            </a:r>
          </a:p>
          <a:p>
            <a:pPr marL="0" marR="0" lvl="3" indent="0">
              <a:spcBef>
                <a:spcPts val="0"/>
              </a:spcBef>
              <a:spcAft>
                <a:spcPts val="0"/>
              </a:spcAft>
              <a:buFont typeface="Symbol" panose="05050102010706020507" pitchFamily="18" charset="2"/>
              <a:buNone/>
            </a:pPr>
            <a:r>
              <a:rPr lang="en-US" sz="1800" dirty="0">
                <a:effectLst/>
                <a:latin typeface="Calibri" panose="020F0502020204030204" pitchFamily="34" charset="0"/>
                <a:ea typeface="Times New Roman" panose="02020603050405020304" pitchFamily="18" charset="0"/>
              </a:rPr>
              <a:t>	- 50% Labs in sandbox = no Azure credits needed</a:t>
            </a:r>
          </a:p>
          <a:p>
            <a:pPr marL="0" marR="0" lvl="3" indent="0">
              <a:spcBef>
                <a:spcPts val="0"/>
              </a:spcBef>
              <a:spcAft>
                <a:spcPts val="0"/>
              </a:spcAft>
              <a:buFont typeface="Symbol" panose="05050102010706020507" pitchFamily="18" charset="2"/>
              <a:buNone/>
            </a:pPr>
            <a:r>
              <a:rPr lang="en-US" sz="1800" dirty="0">
                <a:effectLst/>
                <a:latin typeface="Calibri" panose="020F0502020204030204" pitchFamily="34" charset="0"/>
                <a:ea typeface="Times New Roman" panose="02020603050405020304" pitchFamily="18" charset="0"/>
              </a:rPr>
              <a:t>	- Other 50% require Azure Credits</a:t>
            </a:r>
            <a:r>
              <a:rPr lang="en-US" sz="1800" dirty="0">
                <a:effectLst/>
                <a:latin typeface="Calibri" panose="020F0502020204030204" pitchFamily="34" charset="0"/>
                <a:ea typeface="Calibri" panose="020F0502020204030204" pitchFamily="34" charset="0"/>
              </a:rPr>
              <a:t> </a:t>
            </a:r>
            <a:endParaRPr kumimoji="0" lang="en-US" sz="1600" b="0" i="0" u="none" strike="noStrike" kern="1200" cap="none" spc="0" normalizeH="0" baseline="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547738" rtl="0" eaLnBrk="1" fontAlgn="auto" latinLnBrk="0" hangingPunct="1">
              <a:lnSpc>
                <a:spcPct val="100000"/>
              </a:lnSpc>
              <a:spcBef>
                <a:spcPts val="0"/>
              </a:spcBef>
              <a:spcAft>
                <a:spcPts val="0"/>
              </a:spcAft>
              <a:buClrTx/>
              <a:buSzTx/>
              <a:buFontTx/>
              <a:buNone/>
              <a:tabLst/>
              <a:defRPr/>
            </a:pPr>
            <a:fld id="{AF7A91F6-C84C-D54B-9DE1-2A2DF49EE04F}" type="slidenum">
              <a:rPr kumimoji="0" lang="en-US" sz="19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547738" rtl="0" eaLnBrk="1" fontAlgn="auto" latinLnBrk="0" hangingPunct="1">
                <a:lnSpc>
                  <a:spcPct val="100000"/>
                </a:lnSpc>
                <a:spcBef>
                  <a:spcPts val="0"/>
                </a:spcBef>
                <a:spcAft>
                  <a:spcPts val="0"/>
                </a:spcAft>
                <a:buClrTx/>
                <a:buSzTx/>
                <a:buFontTx/>
                <a:buNone/>
                <a:tabLst/>
                <a:defRPr/>
              </a:pPr>
              <a:t>11</a:t>
            </a:fld>
            <a:endParaRPr kumimoji="0" lang="en-US" sz="1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231210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lvl="0" indent="0" fontAlgn="ctr">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AE434-AC98-40D7-B557-6CE32D18D2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14086588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41.emf"/></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image" Target="../media/image42.emf"/><Relationship Id="rId7" Type="http://schemas.openxmlformats.org/officeDocument/2006/relationships/image" Target="../media/image46.emf"/><Relationship Id="rId2" Type="http://schemas.openxmlformats.org/officeDocument/2006/relationships/slideMaster" Target="../slideMasters/slideMaster6.xml"/><Relationship Id="rId1" Type="http://schemas.openxmlformats.org/officeDocument/2006/relationships/tags" Target="../tags/tag3.xml"/><Relationship Id="rId6" Type="http://schemas.openxmlformats.org/officeDocument/2006/relationships/image" Target="../media/image45.emf"/><Relationship Id="rId5" Type="http://schemas.openxmlformats.org/officeDocument/2006/relationships/image" Target="../media/image44.emf"/><Relationship Id="rId10" Type="http://schemas.openxmlformats.org/officeDocument/2006/relationships/image" Target="../media/image47.png"/><Relationship Id="rId4" Type="http://schemas.openxmlformats.org/officeDocument/2006/relationships/image" Target="../media/image43.emf"/><Relationship Id="rId9" Type="http://schemas.openxmlformats.org/officeDocument/2006/relationships/image" Target="../media/image41.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4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4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4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4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xml"/><Relationship Id="rId4" Type="http://schemas.openxmlformats.org/officeDocument/2006/relationships/image" Target="../media/image4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4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4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41.emf"/></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oleObject" Target="../embeddings/oleObject13.bin"/><Relationship Id="rId7" Type="http://schemas.openxmlformats.org/officeDocument/2006/relationships/image" Target="../media/image54.emf"/><Relationship Id="rId2" Type="http://schemas.openxmlformats.org/officeDocument/2006/relationships/slideMaster" Target="../slideMasters/slideMaster6.xml"/><Relationship Id="rId1" Type="http://schemas.openxmlformats.org/officeDocument/2006/relationships/tags" Target="../tags/tag13.xml"/><Relationship Id="rId6" Type="http://schemas.openxmlformats.org/officeDocument/2006/relationships/image" Target="../media/image53.emf"/><Relationship Id="rId5" Type="http://schemas.openxmlformats.org/officeDocument/2006/relationships/image" Target="../media/image52.emf"/><Relationship Id="rId4" Type="http://schemas.openxmlformats.org/officeDocument/2006/relationships/image" Target="../media/image4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4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5.xml"/><Relationship Id="rId4" Type="http://schemas.openxmlformats.org/officeDocument/2006/relationships/image" Target="../media/image4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6.xml"/><Relationship Id="rId4" Type="http://schemas.openxmlformats.org/officeDocument/2006/relationships/image" Target="../media/image4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4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4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19.xml"/><Relationship Id="rId4" Type="http://schemas.openxmlformats.org/officeDocument/2006/relationships/image" Target="../media/image4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4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21.xml"/><Relationship Id="rId4" Type="http://schemas.openxmlformats.org/officeDocument/2006/relationships/image" Target="../media/image4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4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4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24.xml"/><Relationship Id="rId4" Type="http://schemas.openxmlformats.org/officeDocument/2006/relationships/image" Target="../media/image4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25.xml"/><Relationship Id="rId5" Type="http://schemas.openxmlformats.org/officeDocument/2006/relationships/image" Target="../media/image56.png"/><Relationship Id="rId4" Type="http://schemas.openxmlformats.org/officeDocument/2006/relationships/image" Target="../media/image4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26.xml"/><Relationship Id="rId4" Type="http://schemas.openxmlformats.org/officeDocument/2006/relationships/image" Target="../media/image41.emf"/></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7.xml"/><Relationship Id="rId5" Type="http://schemas.openxmlformats.org/officeDocument/2006/relationships/image" Target="../media/image68.svg"/><Relationship Id="rId4" Type="http://schemas.openxmlformats.org/officeDocument/2006/relationships/image" Target="../media/image67.png"/></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3.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svg"/><Relationship Id="rId7" Type="http://schemas.openxmlformats.org/officeDocument/2006/relationships/image" Target="../media/image79.svg"/><Relationship Id="rId12" Type="http://schemas.openxmlformats.org/officeDocument/2006/relationships/image" Target="../media/image84.png"/><Relationship Id="rId2" Type="http://schemas.openxmlformats.org/officeDocument/2006/relationships/image" Target="../media/image74.png"/><Relationship Id="rId1" Type="http://schemas.openxmlformats.org/officeDocument/2006/relationships/slideMaster" Target="../slideMasters/slideMaster8.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sv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svg"/></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svg"/><Relationship Id="rId7" Type="http://schemas.openxmlformats.org/officeDocument/2006/relationships/image" Target="../media/image79.svg"/><Relationship Id="rId12" Type="http://schemas.openxmlformats.org/officeDocument/2006/relationships/image" Target="../media/image84.png"/><Relationship Id="rId2" Type="http://schemas.openxmlformats.org/officeDocument/2006/relationships/image" Target="../media/image74.png"/><Relationship Id="rId1" Type="http://schemas.openxmlformats.org/officeDocument/2006/relationships/slideMaster" Target="../slideMasters/slideMaster8.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sv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svg"/></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svg"/><Relationship Id="rId7" Type="http://schemas.openxmlformats.org/officeDocument/2006/relationships/image" Target="../media/image79.svg"/><Relationship Id="rId12" Type="http://schemas.openxmlformats.org/officeDocument/2006/relationships/image" Target="../media/image84.png"/><Relationship Id="rId2" Type="http://schemas.openxmlformats.org/officeDocument/2006/relationships/image" Target="../media/image74.png"/><Relationship Id="rId1" Type="http://schemas.openxmlformats.org/officeDocument/2006/relationships/slideMaster" Target="../slideMasters/slideMaster8.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sv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svg"/></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86.svg"/><Relationship Id="rId7" Type="http://schemas.openxmlformats.org/officeDocument/2006/relationships/image" Target="../media/image88.svg"/><Relationship Id="rId2" Type="http://schemas.openxmlformats.org/officeDocument/2006/relationships/image" Target="../media/image85.png"/><Relationship Id="rId1" Type="http://schemas.openxmlformats.org/officeDocument/2006/relationships/slideMaster" Target="../slideMasters/slideMaster8.xml"/><Relationship Id="rId6" Type="http://schemas.openxmlformats.org/officeDocument/2006/relationships/image" Target="../media/image87.png"/><Relationship Id="rId5" Type="http://schemas.openxmlformats.org/officeDocument/2006/relationships/image" Target="../media/image79.svg"/><Relationship Id="rId10" Type="http://schemas.openxmlformats.org/officeDocument/2006/relationships/image" Target="../media/image83.svg"/><Relationship Id="rId4" Type="http://schemas.openxmlformats.org/officeDocument/2006/relationships/image" Target="../media/image78.png"/><Relationship Id="rId9" Type="http://schemas.openxmlformats.org/officeDocument/2006/relationships/image" Target="../media/image82.pn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74.png"/><Relationship Id="rId7" Type="http://schemas.openxmlformats.org/officeDocument/2006/relationships/image" Target="../media/image89.png"/><Relationship Id="rId12" Type="http://schemas.openxmlformats.org/officeDocument/2006/relationships/image" Target="../media/image94.svg"/><Relationship Id="rId2" Type="http://schemas.openxmlformats.org/officeDocument/2006/relationships/image" Target="../media/image84.png"/><Relationship Id="rId1" Type="http://schemas.openxmlformats.org/officeDocument/2006/relationships/slideMaster" Target="../slideMasters/slideMaster8.xml"/><Relationship Id="rId6" Type="http://schemas.openxmlformats.org/officeDocument/2006/relationships/image" Target="../media/image77.svg"/><Relationship Id="rId11" Type="http://schemas.openxmlformats.org/officeDocument/2006/relationships/image" Target="../media/image93.png"/><Relationship Id="rId5" Type="http://schemas.openxmlformats.org/officeDocument/2006/relationships/image" Target="../media/image76.png"/><Relationship Id="rId10" Type="http://schemas.openxmlformats.org/officeDocument/2006/relationships/image" Target="../media/image92.svg"/><Relationship Id="rId4" Type="http://schemas.openxmlformats.org/officeDocument/2006/relationships/image" Target="../media/image75.svg"/><Relationship Id="rId9" Type="http://schemas.openxmlformats.org/officeDocument/2006/relationships/image" Target="../media/image91.png"/></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75.svg"/><Relationship Id="rId7" Type="http://schemas.openxmlformats.org/officeDocument/2006/relationships/image" Target="../media/image95.png"/><Relationship Id="rId2" Type="http://schemas.openxmlformats.org/officeDocument/2006/relationships/image" Target="../media/image74.png"/><Relationship Id="rId1" Type="http://schemas.openxmlformats.org/officeDocument/2006/relationships/slideMaster" Target="../slideMasters/slideMaster8.xml"/><Relationship Id="rId6" Type="http://schemas.openxmlformats.org/officeDocument/2006/relationships/image" Target="../media/image84.png"/><Relationship Id="rId5" Type="http://schemas.openxmlformats.org/officeDocument/2006/relationships/image" Target="../media/image77.svg"/><Relationship Id="rId10" Type="http://schemas.openxmlformats.org/officeDocument/2006/relationships/image" Target="../media/image90.svg"/><Relationship Id="rId4" Type="http://schemas.openxmlformats.org/officeDocument/2006/relationships/image" Target="../media/image76.png"/><Relationship Id="rId9" Type="http://schemas.openxmlformats.org/officeDocument/2006/relationships/image" Target="../media/image89.png"/></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75.svg"/><Relationship Id="rId7" Type="http://schemas.openxmlformats.org/officeDocument/2006/relationships/image" Target="../media/image91.png"/><Relationship Id="rId2" Type="http://schemas.openxmlformats.org/officeDocument/2006/relationships/image" Target="../media/image74.png"/><Relationship Id="rId1" Type="http://schemas.openxmlformats.org/officeDocument/2006/relationships/slideMaster" Target="../slideMasters/slideMaster8.xml"/><Relationship Id="rId6" Type="http://schemas.openxmlformats.org/officeDocument/2006/relationships/image" Target="../media/image84.png"/><Relationship Id="rId5" Type="http://schemas.openxmlformats.org/officeDocument/2006/relationships/image" Target="../media/image77.svg"/><Relationship Id="rId10" Type="http://schemas.openxmlformats.org/officeDocument/2006/relationships/image" Target="../media/image90.svg"/><Relationship Id="rId4" Type="http://schemas.openxmlformats.org/officeDocument/2006/relationships/image" Target="../media/image76.png"/><Relationship Id="rId9" Type="http://schemas.openxmlformats.org/officeDocument/2006/relationships/image" Target="../media/image89.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image" Target="../media/image105.emf"/><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5.emf"/><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30997" y="0"/>
            <a:ext cx="12405478" cy="6994525"/>
          </a:xfrm>
          <a:prstGeom prst="rect">
            <a:avLst/>
          </a:prstGeom>
        </p:spPr>
      </p:pic>
      <p:sp>
        <p:nvSpPr>
          <p:cNvPr id="19" name="Text Placeholder 2"/>
          <p:cNvSpPr>
            <a:spLocks noGrp="1"/>
          </p:cNvSpPr>
          <p:nvPr userDrawn="1">
            <p:ph type="body" sz="quarter" idx="12" hasCustomPrompt="1"/>
          </p:nvPr>
        </p:nvSpPr>
        <p:spPr>
          <a:xfrm>
            <a:off x="622213"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22213"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22213" y="1690255"/>
            <a:ext cx="6628819" cy="3557678"/>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1" kern="1200" cap="none" spc="-100"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0997" y="23160"/>
            <a:ext cx="2177513" cy="975815"/>
          </a:xfrm>
          <a:prstGeom prst="rect">
            <a:avLst/>
          </a:prstGeom>
        </p:spPr>
      </p:pic>
    </p:spTree>
    <p:extLst>
      <p:ext uri="{BB962C8B-B14F-4D97-AF65-F5344CB8AC3E}">
        <p14:creationId xmlns:p14="http://schemas.microsoft.com/office/powerpoint/2010/main" val="2002561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5106" y="351028"/>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5934" y="2180388"/>
            <a:ext cx="7168184"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36409" y="1673433"/>
            <a:ext cx="717009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352004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Header1">
    <p:spTree>
      <p:nvGrpSpPr>
        <p:cNvPr id="1" name=""/>
        <p:cNvGrpSpPr/>
        <p:nvPr/>
      </p:nvGrpSpPr>
      <p:grpSpPr>
        <a:xfrm>
          <a:off x="0" y="0"/>
          <a:ext cx="0" cy="0"/>
          <a:chOff x="0" y="0"/>
          <a:chExt cx="0" cy="0"/>
        </a:xfrm>
      </p:grpSpPr>
      <p:sp>
        <p:nvSpPr>
          <p:cNvPr id="7" name="Rectangle 6"/>
          <p:cNvSpPr/>
          <p:nvPr/>
        </p:nvSpPr>
        <p:spPr>
          <a:xfrm>
            <a:off x="0" y="0"/>
            <a:ext cx="12436475" cy="699452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 name="Text Placeholder 2"/>
          <p:cNvSpPr>
            <a:spLocks noGrp="1"/>
          </p:cNvSpPr>
          <p:nvPr>
            <p:ph type="body" idx="1"/>
          </p:nvPr>
        </p:nvSpPr>
        <p:spPr>
          <a:xfrm>
            <a:off x="1587943" y="2964580"/>
            <a:ext cx="9105348" cy="1530052"/>
          </a:xfrm>
        </p:spPr>
        <p:txBody>
          <a:bodyPr anchor="t">
            <a:noAutofit/>
          </a:bodyPr>
          <a:lstStyle>
            <a:lvl1pPr marL="0" indent="0" algn="ctr">
              <a:buNone/>
              <a:defRPr sz="4351">
                <a:solidFill>
                  <a:schemeClr val="bg1"/>
                </a:solidFill>
                <a:latin typeface="+mj-lt"/>
              </a:defRPr>
            </a:lvl1pPr>
            <a:lvl2pPr marL="466197" indent="0">
              <a:buNone/>
              <a:defRPr sz="1903">
                <a:solidFill>
                  <a:schemeClr val="tx1">
                    <a:tint val="75000"/>
                  </a:schemeClr>
                </a:solidFill>
              </a:defRPr>
            </a:lvl2pPr>
            <a:lvl3pPr marL="932394" indent="0">
              <a:buNone/>
              <a:defRPr sz="1632">
                <a:solidFill>
                  <a:schemeClr val="tx1">
                    <a:tint val="75000"/>
                  </a:schemeClr>
                </a:solidFill>
              </a:defRPr>
            </a:lvl3pPr>
            <a:lvl4pPr marL="1398591" indent="0">
              <a:buNone/>
              <a:defRPr sz="1496">
                <a:solidFill>
                  <a:schemeClr val="tx1">
                    <a:tint val="75000"/>
                  </a:schemeClr>
                </a:solidFill>
              </a:defRPr>
            </a:lvl4pPr>
            <a:lvl5pPr marL="1864788" indent="0">
              <a:buNone/>
              <a:defRPr sz="1496">
                <a:solidFill>
                  <a:schemeClr val="tx1">
                    <a:tint val="75000"/>
                  </a:schemeClr>
                </a:solidFill>
              </a:defRPr>
            </a:lvl5pPr>
            <a:lvl6pPr marL="2330986" indent="0">
              <a:buNone/>
              <a:defRPr sz="1496">
                <a:solidFill>
                  <a:schemeClr val="tx1">
                    <a:tint val="75000"/>
                  </a:schemeClr>
                </a:solidFill>
              </a:defRPr>
            </a:lvl6pPr>
            <a:lvl7pPr marL="2797182" indent="0">
              <a:buNone/>
              <a:defRPr sz="1496">
                <a:solidFill>
                  <a:schemeClr val="tx1">
                    <a:tint val="75000"/>
                  </a:schemeClr>
                </a:solidFill>
              </a:defRPr>
            </a:lvl7pPr>
            <a:lvl8pPr marL="3263379" indent="0">
              <a:buNone/>
              <a:defRPr sz="1496">
                <a:solidFill>
                  <a:schemeClr val="tx1">
                    <a:tint val="75000"/>
                  </a:schemeClr>
                </a:solidFill>
              </a:defRPr>
            </a:lvl8pPr>
            <a:lvl9pPr marL="3729576" indent="0">
              <a:buNone/>
              <a:defRPr sz="1496">
                <a:solidFill>
                  <a:schemeClr val="tx1">
                    <a:tint val="75000"/>
                  </a:schemeClr>
                </a:solidFill>
              </a:defRPr>
            </a:lvl9pPr>
          </a:lstStyle>
          <a:p>
            <a:pPr lvl="0"/>
            <a:r>
              <a:rPr lang="en-US"/>
              <a:t>Click to edit Master text styles</a:t>
            </a:r>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803689" y="1392680"/>
            <a:ext cx="829098" cy="745193"/>
          </a:xfrm>
          <a:prstGeom prst="rect">
            <a:avLst/>
          </a:prstGeom>
        </p:spPr>
      </p:pic>
    </p:spTree>
    <p:extLst>
      <p:ext uri="{BB962C8B-B14F-4D97-AF65-F5344CB8AC3E}">
        <p14:creationId xmlns:p14="http://schemas.microsoft.com/office/powerpoint/2010/main" val="117987128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Header2">
    <p:spTree>
      <p:nvGrpSpPr>
        <p:cNvPr id="1" name=""/>
        <p:cNvGrpSpPr/>
        <p:nvPr/>
      </p:nvGrpSpPr>
      <p:grpSpPr>
        <a:xfrm>
          <a:off x="0" y="0"/>
          <a:ext cx="0" cy="0"/>
          <a:chOff x="0" y="0"/>
          <a:chExt cx="0" cy="0"/>
        </a:xfrm>
      </p:grpSpPr>
      <p:sp>
        <p:nvSpPr>
          <p:cNvPr id="7" name="Rectangle 6"/>
          <p:cNvSpPr/>
          <p:nvPr/>
        </p:nvSpPr>
        <p:spPr>
          <a:xfrm>
            <a:off x="0" y="0"/>
            <a:ext cx="12436475" cy="6994525"/>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 name="Text Placeholder 2"/>
          <p:cNvSpPr>
            <a:spLocks noGrp="1"/>
          </p:cNvSpPr>
          <p:nvPr>
            <p:ph type="body" idx="1"/>
          </p:nvPr>
        </p:nvSpPr>
        <p:spPr>
          <a:xfrm>
            <a:off x="1587943" y="2964580"/>
            <a:ext cx="9105348" cy="1530052"/>
          </a:xfrm>
        </p:spPr>
        <p:txBody>
          <a:bodyPr anchor="t">
            <a:noAutofit/>
          </a:bodyPr>
          <a:lstStyle>
            <a:lvl1pPr marL="0" indent="0" algn="ctr">
              <a:buNone/>
              <a:defRPr sz="4351">
                <a:solidFill>
                  <a:schemeClr val="bg1"/>
                </a:solidFill>
                <a:latin typeface="+mj-lt"/>
              </a:defRPr>
            </a:lvl1pPr>
            <a:lvl2pPr marL="466197" indent="0">
              <a:buNone/>
              <a:defRPr sz="1903">
                <a:solidFill>
                  <a:schemeClr val="tx1">
                    <a:tint val="75000"/>
                  </a:schemeClr>
                </a:solidFill>
              </a:defRPr>
            </a:lvl2pPr>
            <a:lvl3pPr marL="932394" indent="0">
              <a:buNone/>
              <a:defRPr sz="1632">
                <a:solidFill>
                  <a:schemeClr val="tx1">
                    <a:tint val="75000"/>
                  </a:schemeClr>
                </a:solidFill>
              </a:defRPr>
            </a:lvl3pPr>
            <a:lvl4pPr marL="1398591" indent="0">
              <a:buNone/>
              <a:defRPr sz="1496">
                <a:solidFill>
                  <a:schemeClr val="tx1">
                    <a:tint val="75000"/>
                  </a:schemeClr>
                </a:solidFill>
              </a:defRPr>
            </a:lvl4pPr>
            <a:lvl5pPr marL="1864788" indent="0">
              <a:buNone/>
              <a:defRPr sz="1496">
                <a:solidFill>
                  <a:schemeClr val="tx1">
                    <a:tint val="75000"/>
                  </a:schemeClr>
                </a:solidFill>
              </a:defRPr>
            </a:lvl5pPr>
            <a:lvl6pPr marL="2330986" indent="0">
              <a:buNone/>
              <a:defRPr sz="1496">
                <a:solidFill>
                  <a:schemeClr val="tx1">
                    <a:tint val="75000"/>
                  </a:schemeClr>
                </a:solidFill>
              </a:defRPr>
            </a:lvl6pPr>
            <a:lvl7pPr marL="2797182" indent="0">
              <a:buNone/>
              <a:defRPr sz="1496">
                <a:solidFill>
                  <a:schemeClr val="tx1">
                    <a:tint val="75000"/>
                  </a:schemeClr>
                </a:solidFill>
              </a:defRPr>
            </a:lvl7pPr>
            <a:lvl8pPr marL="3263379" indent="0">
              <a:buNone/>
              <a:defRPr sz="1496">
                <a:solidFill>
                  <a:schemeClr val="tx1">
                    <a:tint val="75000"/>
                  </a:schemeClr>
                </a:solidFill>
              </a:defRPr>
            </a:lvl8pPr>
            <a:lvl9pPr marL="3729576" indent="0">
              <a:buNone/>
              <a:defRPr sz="1496">
                <a:solidFill>
                  <a:schemeClr val="tx1">
                    <a:tint val="75000"/>
                  </a:schemeClr>
                </a:solidFill>
              </a:defRPr>
            </a:lvl9pPr>
          </a:lstStyle>
          <a:p>
            <a:pPr lvl="0"/>
            <a:r>
              <a:rPr lang="en-US"/>
              <a:t>Click to edit Master text styles</a:t>
            </a:r>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803689" y="1392680"/>
            <a:ext cx="829098" cy="745193"/>
          </a:xfrm>
          <a:prstGeom prst="rect">
            <a:avLst/>
          </a:prstGeom>
        </p:spPr>
      </p:pic>
    </p:spTree>
    <p:extLst>
      <p:ext uri="{BB962C8B-B14F-4D97-AF65-F5344CB8AC3E}">
        <p14:creationId xmlns:p14="http://schemas.microsoft.com/office/powerpoint/2010/main" val="16541291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Header3">
    <p:spTree>
      <p:nvGrpSpPr>
        <p:cNvPr id="1" name=""/>
        <p:cNvGrpSpPr/>
        <p:nvPr/>
      </p:nvGrpSpPr>
      <p:grpSpPr>
        <a:xfrm>
          <a:off x="0" y="0"/>
          <a:ext cx="0" cy="0"/>
          <a:chOff x="0" y="0"/>
          <a:chExt cx="0" cy="0"/>
        </a:xfrm>
      </p:grpSpPr>
      <p:sp>
        <p:nvSpPr>
          <p:cNvPr id="7" name="Rectangle 6"/>
          <p:cNvSpPr/>
          <p:nvPr/>
        </p:nvSpPr>
        <p:spPr>
          <a:xfrm>
            <a:off x="0" y="0"/>
            <a:ext cx="12436475" cy="6994525"/>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803689" y="1392680"/>
            <a:ext cx="829098" cy="745193"/>
          </a:xfrm>
          <a:prstGeom prst="rect">
            <a:avLst/>
          </a:prstGeom>
        </p:spPr>
      </p:pic>
      <p:sp>
        <p:nvSpPr>
          <p:cNvPr id="6" name="Text Placeholder 2"/>
          <p:cNvSpPr>
            <a:spLocks noGrp="1"/>
          </p:cNvSpPr>
          <p:nvPr>
            <p:ph type="body" idx="1"/>
          </p:nvPr>
        </p:nvSpPr>
        <p:spPr>
          <a:xfrm>
            <a:off x="1587943" y="2964580"/>
            <a:ext cx="9105348" cy="1530052"/>
          </a:xfrm>
        </p:spPr>
        <p:txBody>
          <a:bodyPr anchor="t">
            <a:noAutofit/>
          </a:bodyPr>
          <a:lstStyle>
            <a:lvl1pPr marL="0" indent="0" algn="ctr">
              <a:buNone/>
              <a:defRPr sz="4351">
                <a:solidFill>
                  <a:schemeClr val="bg1"/>
                </a:solidFill>
                <a:latin typeface="+mj-lt"/>
              </a:defRPr>
            </a:lvl1pPr>
            <a:lvl2pPr marL="466197" indent="0">
              <a:buNone/>
              <a:defRPr sz="1903">
                <a:solidFill>
                  <a:schemeClr val="tx1">
                    <a:tint val="75000"/>
                  </a:schemeClr>
                </a:solidFill>
              </a:defRPr>
            </a:lvl2pPr>
            <a:lvl3pPr marL="932394" indent="0">
              <a:buNone/>
              <a:defRPr sz="1632">
                <a:solidFill>
                  <a:schemeClr val="tx1">
                    <a:tint val="75000"/>
                  </a:schemeClr>
                </a:solidFill>
              </a:defRPr>
            </a:lvl3pPr>
            <a:lvl4pPr marL="1398591" indent="0">
              <a:buNone/>
              <a:defRPr sz="1496">
                <a:solidFill>
                  <a:schemeClr val="tx1">
                    <a:tint val="75000"/>
                  </a:schemeClr>
                </a:solidFill>
              </a:defRPr>
            </a:lvl4pPr>
            <a:lvl5pPr marL="1864788" indent="0">
              <a:buNone/>
              <a:defRPr sz="1496">
                <a:solidFill>
                  <a:schemeClr val="tx1">
                    <a:tint val="75000"/>
                  </a:schemeClr>
                </a:solidFill>
              </a:defRPr>
            </a:lvl5pPr>
            <a:lvl6pPr marL="2330986" indent="0">
              <a:buNone/>
              <a:defRPr sz="1496">
                <a:solidFill>
                  <a:schemeClr val="tx1">
                    <a:tint val="75000"/>
                  </a:schemeClr>
                </a:solidFill>
              </a:defRPr>
            </a:lvl6pPr>
            <a:lvl7pPr marL="2797182" indent="0">
              <a:buNone/>
              <a:defRPr sz="1496">
                <a:solidFill>
                  <a:schemeClr val="tx1">
                    <a:tint val="75000"/>
                  </a:schemeClr>
                </a:solidFill>
              </a:defRPr>
            </a:lvl7pPr>
            <a:lvl8pPr marL="3263379" indent="0">
              <a:buNone/>
              <a:defRPr sz="1496">
                <a:solidFill>
                  <a:schemeClr val="tx1">
                    <a:tint val="75000"/>
                  </a:schemeClr>
                </a:solidFill>
              </a:defRPr>
            </a:lvl8pPr>
            <a:lvl9pPr marL="3729576" indent="0">
              <a:buNone/>
              <a:defRPr sz="1496">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502185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Header4">
    <p:spTree>
      <p:nvGrpSpPr>
        <p:cNvPr id="1" name=""/>
        <p:cNvGrpSpPr/>
        <p:nvPr/>
      </p:nvGrpSpPr>
      <p:grpSpPr>
        <a:xfrm>
          <a:off x="0" y="0"/>
          <a:ext cx="0" cy="0"/>
          <a:chOff x="0" y="0"/>
          <a:chExt cx="0" cy="0"/>
        </a:xfrm>
      </p:grpSpPr>
      <p:sp>
        <p:nvSpPr>
          <p:cNvPr id="7" name="Rectangle 6"/>
          <p:cNvSpPr/>
          <p:nvPr/>
        </p:nvSpPr>
        <p:spPr>
          <a:xfrm>
            <a:off x="0" y="0"/>
            <a:ext cx="12436475" cy="6994525"/>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803689" y="1392680"/>
            <a:ext cx="829098" cy="745193"/>
          </a:xfrm>
          <a:prstGeom prst="rect">
            <a:avLst/>
          </a:prstGeom>
        </p:spPr>
      </p:pic>
      <p:sp>
        <p:nvSpPr>
          <p:cNvPr id="6" name="Text Placeholder 2"/>
          <p:cNvSpPr>
            <a:spLocks noGrp="1"/>
          </p:cNvSpPr>
          <p:nvPr>
            <p:ph type="body" idx="1"/>
          </p:nvPr>
        </p:nvSpPr>
        <p:spPr>
          <a:xfrm>
            <a:off x="1587943" y="2964580"/>
            <a:ext cx="9105348" cy="1530052"/>
          </a:xfrm>
        </p:spPr>
        <p:txBody>
          <a:bodyPr anchor="t">
            <a:noAutofit/>
          </a:bodyPr>
          <a:lstStyle>
            <a:lvl1pPr marL="0" indent="0" algn="ctr">
              <a:buNone/>
              <a:defRPr sz="4351">
                <a:solidFill>
                  <a:schemeClr val="bg1"/>
                </a:solidFill>
                <a:latin typeface="+mj-lt"/>
              </a:defRPr>
            </a:lvl1pPr>
            <a:lvl2pPr marL="466197" indent="0">
              <a:buNone/>
              <a:defRPr sz="1903">
                <a:solidFill>
                  <a:schemeClr val="tx1">
                    <a:tint val="75000"/>
                  </a:schemeClr>
                </a:solidFill>
              </a:defRPr>
            </a:lvl2pPr>
            <a:lvl3pPr marL="932394" indent="0">
              <a:buNone/>
              <a:defRPr sz="1632">
                <a:solidFill>
                  <a:schemeClr val="tx1">
                    <a:tint val="75000"/>
                  </a:schemeClr>
                </a:solidFill>
              </a:defRPr>
            </a:lvl3pPr>
            <a:lvl4pPr marL="1398591" indent="0">
              <a:buNone/>
              <a:defRPr sz="1496">
                <a:solidFill>
                  <a:schemeClr val="tx1">
                    <a:tint val="75000"/>
                  </a:schemeClr>
                </a:solidFill>
              </a:defRPr>
            </a:lvl4pPr>
            <a:lvl5pPr marL="1864788" indent="0">
              <a:buNone/>
              <a:defRPr sz="1496">
                <a:solidFill>
                  <a:schemeClr val="tx1">
                    <a:tint val="75000"/>
                  </a:schemeClr>
                </a:solidFill>
              </a:defRPr>
            </a:lvl5pPr>
            <a:lvl6pPr marL="2330986" indent="0">
              <a:buNone/>
              <a:defRPr sz="1496">
                <a:solidFill>
                  <a:schemeClr val="tx1">
                    <a:tint val="75000"/>
                  </a:schemeClr>
                </a:solidFill>
              </a:defRPr>
            </a:lvl6pPr>
            <a:lvl7pPr marL="2797182" indent="0">
              <a:buNone/>
              <a:defRPr sz="1496">
                <a:solidFill>
                  <a:schemeClr val="tx1">
                    <a:tint val="75000"/>
                  </a:schemeClr>
                </a:solidFill>
              </a:defRPr>
            </a:lvl7pPr>
            <a:lvl8pPr marL="3263379" indent="0">
              <a:buNone/>
              <a:defRPr sz="1496">
                <a:solidFill>
                  <a:schemeClr val="tx1">
                    <a:tint val="75000"/>
                  </a:schemeClr>
                </a:solidFill>
              </a:defRPr>
            </a:lvl8pPr>
            <a:lvl9pPr marL="3729576" indent="0">
              <a:buNone/>
              <a:defRPr sz="1496">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330155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Header5">
    <p:spTree>
      <p:nvGrpSpPr>
        <p:cNvPr id="1" name=""/>
        <p:cNvGrpSpPr/>
        <p:nvPr/>
      </p:nvGrpSpPr>
      <p:grpSpPr>
        <a:xfrm>
          <a:off x="0" y="0"/>
          <a:ext cx="0" cy="0"/>
          <a:chOff x="0" y="0"/>
          <a:chExt cx="0" cy="0"/>
        </a:xfrm>
      </p:grpSpPr>
      <p:sp>
        <p:nvSpPr>
          <p:cNvPr id="7" name="Rectangle 6"/>
          <p:cNvSpPr/>
          <p:nvPr/>
        </p:nvSpPr>
        <p:spPr>
          <a:xfrm>
            <a:off x="0" y="0"/>
            <a:ext cx="12436475" cy="6994525"/>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803689" y="1392680"/>
            <a:ext cx="829098" cy="745193"/>
          </a:xfrm>
          <a:prstGeom prst="rect">
            <a:avLst/>
          </a:prstGeom>
        </p:spPr>
      </p:pic>
      <p:sp>
        <p:nvSpPr>
          <p:cNvPr id="6" name="Text Placeholder 2"/>
          <p:cNvSpPr>
            <a:spLocks noGrp="1"/>
          </p:cNvSpPr>
          <p:nvPr>
            <p:ph type="body" idx="1"/>
          </p:nvPr>
        </p:nvSpPr>
        <p:spPr>
          <a:xfrm>
            <a:off x="1587943" y="2964580"/>
            <a:ext cx="9105348" cy="1530052"/>
          </a:xfrm>
        </p:spPr>
        <p:txBody>
          <a:bodyPr anchor="t">
            <a:noAutofit/>
          </a:bodyPr>
          <a:lstStyle>
            <a:lvl1pPr marL="0" indent="0" algn="ctr">
              <a:buNone/>
              <a:defRPr sz="4351">
                <a:solidFill>
                  <a:schemeClr val="bg1"/>
                </a:solidFill>
                <a:latin typeface="+mj-lt"/>
              </a:defRPr>
            </a:lvl1pPr>
            <a:lvl2pPr marL="466197" indent="0">
              <a:buNone/>
              <a:defRPr sz="1903">
                <a:solidFill>
                  <a:schemeClr val="tx1">
                    <a:tint val="75000"/>
                  </a:schemeClr>
                </a:solidFill>
              </a:defRPr>
            </a:lvl2pPr>
            <a:lvl3pPr marL="932394" indent="0">
              <a:buNone/>
              <a:defRPr sz="1632">
                <a:solidFill>
                  <a:schemeClr val="tx1">
                    <a:tint val="75000"/>
                  </a:schemeClr>
                </a:solidFill>
              </a:defRPr>
            </a:lvl3pPr>
            <a:lvl4pPr marL="1398591" indent="0">
              <a:buNone/>
              <a:defRPr sz="1496">
                <a:solidFill>
                  <a:schemeClr val="tx1">
                    <a:tint val="75000"/>
                  </a:schemeClr>
                </a:solidFill>
              </a:defRPr>
            </a:lvl4pPr>
            <a:lvl5pPr marL="1864788" indent="0">
              <a:buNone/>
              <a:defRPr sz="1496">
                <a:solidFill>
                  <a:schemeClr val="tx1">
                    <a:tint val="75000"/>
                  </a:schemeClr>
                </a:solidFill>
              </a:defRPr>
            </a:lvl5pPr>
            <a:lvl6pPr marL="2330986" indent="0">
              <a:buNone/>
              <a:defRPr sz="1496">
                <a:solidFill>
                  <a:schemeClr val="tx1">
                    <a:tint val="75000"/>
                  </a:schemeClr>
                </a:solidFill>
              </a:defRPr>
            </a:lvl6pPr>
            <a:lvl7pPr marL="2797182" indent="0">
              <a:buNone/>
              <a:defRPr sz="1496">
                <a:solidFill>
                  <a:schemeClr val="tx1">
                    <a:tint val="75000"/>
                  </a:schemeClr>
                </a:solidFill>
              </a:defRPr>
            </a:lvl7pPr>
            <a:lvl8pPr marL="3263379" indent="0">
              <a:buNone/>
              <a:defRPr sz="1496">
                <a:solidFill>
                  <a:schemeClr val="tx1">
                    <a:tint val="75000"/>
                  </a:schemeClr>
                </a:solidFill>
              </a:defRPr>
            </a:lvl8pPr>
            <a:lvl9pPr marL="3729576" indent="0">
              <a:buNone/>
              <a:defRPr sz="1496">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813584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Header6">
    <p:spTree>
      <p:nvGrpSpPr>
        <p:cNvPr id="1" name=""/>
        <p:cNvGrpSpPr/>
        <p:nvPr/>
      </p:nvGrpSpPr>
      <p:grpSpPr>
        <a:xfrm>
          <a:off x="0" y="0"/>
          <a:ext cx="0" cy="0"/>
          <a:chOff x="0" y="0"/>
          <a:chExt cx="0" cy="0"/>
        </a:xfrm>
      </p:grpSpPr>
      <p:sp>
        <p:nvSpPr>
          <p:cNvPr id="7" name="Rectangle 6"/>
          <p:cNvSpPr/>
          <p:nvPr/>
        </p:nvSpPr>
        <p:spPr>
          <a:xfrm>
            <a:off x="0" y="0"/>
            <a:ext cx="12436475" cy="6994525"/>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803689" y="1392680"/>
            <a:ext cx="829098" cy="745193"/>
          </a:xfrm>
          <a:prstGeom prst="rect">
            <a:avLst/>
          </a:prstGeom>
        </p:spPr>
      </p:pic>
      <p:sp>
        <p:nvSpPr>
          <p:cNvPr id="6" name="Text Placeholder 2"/>
          <p:cNvSpPr>
            <a:spLocks noGrp="1"/>
          </p:cNvSpPr>
          <p:nvPr>
            <p:ph type="body" idx="1"/>
          </p:nvPr>
        </p:nvSpPr>
        <p:spPr>
          <a:xfrm>
            <a:off x="1587943" y="2964580"/>
            <a:ext cx="9105348" cy="1530052"/>
          </a:xfrm>
        </p:spPr>
        <p:txBody>
          <a:bodyPr anchor="t">
            <a:noAutofit/>
          </a:bodyPr>
          <a:lstStyle>
            <a:lvl1pPr marL="0" indent="0" algn="ctr">
              <a:buNone/>
              <a:defRPr sz="4351">
                <a:solidFill>
                  <a:schemeClr val="bg1"/>
                </a:solidFill>
                <a:latin typeface="+mj-lt"/>
              </a:defRPr>
            </a:lvl1pPr>
            <a:lvl2pPr marL="466197" indent="0">
              <a:buNone/>
              <a:defRPr sz="1903">
                <a:solidFill>
                  <a:schemeClr val="tx1">
                    <a:tint val="75000"/>
                  </a:schemeClr>
                </a:solidFill>
              </a:defRPr>
            </a:lvl2pPr>
            <a:lvl3pPr marL="932394" indent="0">
              <a:buNone/>
              <a:defRPr sz="1632">
                <a:solidFill>
                  <a:schemeClr val="tx1">
                    <a:tint val="75000"/>
                  </a:schemeClr>
                </a:solidFill>
              </a:defRPr>
            </a:lvl3pPr>
            <a:lvl4pPr marL="1398591" indent="0">
              <a:buNone/>
              <a:defRPr sz="1496">
                <a:solidFill>
                  <a:schemeClr val="tx1">
                    <a:tint val="75000"/>
                  </a:schemeClr>
                </a:solidFill>
              </a:defRPr>
            </a:lvl4pPr>
            <a:lvl5pPr marL="1864788" indent="0">
              <a:buNone/>
              <a:defRPr sz="1496">
                <a:solidFill>
                  <a:schemeClr val="tx1">
                    <a:tint val="75000"/>
                  </a:schemeClr>
                </a:solidFill>
              </a:defRPr>
            </a:lvl5pPr>
            <a:lvl6pPr marL="2330986" indent="0">
              <a:buNone/>
              <a:defRPr sz="1496">
                <a:solidFill>
                  <a:schemeClr val="tx1">
                    <a:tint val="75000"/>
                  </a:schemeClr>
                </a:solidFill>
              </a:defRPr>
            </a:lvl6pPr>
            <a:lvl7pPr marL="2797182" indent="0">
              <a:buNone/>
              <a:defRPr sz="1496">
                <a:solidFill>
                  <a:schemeClr val="tx1">
                    <a:tint val="75000"/>
                  </a:schemeClr>
                </a:solidFill>
              </a:defRPr>
            </a:lvl7pPr>
            <a:lvl8pPr marL="3263379" indent="0">
              <a:buNone/>
              <a:defRPr sz="1496">
                <a:solidFill>
                  <a:schemeClr val="tx1">
                    <a:tint val="75000"/>
                  </a:schemeClr>
                </a:solidFill>
              </a:defRPr>
            </a:lvl8pPr>
            <a:lvl9pPr marL="3729576" indent="0">
              <a:buNone/>
              <a:defRPr sz="1496">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299717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Header7">
    <p:spTree>
      <p:nvGrpSpPr>
        <p:cNvPr id="1" name=""/>
        <p:cNvGrpSpPr/>
        <p:nvPr/>
      </p:nvGrpSpPr>
      <p:grpSpPr>
        <a:xfrm>
          <a:off x="0" y="0"/>
          <a:ext cx="0" cy="0"/>
          <a:chOff x="0" y="0"/>
          <a:chExt cx="0" cy="0"/>
        </a:xfrm>
      </p:grpSpPr>
      <p:sp>
        <p:nvSpPr>
          <p:cNvPr id="7" name="Rectangle 6"/>
          <p:cNvSpPr/>
          <p:nvPr/>
        </p:nvSpPr>
        <p:spPr>
          <a:xfrm>
            <a:off x="0" y="0"/>
            <a:ext cx="12436475" cy="6994525"/>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803689" y="1392680"/>
            <a:ext cx="829098" cy="745193"/>
          </a:xfrm>
          <a:prstGeom prst="rect">
            <a:avLst/>
          </a:prstGeom>
        </p:spPr>
      </p:pic>
      <p:sp>
        <p:nvSpPr>
          <p:cNvPr id="6" name="Text Placeholder 2"/>
          <p:cNvSpPr>
            <a:spLocks noGrp="1"/>
          </p:cNvSpPr>
          <p:nvPr>
            <p:ph type="body" idx="1"/>
          </p:nvPr>
        </p:nvSpPr>
        <p:spPr>
          <a:xfrm>
            <a:off x="1587943" y="2964580"/>
            <a:ext cx="9105348" cy="1530052"/>
          </a:xfrm>
        </p:spPr>
        <p:txBody>
          <a:bodyPr anchor="t">
            <a:noAutofit/>
          </a:bodyPr>
          <a:lstStyle>
            <a:lvl1pPr marL="0" indent="0" algn="ctr">
              <a:buNone/>
              <a:defRPr sz="4351">
                <a:solidFill>
                  <a:schemeClr val="bg1"/>
                </a:solidFill>
                <a:latin typeface="+mj-lt"/>
              </a:defRPr>
            </a:lvl1pPr>
            <a:lvl2pPr marL="466197" indent="0">
              <a:buNone/>
              <a:defRPr sz="1903">
                <a:solidFill>
                  <a:schemeClr val="tx1">
                    <a:tint val="75000"/>
                  </a:schemeClr>
                </a:solidFill>
              </a:defRPr>
            </a:lvl2pPr>
            <a:lvl3pPr marL="932394" indent="0">
              <a:buNone/>
              <a:defRPr sz="1632">
                <a:solidFill>
                  <a:schemeClr val="tx1">
                    <a:tint val="75000"/>
                  </a:schemeClr>
                </a:solidFill>
              </a:defRPr>
            </a:lvl3pPr>
            <a:lvl4pPr marL="1398591" indent="0">
              <a:buNone/>
              <a:defRPr sz="1496">
                <a:solidFill>
                  <a:schemeClr val="tx1">
                    <a:tint val="75000"/>
                  </a:schemeClr>
                </a:solidFill>
              </a:defRPr>
            </a:lvl4pPr>
            <a:lvl5pPr marL="1864788" indent="0">
              <a:buNone/>
              <a:defRPr sz="1496">
                <a:solidFill>
                  <a:schemeClr val="tx1">
                    <a:tint val="75000"/>
                  </a:schemeClr>
                </a:solidFill>
              </a:defRPr>
            </a:lvl5pPr>
            <a:lvl6pPr marL="2330986" indent="0">
              <a:buNone/>
              <a:defRPr sz="1496">
                <a:solidFill>
                  <a:schemeClr val="tx1">
                    <a:tint val="75000"/>
                  </a:schemeClr>
                </a:solidFill>
              </a:defRPr>
            </a:lvl6pPr>
            <a:lvl7pPr marL="2797182" indent="0">
              <a:buNone/>
              <a:defRPr sz="1496">
                <a:solidFill>
                  <a:schemeClr val="tx1">
                    <a:tint val="75000"/>
                  </a:schemeClr>
                </a:solidFill>
              </a:defRPr>
            </a:lvl7pPr>
            <a:lvl8pPr marL="3263379" indent="0">
              <a:buNone/>
              <a:defRPr sz="1496">
                <a:solidFill>
                  <a:schemeClr val="tx1">
                    <a:tint val="75000"/>
                  </a:schemeClr>
                </a:solidFill>
              </a:defRPr>
            </a:lvl8pPr>
            <a:lvl9pPr marL="3729576" indent="0">
              <a:buNone/>
              <a:defRPr sz="1496">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40632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 Header8">
    <p:spTree>
      <p:nvGrpSpPr>
        <p:cNvPr id="1" name=""/>
        <p:cNvGrpSpPr/>
        <p:nvPr/>
      </p:nvGrpSpPr>
      <p:grpSpPr>
        <a:xfrm>
          <a:off x="0" y="0"/>
          <a:ext cx="0" cy="0"/>
          <a:chOff x="0" y="0"/>
          <a:chExt cx="0" cy="0"/>
        </a:xfrm>
      </p:grpSpPr>
      <p:sp>
        <p:nvSpPr>
          <p:cNvPr id="7" name="Rectangle 6"/>
          <p:cNvSpPr/>
          <p:nvPr/>
        </p:nvSpPr>
        <p:spPr>
          <a:xfrm>
            <a:off x="0" y="0"/>
            <a:ext cx="12436475" cy="6994525"/>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4" name="Picture 3"/>
          <p:cNvPicPr>
            <a:picLocks noChangeAspect="1"/>
          </p:cNvPicPr>
          <p:nvPr/>
        </p:nvPicPr>
        <p:blipFill>
          <a:blip r:embed="rId2" cstate="screen">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17781" y="1392680"/>
            <a:ext cx="800917" cy="745193"/>
          </a:xfrm>
          <a:prstGeom prst="rect">
            <a:avLst/>
          </a:prstGeom>
        </p:spPr>
      </p:pic>
      <p:sp>
        <p:nvSpPr>
          <p:cNvPr id="6" name="Text Placeholder 2"/>
          <p:cNvSpPr>
            <a:spLocks noGrp="1"/>
          </p:cNvSpPr>
          <p:nvPr>
            <p:ph type="body" idx="1"/>
          </p:nvPr>
        </p:nvSpPr>
        <p:spPr>
          <a:xfrm>
            <a:off x="1587943" y="2964580"/>
            <a:ext cx="9105348" cy="1530052"/>
          </a:xfrm>
        </p:spPr>
        <p:txBody>
          <a:bodyPr anchor="t">
            <a:noAutofit/>
          </a:bodyPr>
          <a:lstStyle>
            <a:lvl1pPr marL="0" indent="0" algn="ctr">
              <a:buNone/>
              <a:defRPr sz="4351">
                <a:solidFill>
                  <a:schemeClr val="tx1"/>
                </a:solidFill>
                <a:latin typeface="+mj-lt"/>
              </a:defRPr>
            </a:lvl1pPr>
            <a:lvl2pPr marL="466197" indent="0">
              <a:buNone/>
              <a:defRPr sz="1903">
                <a:solidFill>
                  <a:schemeClr val="tx1">
                    <a:tint val="75000"/>
                  </a:schemeClr>
                </a:solidFill>
              </a:defRPr>
            </a:lvl2pPr>
            <a:lvl3pPr marL="932394" indent="0">
              <a:buNone/>
              <a:defRPr sz="1632">
                <a:solidFill>
                  <a:schemeClr val="tx1">
                    <a:tint val="75000"/>
                  </a:schemeClr>
                </a:solidFill>
              </a:defRPr>
            </a:lvl3pPr>
            <a:lvl4pPr marL="1398591" indent="0">
              <a:buNone/>
              <a:defRPr sz="1496">
                <a:solidFill>
                  <a:schemeClr val="tx1">
                    <a:tint val="75000"/>
                  </a:schemeClr>
                </a:solidFill>
              </a:defRPr>
            </a:lvl4pPr>
            <a:lvl5pPr marL="1864788" indent="0">
              <a:buNone/>
              <a:defRPr sz="1496">
                <a:solidFill>
                  <a:schemeClr val="tx1">
                    <a:tint val="75000"/>
                  </a:schemeClr>
                </a:solidFill>
              </a:defRPr>
            </a:lvl5pPr>
            <a:lvl6pPr marL="2330986" indent="0">
              <a:buNone/>
              <a:defRPr sz="1496">
                <a:solidFill>
                  <a:schemeClr val="tx1">
                    <a:tint val="75000"/>
                  </a:schemeClr>
                </a:solidFill>
              </a:defRPr>
            </a:lvl6pPr>
            <a:lvl7pPr marL="2797182" indent="0">
              <a:buNone/>
              <a:defRPr sz="1496">
                <a:solidFill>
                  <a:schemeClr val="tx1">
                    <a:tint val="75000"/>
                  </a:schemeClr>
                </a:solidFill>
              </a:defRPr>
            </a:lvl7pPr>
            <a:lvl8pPr marL="3263379" indent="0">
              <a:buNone/>
              <a:defRPr sz="1496">
                <a:solidFill>
                  <a:schemeClr val="tx1">
                    <a:tint val="75000"/>
                  </a:schemeClr>
                </a:solidFill>
              </a:defRPr>
            </a:lvl8pPr>
            <a:lvl9pPr marL="3729576" indent="0">
              <a:buNone/>
              <a:defRPr sz="1496">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732309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8009" y="226628"/>
            <a:ext cx="10388243" cy="505569"/>
          </a:xfrm>
        </p:spPr>
        <p:txBody>
          <a:bodyPr/>
          <a:lstStyle/>
          <a:p>
            <a:r>
              <a:rPr lang="en-US"/>
              <a:t>Click to edit Master title style</a:t>
            </a:r>
          </a:p>
        </p:txBody>
      </p:sp>
      <p:sp>
        <p:nvSpPr>
          <p:cNvPr id="5" name="Slide Number Placeholder 8"/>
          <p:cNvSpPr>
            <a:spLocks noGrp="1"/>
          </p:cNvSpPr>
          <p:nvPr>
            <p:ph type="sldNum" sz="quarter" idx="4"/>
          </p:nvPr>
        </p:nvSpPr>
        <p:spPr>
          <a:xfrm>
            <a:off x="384256" y="6707082"/>
            <a:ext cx="620886" cy="199305"/>
          </a:xfrm>
          <a:prstGeom prst="rect">
            <a:avLst/>
          </a:prstGeom>
        </p:spPr>
        <p:txBody>
          <a:bodyPr vert="horz" lIns="91440" tIns="45720" rIns="91440" bIns="4572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4" name="Picture 3">
            <a:extLst>
              <a:ext uri="{FF2B5EF4-FFF2-40B4-BE49-F238E27FC236}">
                <a16:creationId xmlns:a16="http://schemas.microsoft.com/office/drawing/2014/main" id="{7F14C17B-2C1F-4C60-BF55-B4994793E18F}"/>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Tree>
    <p:extLst>
      <p:ext uri="{BB962C8B-B14F-4D97-AF65-F5344CB8AC3E}">
        <p14:creationId xmlns:p14="http://schemas.microsoft.com/office/powerpoint/2010/main" val="85315484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41466668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400978" y="347968"/>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46567" y="1730195"/>
            <a:ext cx="10989103" cy="3044250"/>
          </a:xfrm>
        </p:spPr>
        <p:txBody>
          <a:bodyPr lIns="0" tIns="0" rIns="0" bIns="0">
            <a:noAutofit/>
          </a:bodyPr>
          <a:lstStyle>
            <a:lvl1pPr marL="169860" marR="0" indent="-169860" algn="l" defTabSz="508623" rtl="0" eaLnBrk="1" fontAlgn="auto" latinLnBrk="0" hangingPunct="1">
              <a:lnSpc>
                <a:spcPct val="114000"/>
              </a:lnSpc>
              <a:spcBef>
                <a:spcPts val="1200"/>
              </a:spcBef>
              <a:spcAft>
                <a:spcPts val="0"/>
              </a:spcAft>
              <a:buClr>
                <a:schemeClr val="accent4"/>
              </a:buClr>
              <a:buSzTx/>
              <a:buFont typeface="Arial" panose="020B0604020202020204" pitchFamily="34" charset="0"/>
              <a:buChar char="•"/>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lnSpc>
                <a:spcPct val="114000"/>
              </a:lnSpc>
              <a:spcBef>
                <a:spcPts val="1200"/>
              </a:spcBef>
              <a:spcAft>
                <a:spcPts val="0"/>
              </a:spcAft>
              <a:buFont typeface="Arial" panose="020B0604020202020204" pitchFamily="34" charset="0"/>
              <a:buChar char="•"/>
              <a:defRPr lang="en-US" sz="2000" kern="1200" dirty="0" smtClean="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lnSpc>
                <a:spcPct val="114000"/>
              </a:lnSpc>
              <a:spcBef>
                <a:spcPts val="1200"/>
              </a:spcBef>
              <a:spcAft>
                <a:spcPts val="0"/>
              </a:spcAft>
              <a:buClr>
                <a:schemeClr val="accent4"/>
              </a:buClr>
              <a:buFont typeface="Arial" panose="020B0604020202020204" pitchFamily="34" charset="0"/>
              <a:buChar char="•"/>
              <a:defRPr lang="en-US" sz="2000" kern="1200" baseline="0" dirty="0" smtClean="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lnSpc>
                <a:spcPct val="114000"/>
              </a:lnSpc>
              <a:spcBef>
                <a:spcPts val="1200"/>
              </a:spcBef>
              <a:spcAft>
                <a:spcPts val="0"/>
              </a:spcAft>
              <a:buNone/>
              <a:defRPr lang="en-US" sz="2000" kern="1200" dirty="0">
                <a:solidFill>
                  <a:schemeClr val="tx1"/>
                </a:soli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60" lvl="0" indent="-169860" algn="l" defTabSz="50862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310" lvl="1" indent="-174622" algn="l" defTabSz="508623" rtl="0" eaLnBrk="1" latinLnBrk="0" hangingPunct="1">
              <a:spcBef>
                <a:spcPct val="20000"/>
              </a:spcBef>
              <a:buClr>
                <a:schemeClr val="accent4"/>
              </a:buClr>
              <a:buFont typeface="Arial" panose="020B0604020202020204" pitchFamily="34" charset="0"/>
              <a:buChar char="•"/>
            </a:pPr>
            <a:r>
              <a:rPr lang="en-US"/>
              <a:t>Level 2</a:t>
            </a:r>
          </a:p>
          <a:p>
            <a:pPr marL="511169" lvl="2" indent="-177797" algn="l" defTabSz="508623" rtl="0" eaLnBrk="1" latinLnBrk="0" hangingPunct="1">
              <a:spcBef>
                <a:spcPct val="20000"/>
              </a:spcBef>
              <a:buClr>
                <a:schemeClr val="accent4"/>
              </a:buClr>
              <a:buFont typeface="Arial" panose="020B0604020202020204" pitchFamily="34" charset="0"/>
              <a:buChar char="•"/>
            </a:pPr>
            <a:r>
              <a:rPr lang="en-US"/>
              <a:t>Level 3</a:t>
            </a:r>
          </a:p>
          <a:p>
            <a:pPr marL="634992" lvl="3" indent="-133348" algn="l" defTabSz="50862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795732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 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294"/>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18778844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87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27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
        <p:nvSpPr>
          <p:cNvPr id="4" name="Content Placeholder 3"/>
          <p:cNvSpPr>
            <a:spLocks noGrp="1"/>
          </p:cNvSpPr>
          <p:nvPr>
            <p:ph sz="quarter" idx="10" hasCustomPrompt="1"/>
          </p:nvPr>
        </p:nvSpPr>
        <p:spPr>
          <a:xfrm>
            <a:off x="274640" y="1212851"/>
            <a:ext cx="11888787" cy="1117550"/>
          </a:xfrm>
        </p:spPr>
        <p:txBody>
          <a:bodyPr/>
          <a:lstStyle>
            <a:lvl1pPr>
              <a:defRPr/>
            </a:lvl1pPr>
            <a:lvl2pPr>
              <a:defRPr/>
            </a:lvl2pPr>
            <a:lvl3pPr>
              <a:defRPr/>
            </a:lvl3pPr>
            <a:lvl4pPr>
              <a:defRPr sz="1000" b="0"/>
            </a:lvl4pPr>
            <a:lvl5pPr>
              <a:defRPr sz="100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73771056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378178"/>
            <a:ext cx="11887200" cy="163750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solidFill>
                  <a:schemeClr val="bg1"/>
                </a:solidFill>
              </a:defRPr>
            </a:lvl2pPr>
            <a:lvl3pPr marL="228557" indent="0">
              <a:buNone/>
              <a:defRPr>
                <a:solidFill>
                  <a:schemeClr val="bg1"/>
                </a:solidFill>
              </a:defRPr>
            </a:lvl3pPr>
            <a:lvl4pPr marL="457112" indent="0">
              <a:buNone/>
              <a:defRPr>
                <a:solidFill>
                  <a:schemeClr val="bg1"/>
                </a:solidFill>
              </a:defRPr>
            </a:lvl4pPr>
            <a:lvl5pPr marL="685669"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962555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Slide Photo_Option">
    <p:bg>
      <p:bgPr>
        <a:solidFill>
          <a:schemeClr val="bg2"/>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6633029" y="4720135"/>
            <a:ext cx="5803446" cy="2274390"/>
            <a:chOff x="6633029" y="4720135"/>
            <a:chExt cx="5803446" cy="2274390"/>
          </a:xfrm>
        </p:grpSpPr>
        <p:sp>
          <p:nvSpPr>
            <p:cNvPr id="119815" name="Rectangle 38"/>
            <p:cNvSpPr>
              <a:spLocks noChangeArrowheads="1"/>
            </p:cNvSpPr>
            <p:nvPr userDrawn="1"/>
          </p:nvSpPr>
          <p:spPr bwMode="auto">
            <a:xfrm flipH="1">
              <a:off x="6633029" y="5607529"/>
              <a:ext cx="694914" cy="138699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16" name="Rectangle 39"/>
            <p:cNvSpPr>
              <a:spLocks noChangeArrowheads="1"/>
            </p:cNvSpPr>
            <p:nvPr userDrawn="1"/>
          </p:nvSpPr>
          <p:spPr bwMode="auto">
            <a:xfrm flipH="1">
              <a:off x="6729270" y="5706600"/>
              <a:ext cx="53781"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17" name="Rectangle 40"/>
            <p:cNvSpPr>
              <a:spLocks noChangeArrowheads="1"/>
            </p:cNvSpPr>
            <p:nvPr userDrawn="1"/>
          </p:nvSpPr>
          <p:spPr bwMode="auto">
            <a:xfrm flipH="1">
              <a:off x="6877877" y="5706600"/>
              <a:ext cx="55197"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18" name="Rectangle 41"/>
            <p:cNvSpPr>
              <a:spLocks noChangeArrowheads="1"/>
            </p:cNvSpPr>
            <p:nvPr userDrawn="1"/>
          </p:nvSpPr>
          <p:spPr bwMode="auto">
            <a:xfrm flipH="1">
              <a:off x="7027899" y="5706600"/>
              <a:ext cx="59443"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19" name="Rectangle 42"/>
            <p:cNvSpPr>
              <a:spLocks noChangeArrowheads="1"/>
            </p:cNvSpPr>
            <p:nvPr userDrawn="1"/>
          </p:nvSpPr>
          <p:spPr bwMode="auto">
            <a:xfrm flipH="1">
              <a:off x="7177921" y="5706600"/>
              <a:ext cx="59443"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0" name="Rectangle 43"/>
            <p:cNvSpPr>
              <a:spLocks noChangeArrowheads="1"/>
            </p:cNvSpPr>
            <p:nvPr userDrawn="1"/>
          </p:nvSpPr>
          <p:spPr bwMode="auto">
            <a:xfrm flipH="1">
              <a:off x="6729270" y="5856622"/>
              <a:ext cx="53781"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1" name="Rectangle 44"/>
            <p:cNvSpPr>
              <a:spLocks noChangeArrowheads="1"/>
            </p:cNvSpPr>
            <p:nvPr userDrawn="1"/>
          </p:nvSpPr>
          <p:spPr bwMode="auto">
            <a:xfrm flipH="1">
              <a:off x="6877877" y="5856622"/>
              <a:ext cx="55197"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2" name="Rectangle 45"/>
            <p:cNvSpPr>
              <a:spLocks noChangeArrowheads="1"/>
            </p:cNvSpPr>
            <p:nvPr userDrawn="1"/>
          </p:nvSpPr>
          <p:spPr bwMode="auto">
            <a:xfrm flipH="1">
              <a:off x="7027899" y="5856622"/>
              <a:ext cx="59443"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3" name="Rectangle 46"/>
            <p:cNvSpPr>
              <a:spLocks noChangeArrowheads="1"/>
            </p:cNvSpPr>
            <p:nvPr userDrawn="1"/>
          </p:nvSpPr>
          <p:spPr bwMode="auto">
            <a:xfrm flipH="1">
              <a:off x="7177921" y="5856622"/>
              <a:ext cx="59443"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4" name="Rectangle 47"/>
            <p:cNvSpPr>
              <a:spLocks noChangeArrowheads="1"/>
            </p:cNvSpPr>
            <p:nvPr userDrawn="1"/>
          </p:nvSpPr>
          <p:spPr bwMode="auto">
            <a:xfrm flipH="1">
              <a:off x="6729270" y="6008059"/>
              <a:ext cx="53781"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5" name="Rectangle 48"/>
            <p:cNvSpPr>
              <a:spLocks noChangeArrowheads="1"/>
            </p:cNvSpPr>
            <p:nvPr userDrawn="1"/>
          </p:nvSpPr>
          <p:spPr bwMode="auto">
            <a:xfrm flipH="1">
              <a:off x="6877877" y="6008059"/>
              <a:ext cx="55197"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6" name="Rectangle 49"/>
            <p:cNvSpPr>
              <a:spLocks noChangeArrowheads="1"/>
            </p:cNvSpPr>
            <p:nvPr userDrawn="1"/>
          </p:nvSpPr>
          <p:spPr bwMode="auto">
            <a:xfrm flipH="1">
              <a:off x="7027899" y="6008059"/>
              <a:ext cx="59443"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7" name="Rectangle 50"/>
            <p:cNvSpPr>
              <a:spLocks noChangeArrowheads="1"/>
            </p:cNvSpPr>
            <p:nvPr userDrawn="1"/>
          </p:nvSpPr>
          <p:spPr bwMode="auto">
            <a:xfrm flipH="1">
              <a:off x="7177921" y="6008059"/>
              <a:ext cx="59443"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8" name="Rectangle 51"/>
            <p:cNvSpPr>
              <a:spLocks noChangeArrowheads="1"/>
            </p:cNvSpPr>
            <p:nvPr userDrawn="1"/>
          </p:nvSpPr>
          <p:spPr bwMode="auto">
            <a:xfrm flipH="1">
              <a:off x="6729270" y="6158081"/>
              <a:ext cx="53781"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29" name="Rectangle 52"/>
            <p:cNvSpPr>
              <a:spLocks noChangeArrowheads="1"/>
            </p:cNvSpPr>
            <p:nvPr userDrawn="1"/>
          </p:nvSpPr>
          <p:spPr bwMode="auto">
            <a:xfrm flipH="1">
              <a:off x="6877877" y="6158081"/>
              <a:ext cx="55197"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0" name="Rectangle 53"/>
            <p:cNvSpPr>
              <a:spLocks noChangeArrowheads="1"/>
            </p:cNvSpPr>
            <p:nvPr userDrawn="1"/>
          </p:nvSpPr>
          <p:spPr bwMode="auto">
            <a:xfrm flipH="1">
              <a:off x="7027899" y="6158081"/>
              <a:ext cx="59443"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1" name="Rectangle 54"/>
            <p:cNvSpPr>
              <a:spLocks noChangeArrowheads="1"/>
            </p:cNvSpPr>
            <p:nvPr userDrawn="1"/>
          </p:nvSpPr>
          <p:spPr bwMode="auto">
            <a:xfrm flipH="1">
              <a:off x="7177921" y="6158081"/>
              <a:ext cx="59443"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2" name="Rectangle 55"/>
            <p:cNvSpPr>
              <a:spLocks noChangeArrowheads="1"/>
            </p:cNvSpPr>
            <p:nvPr userDrawn="1"/>
          </p:nvSpPr>
          <p:spPr bwMode="auto">
            <a:xfrm flipH="1">
              <a:off x="6729270" y="6312349"/>
              <a:ext cx="53781"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3" name="Rectangle 56"/>
            <p:cNvSpPr>
              <a:spLocks noChangeArrowheads="1"/>
            </p:cNvSpPr>
            <p:nvPr userDrawn="1"/>
          </p:nvSpPr>
          <p:spPr bwMode="auto">
            <a:xfrm flipH="1">
              <a:off x="6877877" y="6312349"/>
              <a:ext cx="55197"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4" name="Rectangle 57"/>
            <p:cNvSpPr>
              <a:spLocks noChangeArrowheads="1"/>
            </p:cNvSpPr>
            <p:nvPr userDrawn="1"/>
          </p:nvSpPr>
          <p:spPr bwMode="auto">
            <a:xfrm flipH="1">
              <a:off x="7027899" y="6312349"/>
              <a:ext cx="59443"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5" name="Rectangle 58"/>
            <p:cNvSpPr>
              <a:spLocks noChangeArrowheads="1"/>
            </p:cNvSpPr>
            <p:nvPr userDrawn="1"/>
          </p:nvSpPr>
          <p:spPr bwMode="auto">
            <a:xfrm flipH="1">
              <a:off x="7177921" y="6312349"/>
              <a:ext cx="59443"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6" name="Rectangle 59"/>
            <p:cNvSpPr>
              <a:spLocks noChangeArrowheads="1"/>
            </p:cNvSpPr>
            <p:nvPr userDrawn="1"/>
          </p:nvSpPr>
          <p:spPr bwMode="auto">
            <a:xfrm flipH="1">
              <a:off x="6729270" y="6462371"/>
              <a:ext cx="53781"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7" name="Rectangle 60"/>
            <p:cNvSpPr>
              <a:spLocks noChangeArrowheads="1"/>
            </p:cNvSpPr>
            <p:nvPr userDrawn="1"/>
          </p:nvSpPr>
          <p:spPr bwMode="auto">
            <a:xfrm flipH="1">
              <a:off x="6877877" y="6462371"/>
              <a:ext cx="55197"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8" name="Rectangle 61"/>
            <p:cNvSpPr>
              <a:spLocks noChangeArrowheads="1"/>
            </p:cNvSpPr>
            <p:nvPr userDrawn="1"/>
          </p:nvSpPr>
          <p:spPr bwMode="auto">
            <a:xfrm flipH="1">
              <a:off x="7027899" y="6462371"/>
              <a:ext cx="59443"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39" name="Rectangle 62"/>
            <p:cNvSpPr>
              <a:spLocks noChangeArrowheads="1"/>
            </p:cNvSpPr>
            <p:nvPr userDrawn="1"/>
          </p:nvSpPr>
          <p:spPr bwMode="auto">
            <a:xfrm flipH="1">
              <a:off x="7177921" y="6462371"/>
              <a:ext cx="59443" cy="10048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4" name="Rectangle 63"/>
            <p:cNvSpPr>
              <a:spLocks noChangeArrowheads="1"/>
            </p:cNvSpPr>
            <p:nvPr userDrawn="1"/>
          </p:nvSpPr>
          <p:spPr bwMode="auto">
            <a:xfrm flipH="1">
              <a:off x="6729270" y="6612393"/>
              <a:ext cx="53781"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5" name="Rectangle 64"/>
            <p:cNvSpPr>
              <a:spLocks noChangeArrowheads="1"/>
            </p:cNvSpPr>
            <p:nvPr userDrawn="1"/>
          </p:nvSpPr>
          <p:spPr bwMode="auto">
            <a:xfrm flipH="1">
              <a:off x="6877877" y="6612393"/>
              <a:ext cx="55197"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6" name="Rectangle 65"/>
            <p:cNvSpPr>
              <a:spLocks noChangeArrowheads="1"/>
            </p:cNvSpPr>
            <p:nvPr userDrawn="1"/>
          </p:nvSpPr>
          <p:spPr bwMode="auto">
            <a:xfrm flipH="1">
              <a:off x="7027899" y="6612393"/>
              <a:ext cx="59443"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7" name="Rectangle 66"/>
            <p:cNvSpPr>
              <a:spLocks noChangeArrowheads="1"/>
            </p:cNvSpPr>
            <p:nvPr userDrawn="1"/>
          </p:nvSpPr>
          <p:spPr bwMode="auto">
            <a:xfrm flipH="1">
              <a:off x="7177921" y="6612393"/>
              <a:ext cx="59443"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8" name="Rectangle 67"/>
            <p:cNvSpPr>
              <a:spLocks noChangeArrowheads="1"/>
            </p:cNvSpPr>
            <p:nvPr userDrawn="1"/>
          </p:nvSpPr>
          <p:spPr bwMode="auto">
            <a:xfrm flipH="1">
              <a:off x="6729270" y="6762415"/>
              <a:ext cx="53781"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0" name="Rectangle 68"/>
            <p:cNvSpPr>
              <a:spLocks noChangeArrowheads="1"/>
            </p:cNvSpPr>
            <p:nvPr userDrawn="1"/>
          </p:nvSpPr>
          <p:spPr bwMode="auto">
            <a:xfrm flipH="1">
              <a:off x="6877877" y="6762415"/>
              <a:ext cx="55197"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1" name="Rectangle 69"/>
            <p:cNvSpPr>
              <a:spLocks noChangeArrowheads="1"/>
            </p:cNvSpPr>
            <p:nvPr userDrawn="1"/>
          </p:nvSpPr>
          <p:spPr bwMode="auto">
            <a:xfrm flipH="1">
              <a:off x="7027899" y="6762415"/>
              <a:ext cx="59443"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2" name="Rectangle 70"/>
            <p:cNvSpPr>
              <a:spLocks noChangeArrowheads="1"/>
            </p:cNvSpPr>
            <p:nvPr userDrawn="1"/>
          </p:nvSpPr>
          <p:spPr bwMode="auto">
            <a:xfrm flipH="1">
              <a:off x="7177921" y="6762415"/>
              <a:ext cx="59443"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3" name="Rectangle 71"/>
            <p:cNvSpPr>
              <a:spLocks noChangeArrowheads="1"/>
            </p:cNvSpPr>
            <p:nvPr userDrawn="1"/>
          </p:nvSpPr>
          <p:spPr bwMode="auto">
            <a:xfrm flipH="1">
              <a:off x="8407818" y="6285458"/>
              <a:ext cx="404776" cy="70906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4" name="Rectangle 72"/>
            <p:cNvSpPr>
              <a:spLocks noChangeArrowheads="1"/>
            </p:cNvSpPr>
            <p:nvPr userDrawn="1"/>
          </p:nvSpPr>
          <p:spPr bwMode="auto">
            <a:xfrm flipH="1">
              <a:off x="7210472" y="5907573"/>
              <a:ext cx="403361" cy="1086952"/>
            </a:xfrm>
            <a:prstGeom prst="rect">
              <a:avLst/>
            </a:prstGeom>
            <a:solidFill>
              <a:schemeClr val="bg2">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5" name="Rectangle 73"/>
            <p:cNvSpPr>
              <a:spLocks noChangeArrowheads="1"/>
            </p:cNvSpPr>
            <p:nvPr userDrawn="1"/>
          </p:nvSpPr>
          <p:spPr bwMode="auto">
            <a:xfrm flipH="1">
              <a:off x="7903971" y="5911819"/>
              <a:ext cx="682175" cy="546306"/>
            </a:xfrm>
            <a:prstGeom prst="rect">
              <a:avLst/>
            </a:pr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6" name="Freeform 74"/>
            <p:cNvSpPr>
              <a:spLocks/>
            </p:cNvSpPr>
            <p:nvPr userDrawn="1"/>
          </p:nvSpPr>
          <p:spPr bwMode="auto">
            <a:xfrm flipH="1">
              <a:off x="7613834" y="4921108"/>
              <a:ext cx="581689" cy="2073417"/>
            </a:xfrm>
            <a:custGeom>
              <a:avLst/>
              <a:gdLst>
                <a:gd name="T0" fmla="*/ 0 w 411"/>
                <a:gd name="T1" fmla="*/ 0 h 1465"/>
                <a:gd name="T2" fmla="*/ 411 w 411"/>
                <a:gd name="T3" fmla="*/ 0 h 1465"/>
                <a:gd name="T4" fmla="*/ 411 w 411"/>
                <a:gd name="T5" fmla="*/ 1465 h 1465"/>
                <a:gd name="T6" fmla="*/ 0 w 411"/>
                <a:gd name="T7" fmla="*/ 1465 h 1465"/>
                <a:gd name="T8" fmla="*/ 0 w 411"/>
                <a:gd name="T9" fmla="*/ 954 h 1465"/>
                <a:gd name="T10" fmla="*/ 0 w 411"/>
                <a:gd name="T11" fmla="*/ 0 h 1465"/>
              </a:gdLst>
              <a:ahLst/>
              <a:cxnLst>
                <a:cxn ang="0">
                  <a:pos x="T0" y="T1"/>
                </a:cxn>
                <a:cxn ang="0">
                  <a:pos x="T2" y="T3"/>
                </a:cxn>
                <a:cxn ang="0">
                  <a:pos x="T4" y="T5"/>
                </a:cxn>
                <a:cxn ang="0">
                  <a:pos x="T6" y="T7"/>
                </a:cxn>
                <a:cxn ang="0">
                  <a:pos x="T8" y="T9"/>
                </a:cxn>
                <a:cxn ang="0">
                  <a:pos x="T10" y="T11"/>
                </a:cxn>
              </a:cxnLst>
              <a:rect l="0" t="0" r="r" b="b"/>
              <a:pathLst>
                <a:path w="411" h="1465">
                  <a:moveTo>
                    <a:pt x="0" y="0"/>
                  </a:moveTo>
                  <a:lnTo>
                    <a:pt x="411" y="0"/>
                  </a:lnTo>
                  <a:lnTo>
                    <a:pt x="411" y="1465"/>
                  </a:lnTo>
                  <a:lnTo>
                    <a:pt x="0" y="1465"/>
                  </a:lnTo>
                  <a:lnTo>
                    <a:pt x="0" y="954"/>
                  </a:lnTo>
                  <a:lnTo>
                    <a:pt x="0"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7" name="Freeform 75"/>
            <p:cNvSpPr>
              <a:spLocks/>
            </p:cNvSpPr>
            <p:nvPr userDrawn="1"/>
          </p:nvSpPr>
          <p:spPr bwMode="auto">
            <a:xfrm flipH="1">
              <a:off x="8195523" y="5920311"/>
              <a:ext cx="390623" cy="1074214"/>
            </a:xfrm>
            <a:custGeom>
              <a:avLst/>
              <a:gdLst>
                <a:gd name="T0" fmla="*/ 0 w 276"/>
                <a:gd name="T1" fmla="*/ 380 h 759"/>
                <a:gd name="T2" fmla="*/ 0 w 276"/>
                <a:gd name="T3" fmla="*/ 759 h 759"/>
                <a:gd name="T4" fmla="*/ 276 w 276"/>
                <a:gd name="T5" fmla="*/ 759 h 759"/>
                <a:gd name="T6" fmla="*/ 276 w 276"/>
                <a:gd name="T7" fmla="*/ 0 h 759"/>
                <a:gd name="T8" fmla="*/ 0 w 276"/>
                <a:gd name="T9" fmla="*/ 380 h 759"/>
              </a:gdLst>
              <a:ahLst/>
              <a:cxnLst>
                <a:cxn ang="0">
                  <a:pos x="T0" y="T1"/>
                </a:cxn>
                <a:cxn ang="0">
                  <a:pos x="T2" y="T3"/>
                </a:cxn>
                <a:cxn ang="0">
                  <a:pos x="T4" y="T5"/>
                </a:cxn>
                <a:cxn ang="0">
                  <a:pos x="T6" y="T7"/>
                </a:cxn>
                <a:cxn ang="0">
                  <a:pos x="T8" y="T9"/>
                </a:cxn>
              </a:cxnLst>
              <a:rect l="0" t="0" r="r" b="b"/>
              <a:pathLst>
                <a:path w="276" h="759">
                  <a:moveTo>
                    <a:pt x="0" y="380"/>
                  </a:moveTo>
                  <a:lnTo>
                    <a:pt x="0" y="759"/>
                  </a:lnTo>
                  <a:lnTo>
                    <a:pt x="276" y="759"/>
                  </a:lnTo>
                  <a:lnTo>
                    <a:pt x="276" y="0"/>
                  </a:lnTo>
                  <a:lnTo>
                    <a:pt x="0" y="38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8" name="Rectangle 76"/>
            <p:cNvSpPr>
              <a:spLocks noChangeArrowheads="1"/>
            </p:cNvSpPr>
            <p:nvPr userDrawn="1"/>
          </p:nvSpPr>
          <p:spPr bwMode="auto">
            <a:xfrm flipH="1">
              <a:off x="8063900" y="5034332"/>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9" name="Rectangle 77"/>
            <p:cNvSpPr>
              <a:spLocks noChangeArrowheads="1"/>
            </p:cNvSpPr>
            <p:nvPr userDrawn="1"/>
          </p:nvSpPr>
          <p:spPr bwMode="auto">
            <a:xfrm flipH="1">
              <a:off x="7936522" y="5034332"/>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0" name="Rectangle 78"/>
            <p:cNvSpPr>
              <a:spLocks noChangeArrowheads="1"/>
            </p:cNvSpPr>
            <p:nvPr userDrawn="1"/>
          </p:nvSpPr>
          <p:spPr bwMode="auto">
            <a:xfrm flipH="1">
              <a:off x="7813392" y="5034332"/>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1" name="Rectangle 79"/>
            <p:cNvSpPr>
              <a:spLocks noChangeArrowheads="1"/>
            </p:cNvSpPr>
            <p:nvPr userDrawn="1"/>
          </p:nvSpPr>
          <p:spPr bwMode="auto">
            <a:xfrm flipH="1">
              <a:off x="7686014" y="5034332"/>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2" name="Rectangle 80"/>
            <p:cNvSpPr>
              <a:spLocks noChangeArrowheads="1"/>
            </p:cNvSpPr>
            <p:nvPr userDrawn="1"/>
          </p:nvSpPr>
          <p:spPr bwMode="auto">
            <a:xfrm flipH="1">
              <a:off x="8063900" y="5198507"/>
              <a:ext cx="58028"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3" name="Rectangle 81"/>
            <p:cNvSpPr>
              <a:spLocks noChangeArrowheads="1"/>
            </p:cNvSpPr>
            <p:nvPr userDrawn="1"/>
          </p:nvSpPr>
          <p:spPr bwMode="auto">
            <a:xfrm flipH="1">
              <a:off x="7936522" y="5198507"/>
              <a:ext cx="59443"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4" name="Rectangle 82"/>
            <p:cNvSpPr>
              <a:spLocks noChangeArrowheads="1"/>
            </p:cNvSpPr>
            <p:nvPr userDrawn="1"/>
          </p:nvSpPr>
          <p:spPr bwMode="auto">
            <a:xfrm flipH="1">
              <a:off x="7813392" y="5198507"/>
              <a:ext cx="59443"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5" name="Rectangle 83"/>
            <p:cNvSpPr>
              <a:spLocks noChangeArrowheads="1"/>
            </p:cNvSpPr>
            <p:nvPr userDrawn="1"/>
          </p:nvSpPr>
          <p:spPr bwMode="auto">
            <a:xfrm flipH="1">
              <a:off x="7686014" y="5198507"/>
              <a:ext cx="59443"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6" name="Rectangle 84"/>
            <p:cNvSpPr>
              <a:spLocks noChangeArrowheads="1"/>
            </p:cNvSpPr>
            <p:nvPr userDrawn="1"/>
          </p:nvSpPr>
          <p:spPr bwMode="auto">
            <a:xfrm flipH="1">
              <a:off x="8063900" y="5357021"/>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7" name="Rectangle 85"/>
            <p:cNvSpPr>
              <a:spLocks noChangeArrowheads="1"/>
            </p:cNvSpPr>
            <p:nvPr userDrawn="1"/>
          </p:nvSpPr>
          <p:spPr bwMode="auto">
            <a:xfrm flipH="1">
              <a:off x="7936522" y="5357021"/>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8" name="Rectangle 86"/>
            <p:cNvSpPr>
              <a:spLocks noChangeArrowheads="1"/>
            </p:cNvSpPr>
            <p:nvPr userDrawn="1"/>
          </p:nvSpPr>
          <p:spPr bwMode="auto">
            <a:xfrm flipH="1">
              <a:off x="7813392" y="5357021"/>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9" name="Rectangle 87"/>
            <p:cNvSpPr>
              <a:spLocks noChangeArrowheads="1"/>
            </p:cNvSpPr>
            <p:nvPr userDrawn="1"/>
          </p:nvSpPr>
          <p:spPr bwMode="auto">
            <a:xfrm flipH="1">
              <a:off x="7686014" y="5357021"/>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90" name="Rectangle 88"/>
            <p:cNvSpPr>
              <a:spLocks noChangeArrowheads="1"/>
            </p:cNvSpPr>
            <p:nvPr userDrawn="1"/>
          </p:nvSpPr>
          <p:spPr bwMode="auto">
            <a:xfrm flipH="1">
              <a:off x="8063900" y="5521196"/>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91" name="Rectangle 89"/>
            <p:cNvSpPr>
              <a:spLocks noChangeArrowheads="1"/>
            </p:cNvSpPr>
            <p:nvPr userDrawn="1"/>
          </p:nvSpPr>
          <p:spPr bwMode="auto">
            <a:xfrm flipH="1">
              <a:off x="7936522" y="5521196"/>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92" name="Rectangle 90"/>
            <p:cNvSpPr>
              <a:spLocks noChangeArrowheads="1"/>
            </p:cNvSpPr>
            <p:nvPr userDrawn="1"/>
          </p:nvSpPr>
          <p:spPr bwMode="auto">
            <a:xfrm flipH="1">
              <a:off x="7813392" y="5521196"/>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93" name="Rectangle 91"/>
            <p:cNvSpPr>
              <a:spLocks noChangeArrowheads="1"/>
            </p:cNvSpPr>
            <p:nvPr userDrawn="1"/>
          </p:nvSpPr>
          <p:spPr bwMode="auto">
            <a:xfrm flipH="1">
              <a:off x="7686014" y="5521196"/>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94" name="Rectangle 92"/>
            <p:cNvSpPr>
              <a:spLocks noChangeArrowheads="1"/>
            </p:cNvSpPr>
            <p:nvPr userDrawn="1"/>
          </p:nvSpPr>
          <p:spPr bwMode="auto">
            <a:xfrm flipH="1">
              <a:off x="8063900" y="5683955"/>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95" name="Rectangle 93"/>
            <p:cNvSpPr>
              <a:spLocks noChangeArrowheads="1"/>
            </p:cNvSpPr>
            <p:nvPr userDrawn="1"/>
          </p:nvSpPr>
          <p:spPr bwMode="auto">
            <a:xfrm flipH="1">
              <a:off x="7936522" y="5683955"/>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0" name="Rectangle 94"/>
            <p:cNvSpPr>
              <a:spLocks noChangeArrowheads="1"/>
            </p:cNvSpPr>
            <p:nvPr userDrawn="1"/>
          </p:nvSpPr>
          <p:spPr bwMode="auto">
            <a:xfrm flipH="1">
              <a:off x="7813392" y="5683955"/>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1" name="Rectangle 95"/>
            <p:cNvSpPr>
              <a:spLocks noChangeArrowheads="1"/>
            </p:cNvSpPr>
            <p:nvPr userDrawn="1"/>
          </p:nvSpPr>
          <p:spPr bwMode="auto">
            <a:xfrm flipH="1">
              <a:off x="7686014" y="5683955"/>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2" name="Rectangle 96"/>
            <p:cNvSpPr>
              <a:spLocks noChangeArrowheads="1"/>
            </p:cNvSpPr>
            <p:nvPr userDrawn="1"/>
          </p:nvSpPr>
          <p:spPr bwMode="auto">
            <a:xfrm flipH="1">
              <a:off x="8063900" y="5848130"/>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3" name="Rectangle 97"/>
            <p:cNvSpPr>
              <a:spLocks noChangeArrowheads="1"/>
            </p:cNvSpPr>
            <p:nvPr userDrawn="1"/>
          </p:nvSpPr>
          <p:spPr bwMode="auto">
            <a:xfrm flipH="1">
              <a:off x="7936522" y="5848130"/>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4" name="Rectangle 98"/>
            <p:cNvSpPr>
              <a:spLocks noChangeArrowheads="1"/>
            </p:cNvSpPr>
            <p:nvPr userDrawn="1"/>
          </p:nvSpPr>
          <p:spPr bwMode="auto">
            <a:xfrm flipH="1">
              <a:off x="7813392" y="5848130"/>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5" name="Rectangle 99"/>
            <p:cNvSpPr>
              <a:spLocks noChangeArrowheads="1"/>
            </p:cNvSpPr>
            <p:nvPr userDrawn="1"/>
          </p:nvSpPr>
          <p:spPr bwMode="auto">
            <a:xfrm flipH="1">
              <a:off x="7686014" y="5848130"/>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6" name="Rectangle 100"/>
            <p:cNvSpPr>
              <a:spLocks noChangeArrowheads="1"/>
            </p:cNvSpPr>
            <p:nvPr userDrawn="1"/>
          </p:nvSpPr>
          <p:spPr bwMode="auto">
            <a:xfrm flipH="1">
              <a:off x="8063900" y="6012305"/>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7" name="Rectangle 101"/>
            <p:cNvSpPr>
              <a:spLocks noChangeArrowheads="1"/>
            </p:cNvSpPr>
            <p:nvPr userDrawn="1"/>
          </p:nvSpPr>
          <p:spPr bwMode="auto">
            <a:xfrm flipH="1">
              <a:off x="7936522" y="6012305"/>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8" name="Rectangle 102"/>
            <p:cNvSpPr>
              <a:spLocks noChangeArrowheads="1"/>
            </p:cNvSpPr>
            <p:nvPr userDrawn="1"/>
          </p:nvSpPr>
          <p:spPr bwMode="auto">
            <a:xfrm flipH="1">
              <a:off x="7813392" y="6012305"/>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49" name="Rectangle 103"/>
            <p:cNvSpPr>
              <a:spLocks noChangeArrowheads="1"/>
            </p:cNvSpPr>
            <p:nvPr userDrawn="1"/>
          </p:nvSpPr>
          <p:spPr bwMode="auto">
            <a:xfrm flipH="1">
              <a:off x="7686014" y="6012305"/>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0" name="Rectangle 104"/>
            <p:cNvSpPr>
              <a:spLocks noChangeArrowheads="1"/>
            </p:cNvSpPr>
            <p:nvPr userDrawn="1"/>
          </p:nvSpPr>
          <p:spPr bwMode="auto">
            <a:xfrm flipH="1">
              <a:off x="8063900" y="6330748"/>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1" name="Rectangle 105"/>
            <p:cNvSpPr>
              <a:spLocks noChangeArrowheads="1"/>
            </p:cNvSpPr>
            <p:nvPr userDrawn="1"/>
          </p:nvSpPr>
          <p:spPr bwMode="auto">
            <a:xfrm flipH="1">
              <a:off x="7936522" y="6330748"/>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2" name="Rectangle 106"/>
            <p:cNvSpPr>
              <a:spLocks noChangeArrowheads="1"/>
            </p:cNvSpPr>
            <p:nvPr userDrawn="1"/>
          </p:nvSpPr>
          <p:spPr bwMode="auto">
            <a:xfrm flipH="1">
              <a:off x="7813392" y="6330748"/>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3" name="Rectangle 107"/>
            <p:cNvSpPr>
              <a:spLocks noChangeArrowheads="1"/>
            </p:cNvSpPr>
            <p:nvPr userDrawn="1"/>
          </p:nvSpPr>
          <p:spPr bwMode="auto">
            <a:xfrm flipH="1">
              <a:off x="7686014" y="6330748"/>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4" name="Rectangle 108"/>
            <p:cNvSpPr>
              <a:spLocks noChangeArrowheads="1"/>
            </p:cNvSpPr>
            <p:nvPr userDrawn="1"/>
          </p:nvSpPr>
          <p:spPr bwMode="auto">
            <a:xfrm flipH="1">
              <a:off x="8063900" y="6162327"/>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5" name="Rectangle 109"/>
            <p:cNvSpPr>
              <a:spLocks noChangeArrowheads="1"/>
            </p:cNvSpPr>
            <p:nvPr userDrawn="1"/>
          </p:nvSpPr>
          <p:spPr bwMode="auto">
            <a:xfrm flipH="1">
              <a:off x="7936522" y="6162327"/>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6" name="Rectangle 110"/>
            <p:cNvSpPr>
              <a:spLocks noChangeArrowheads="1"/>
            </p:cNvSpPr>
            <p:nvPr userDrawn="1"/>
          </p:nvSpPr>
          <p:spPr bwMode="auto">
            <a:xfrm flipH="1">
              <a:off x="7813392" y="6162327"/>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7" name="Rectangle 111"/>
            <p:cNvSpPr>
              <a:spLocks noChangeArrowheads="1"/>
            </p:cNvSpPr>
            <p:nvPr userDrawn="1"/>
          </p:nvSpPr>
          <p:spPr bwMode="auto">
            <a:xfrm flipH="1">
              <a:off x="7686014" y="6162327"/>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8" name="Rectangle 112"/>
            <p:cNvSpPr>
              <a:spLocks noChangeArrowheads="1"/>
            </p:cNvSpPr>
            <p:nvPr userDrawn="1"/>
          </p:nvSpPr>
          <p:spPr bwMode="auto">
            <a:xfrm flipH="1">
              <a:off x="8063900" y="6493507"/>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59" name="Rectangle 113"/>
            <p:cNvSpPr>
              <a:spLocks noChangeArrowheads="1"/>
            </p:cNvSpPr>
            <p:nvPr userDrawn="1"/>
          </p:nvSpPr>
          <p:spPr bwMode="auto">
            <a:xfrm flipH="1">
              <a:off x="7936522" y="6493507"/>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0" name="Rectangle 114"/>
            <p:cNvSpPr>
              <a:spLocks noChangeArrowheads="1"/>
            </p:cNvSpPr>
            <p:nvPr userDrawn="1"/>
          </p:nvSpPr>
          <p:spPr bwMode="auto">
            <a:xfrm flipH="1">
              <a:off x="7813392" y="6493507"/>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1" name="Rectangle 115"/>
            <p:cNvSpPr>
              <a:spLocks noChangeArrowheads="1"/>
            </p:cNvSpPr>
            <p:nvPr userDrawn="1"/>
          </p:nvSpPr>
          <p:spPr bwMode="auto">
            <a:xfrm flipH="1">
              <a:off x="7686014" y="6493507"/>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2" name="Rectangle 116"/>
            <p:cNvSpPr>
              <a:spLocks noChangeArrowheads="1"/>
            </p:cNvSpPr>
            <p:nvPr userDrawn="1"/>
          </p:nvSpPr>
          <p:spPr bwMode="auto">
            <a:xfrm flipH="1">
              <a:off x="8063900" y="6661929"/>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3" name="Rectangle 117"/>
            <p:cNvSpPr>
              <a:spLocks noChangeArrowheads="1"/>
            </p:cNvSpPr>
            <p:nvPr userDrawn="1"/>
          </p:nvSpPr>
          <p:spPr bwMode="auto">
            <a:xfrm flipH="1">
              <a:off x="7936522" y="6661929"/>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4" name="Rectangle 118"/>
            <p:cNvSpPr>
              <a:spLocks noChangeArrowheads="1"/>
            </p:cNvSpPr>
            <p:nvPr userDrawn="1"/>
          </p:nvSpPr>
          <p:spPr bwMode="auto">
            <a:xfrm flipH="1">
              <a:off x="7813392" y="6661929"/>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5" name="Rectangle 119"/>
            <p:cNvSpPr>
              <a:spLocks noChangeArrowheads="1"/>
            </p:cNvSpPr>
            <p:nvPr userDrawn="1"/>
          </p:nvSpPr>
          <p:spPr bwMode="auto">
            <a:xfrm flipH="1">
              <a:off x="7686014" y="6661929"/>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6" name="Rectangle 120"/>
            <p:cNvSpPr>
              <a:spLocks noChangeArrowheads="1"/>
            </p:cNvSpPr>
            <p:nvPr userDrawn="1"/>
          </p:nvSpPr>
          <p:spPr bwMode="auto">
            <a:xfrm flipH="1">
              <a:off x="8063900" y="6826104"/>
              <a:ext cx="58028"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7" name="Rectangle 121"/>
            <p:cNvSpPr>
              <a:spLocks noChangeArrowheads="1"/>
            </p:cNvSpPr>
            <p:nvPr userDrawn="1"/>
          </p:nvSpPr>
          <p:spPr bwMode="auto">
            <a:xfrm flipH="1">
              <a:off x="7936522" y="6826104"/>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8" name="Rectangle 122"/>
            <p:cNvSpPr>
              <a:spLocks noChangeArrowheads="1"/>
            </p:cNvSpPr>
            <p:nvPr userDrawn="1"/>
          </p:nvSpPr>
          <p:spPr bwMode="auto">
            <a:xfrm flipH="1">
              <a:off x="7813392" y="6826104"/>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69" name="Rectangle 123"/>
            <p:cNvSpPr>
              <a:spLocks noChangeArrowheads="1"/>
            </p:cNvSpPr>
            <p:nvPr userDrawn="1"/>
          </p:nvSpPr>
          <p:spPr bwMode="auto">
            <a:xfrm flipH="1">
              <a:off x="7686014" y="6826104"/>
              <a:ext cx="59443" cy="108979"/>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0" name="Rectangle 124"/>
            <p:cNvSpPr>
              <a:spLocks noChangeArrowheads="1"/>
            </p:cNvSpPr>
            <p:nvPr userDrawn="1"/>
          </p:nvSpPr>
          <p:spPr bwMode="auto">
            <a:xfrm flipH="1">
              <a:off x="8485659" y="6012305"/>
              <a:ext cx="59443" cy="1089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1" name="Rectangle 125"/>
            <p:cNvSpPr>
              <a:spLocks noChangeArrowheads="1"/>
            </p:cNvSpPr>
            <p:nvPr userDrawn="1"/>
          </p:nvSpPr>
          <p:spPr bwMode="auto">
            <a:xfrm flipH="1">
              <a:off x="8362528" y="6012305"/>
              <a:ext cx="55197" cy="1089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2" name="Rectangle 126"/>
            <p:cNvSpPr>
              <a:spLocks noChangeArrowheads="1"/>
            </p:cNvSpPr>
            <p:nvPr userDrawn="1"/>
          </p:nvSpPr>
          <p:spPr bwMode="auto">
            <a:xfrm flipH="1">
              <a:off x="8236566" y="6012305"/>
              <a:ext cx="58028" cy="1089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3" name="Rectangle 127"/>
            <p:cNvSpPr>
              <a:spLocks noChangeArrowheads="1"/>
            </p:cNvSpPr>
            <p:nvPr userDrawn="1"/>
          </p:nvSpPr>
          <p:spPr bwMode="auto">
            <a:xfrm flipH="1">
              <a:off x="8485659" y="6175065"/>
              <a:ext cx="59443"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4" name="Rectangle 128"/>
            <p:cNvSpPr>
              <a:spLocks noChangeArrowheads="1"/>
            </p:cNvSpPr>
            <p:nvPr userDrawn="1"/>
          </p:nvSpPr>
          <p:spPr bwMode="auto">
            <a:xfrm flipH="1">
              <a:off x="8362528" y="6175065"/>
              <a:ext cx="55197"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5" name="Rectangle 129"/>
            <p:cNvSpPr>
              <a:spLocks noChangeArrowheads="1"/>
            </p:cNvSpPr>
            <p:nvPr userDrawn="1"/>
          </p:nvSpPr>
          <p:spPr bwMode="auto">
            <a:xfrm flipH="1">
              <a:off x="8236566" y="6175065"/>
              <a:ext cx="58028"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6" name="Rectangle 130"/>
            <p:cNvSpPr>
              <a:spLocks noChangeArrowheads="1"/>
            </p:cNvSpPr>
            <p:nvPr userDrawn="1"/>
          </p:nvSpPr>
          <p:spPr bwMode="auto">
            <a:xfrm flipH="1">
              <a:off x="8485659" y="6325087"/>
              <a:ext cx="59443"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7" name="Rectangle 131"/>
            <p:cNvSpPr>
              <a:spLocks noChangeArrowheads="1"/>
            </p:cNvSpPr>
            <p:nvPr userDrawn="1"/>
          </p:nvSpPr>
          <p:spPr bwMode="auto">
            <a:xfrm flipH="1">
              <a:off x="8362528" y="6325087"/>
              <a:ext cx="55197"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8" name="Rectangle 132"/>
            <p:cNvSpPr>
              <a:spLocks noChangeArrowheads="1"/>
            </p:cNvSpPr>
            <p:nvPr userDrawn="1"/>
          </p:nvSpPr>
          <p:spPr bwMode="auto">
            <a:xfrm flipH="1">
              <a:off x="8236566" y="6325087"/>
              <a:ext cx="58028"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79" name="Rectangle 133"/>
            <p:cNvSpPr>
              <a:spLocks noChangeArrowheads="1"/>
            </p:cNvSpPr>
            <p:nvPr userDrawn="1"/>
          </p:nvSpPr>
          <p:spPr bwMode="auto">
            <a:xfrm flipH="1">
              <a:off x="8485659" y="6475109"/>
              <a:ext cx="59443"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0" name="Rectangle 134"/>
            <p:cNvSpPr>
              <a:spLocks noChangeArrowheads="1"/>
            </p:cNvSpPr>
            <p:nvPr userDrawn="1"/>
          </p:nvSpPr>
          <p:spPr bwMode="auto">
            <a:xfrm flipH="1">
              <a:off x="8362528" y="6475109"/>
              <a:ext cx="55197"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1" name="Rectangle 135"/>
            <p:cNvSpPr>
              <a:spLocks noChangeArrowheads="1"/>
            </p:cNvSpPr>
            <p:nvPr userDrawn="1"/>
          </p:nvSpPr>
          <p:spPr bwMode="auto">
            <a:xfrm flipH="1">
              <a:off x="8236566" y="6475109"/>
              <a:ext cx="58028" cy="11039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2" name="Rectangle 136"/>
            <p:cNvSpPr>
              <a:spLocks noChangeArrowheads="1"/>
            </p:cNvSpPr>
            <p:nvPr userDrawn="1"/>
          </p:nvSpPr>
          <p:spPr bwMode="auto">
            <a:xfrm flipH="1">
              <a:off x="8485659" y="6630792"/>
              <a:ext cx="59443" cy="104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3" name="Rectangle 137"/>
            <p:cNvSpPr>
              <a:spLocks noChangeArrowheads="1"/>
            </p:cNvSpPr>
            <p:nvPr userDrawn="1"/>
          </p:nvSpPr>
          <p:spPr bwMode="auto">
            <a:xfrm flipH="1">
              <a:off x="8362528" y="6630792"/>
              <a:ext cx="55197" cy="104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4" name="Rectangle 138"/>
            <p:cNvSpPr>
              <a:spLocks noChangeArrowheads="1"/>
            </p:cNvSpPr>
            <p:nvPr userDrawn="1"/>
          </p:nvSpPr>
          <p:spPr bwMode="auto">
            <a:xfrm flipH="1">
              <a:off x="8236566" y="6630792"/>
              <a:ext cx="58028" cy="104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5" name="Rectangle 139"/>
            <p:cNvSpPr>
              <a:spLocks noChangeArrowheads="1"/>
            </p:cNvSpPr>
            <p:nvPr userDrawn="1"/>
          </p:nvSpPr>
          <p:spPr bwMode="auto">
            <a:xfrm flipH="1">
              <a:off x="8485659" y="6780814"/>
              <a:ext cx="59443" cy="1089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6" name="Rectangle 140"/>
            <p:cNvSpPr>
              <a:spLocks noChangeArrowheads="1"/>
            </p:cNvSpPr>
            <p:nvPr userDrawn="1"/>
          </p:nvSpPr>
          <p:spPr bwMode="auto">
            <a:xfrm flipH="1">
              <a:off x="8362528" y="6780814"/>
              <a:ext cx="55197" cy="1089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7" name="Rectangle 141"/>
            <p:cNvSpPr>
              <a:spLocks noChangeArrowheads="1"/>
            </p:cNvSpPr>
            <p:nvPr userDrawn="1"/>
          </p:nvSpPr>
          <p:spPr bwMode="auto">
            <a:xfrm flipH="1">
              <a:off x="8236566" y="6780814"/>
              <a:ext cx="58028" cy="1089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8" name="Rectangle 142"/>
            <p:cNvSpPr>
              <a:spLocks noChangeArrowheads="1"/>
            </p:cNvSpPr>
            <p:nvPr userDrawn="1"/>
          </p:nvSpPr>
          <p:spPr bwMode="auto">
            <a:xfrm flipH="1">
              <a:off x="7686014" y="4810714"/>
              <a:ext cx="186820" cy="11039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89" name="Rectangle 143"/>
            <p:cNvSpPr>
              <a:spLocks noChangeArrowheads="1"/>
            </p:cNvSpPr>
            <p:nvPr userDrawn="1"/>
          </p:nvSpPr>
          <p:spPr bwMode="auto">
            <a:xfrm flipH="1">
              <a:off x="8027102" y="4742780"/>
              <a:ext cx="36798" cy="17832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0" name="Freeform 144"/>
            <p:cNvSpPr>
              <a:spLocks/>
            </p:cNvSpPr>
            <p:nvPr userDrawn="1"/>
          </p:nvSpPr>
          <p:spPr bwMode="auto">
            <a:xfrm flipH="1">
              <a:off x="8876283" y="5357021"/>
              <a:ext cx="421760" cy="1637504"/>
            </a:xfrm>
            <a:custGeom>
              <a:avLst/>
              <a:gdLst>
                <a:gd name="T0" fmla="*/ 0 w 298"/>
                <a:gd name="T1" fmla="*/ 193 h 1157"/>
                <a:gd name="T2" fmla="*/ 298 w 298"/>
                <a:gd name="T3" fmla="*/ 0 h 1157"/>
                <a:gd name="T4" fmla="*/ 298 w 298"/>
                <a:gd name="T5" fmla="*/ 1157 h 1157"/>
                <a:gd name="T6" fmla="*/ 0 w 298"/>
                <a:gd name="T7" fmla="*/ 1157 h 1157"/>
                <a:gd name="T8" fmla="*/ 0 w 298"/>
                <a:gd name="T9" fmla="*/ 193 h 1157"/>
              </a:gdLst>
              <a:ahLst/>
              <a:cxnLst>
                <a:cxn ang="0">
                  <a:pos x="T0" y="T1"/>
                </a:cxn>
                <a:cxn ang="0">
                  <a:pos x="T2" y="T3"/>
                </a:cxn>
                <a:cxn ang="0">
                  <a:pos x="T4" y="T5"/>
                </a:cxn>
                <a:cxn ang="0">
                  <a:pos x="T6" y="T7"/>
                </a:cxn>
                <a:cxn ang="0">
                  <a:pos x="T8" y="T9"/>
                </a:cxn>
              </a:cxnLst>
              <a:rect l="0" t="0" r="r" b="b"/>
              <a:pathLst>
                <a:path w="298" h="1157">
                  <a:moveTo>
                    <a:pt x="0" y="193"/>
                  </a:moveTo>
                  <a:lnTo>
                    <a:pt x="298" y="0"/>
                  </a:lnTo>
                  <a:lnTo>
                    <a:pt x="298" y="1157"/>
                  </a:lnTo>
                  <a:lnTo>
                    <a:pt x="0" y="1157"/>
                  </a:lnTo>
                  <a:lnTo>
                    <a:pt x="0" y="193"/>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1" name="Rectangle 145"/>
            <p:cNvSpPr>
              <a:spLocks noChangeArrowheads="1"/>
            </p:cNvSpPr>
            <p:nvPr userDrawn="1"/>
          </p:nvSpPr>
          <p:spPr bwMode="auto">
            <a:xfrm flipH="1">
              <a:off x="9811798" y="5961354"/>
              <a:ext cx="226448" cy="1033170"/>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2" name="Rectangle 146"/>
            <p:cNvSpPr>
              <a:spLocks noChangeArrowheads="1"/>
            </p:cNvSpPr>
            <p:nvPr userDrawn="1"/>
          </p:nvSpPr>
          <p:spPr bwMode="auto">
            <a:xfrm flipH="1">
              <a:off x="9474956" y="5375419"/>
              <a:ext cx="450066" cy="161910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3" name="Freeform 147"/>
            <p:cNvSpPr>
              <a:spLocks/>
            </p:cNvSpPr>
            <p:nvPr userDrawn="1"/>
          </p:nvSpPr>
          <p:spPr bwMode="auto">
            <a:xfrm flipH="1">
              <a:off x="9583934" y="5211244"/>
              <a:ext cx="232109" cy="164175"/>
            </a:xfrm>
            <a:custGeom>
              <a:avLst/>
              <a:gdLst>
                <a:gd name="T0" fmla="*/ 122 w 164"/>
                <a:gd name="T1" fmla="*/ 0 h 116"/>
                <a:gd name="T2" fmla="*/ 42 w 164"/>
                <a:gd name="T3" fmla="*/ 0 h 116"/>
                <a:gd name="T4" fmla="*/ 0 w 164"/>
                <a:gd name="T5" fmla="*/ 116 h 116"/>
                <a:gd name="T6" fmla="*/ 164 w 164"/>
                <a:gd name="T7" fmla="*/ 116 h 116"/>
                <a:gd name="T8" fmla="*/ 122 w 164"/>
                <a:gd name="T9" fmla="*/ 0 h 116"/>
              </a:gdLst>
              <a:ahLst/>
              <a:cxnLst>
                <a:cxn ang="0">
                  <a:pos x="T0" y="T1"/>
                </a:cxn>
                <a:cxn ang="0">
                  <a:pos x="T2" y="T3"/>
                </a:cxn>
                <a:cxn ang="0">
                  <a:pos x="T4" y="T5"/>
                </a:cxn>
                <a:cxn ang="0">
                  <a:pos x="T6" y="T7"/>
                </a:cxn>
                <a:cxn ang="0">
                  <a:pos x="T8" y="T9"/>
                </a:cxn>
              </a:cxnLst>
              <a:rect l="0" t="0" r="r" b="b"/>
              <a:pathLst>
                <a:path w="164" h="116">
                  <a:moveTo>
                    <a:pt x="122" y="0"/>
                  </a:moveTo>
                  <a:lnTo>
                    <a:pt x="42" y="0"/>
                  </a:lnTo>
                  <a:lnTo>
                    <a:pt x="0" y="116"/>
                  </a:lnTo>
                  <a:lnTo>
                    <a:pt x="164" y="116"/>
                  </a:lnTo>
                  <a:lnTo>
                    <a:pt x="122"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5" name="Rectangle 149"/>
            <p:cNvSpPr>
              <a:spLocks noChangeArrowheads="1"/>
            </p:cNvSpPr>
            <p:nvPr userDrawn="1"/>
          </p:nvSpPr>
          <p:spPr bwMode="auto">
            <a:xfrm flipH="1">
              <a:off x="9820289" y="5429201"/>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6" name="Rectangle 150"/>
            <p:cNvSpPr>
              <a:spLocks noChangeArrowheads="1"/>
            </p:cNvSpPr>
            <p:nvPr userDrawn="1"/>
          </p:nvSpPr>
          <p:spPr bwMode="auto">
            <a:xfrm flipH="1">
              <a:off x="9725464" y="5429201"/>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7" name="Rectangle 151"/>
            <p:cNvSpPr>
              <a:spLocks noChangeArrowheads="1"/>
            </p:cNvSpPr>
            <p:nvPr userDrawn="1"/>
          </p:nvSpPr>
          <p:spPr bwMode="auto">
            <a:xfrm flipH="1">
              <a:off x="9629223" y="5429201"/>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8" name="Rectangle 152"/>
            <p:cNvSpPr>
              <a:spLocks noChangeArrowheads="1"/>
            </p:cNvSpPr>
            <p:nvPr userDrawn="1"/>
          </p:nvSpPr>
          <p:spPr bwMode="auto">
            <a:xfrm flipH="1">
              <a:off x="9534399" y="5429201"/>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9" name="Rectangle 153"/>
            <p:cNvSpPr>
              <a:spLocks noChangeArrowheads="1"/>
            </p:cNvSpPr>
            <p:nvPr userDrawn="1"/>
          </p:nvSpPr>
          <p:spPr bwMode="auto">
            <a:xfrm flipH="1">
              <a:off x="9820289" y="5579223"/>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0" name="Rectangle 154"/>
            <p:cNvSpPr>
              <a:spLocks noChangeArrowheads="1"/>
            </p:cNvSpPr>
            <p:nvPr userDrawn="1"/>
          </p:nvSpPr>
          <p:spPr bwMode="auto">
            <a:xfrm flipH="1">
              <a:off x="9725464" y="5579223"/>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1" name="Rectangle 155"/>
            <p:cNvSpPr>
              <a:spLocks noChangeArrowheads="1"/>
            </p:cNvSpPr>
            <p:nvPr userDrawn="1"/>
          </p:nvSpPr>
          <p:spPr bwMode="auto">
            <a:xfrm flipH="1">
              <a:off x="9629223" y="5579223"/>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2" name="Rectangle 156"/>
            <p:cNvSpPr>
              <a:spLocks noChangeArrowheads="1"/>
            </p:cNvSpPr>
            <p:nvPr userDrawn="1"/>
          </p:nvSpPr>
          <p:spPr bwMode="auto">
            <a:xfrm flipH="1">
              <a:off x="9534399" y="5579223"/>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3" name="Rectangle 157"/>
            <p:cNvSpPr>
              <a:spLocks noChangeArrowheads="1"/>
            </p:cNvSpPr>
            <p:nvPr userDrawn="1"/>
          </p:nvSpPr>
          <p:spPr bwMode="auto">
            <a:xfrm flipH="1">
              <a:off x="9820289" y="5729245"/>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4" name="Rectangle 158"/>
            <p:cNvSpPr>
              <a:spLocks noChangeArrowheads="1"/>
            </p:cNvSpPr>
            <p:nvPr userDrawn="1"/>
          </p:nvSpPr>
          <p:spPr bwMode="auto">
            <a:xfrm flipH="1">
              <a:off x="9725464" y="5729245"/>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5" name="Rectangle 159"/>
            <p:cNvSpPr>
              <a:spLocks noChangeArrowheads="1"/>
            </p:cNvSpPr>
            <p:nvPr userDrawn="1"/>
          </p:nvSpPr>
          <p:spPr bwMode="auto">
            <a:xfrm flipH="1">
              <a:off x="9629223" y="5729245"/>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6" name="Rectangle 160"/>
            <p:cNvSpPr>
              <a:spLocks noChangeArrowheads="1"/>
            </p:cNvSpPr>
            <p:nvPr userDrawn="1"/>
          </p:nvSpPr>
          <p:spPr bwMode="auto">
            <a:xfrm flipH="1">
              <a:off x="9534399" y="5729245"/>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7" name="Rectangle 161"/>
            <p:cNvSpPr>
              <a:spLocks noChangeArrowheads="1"/>
            </p:cNvSpPr>
            <p:nvPr userDrawn="1"/>
          </p:nvSpPr>
          <p:spPr bwMode="auto">
            <a:xfrm flipH="1">
              <a:off x="9820289" y="5880682"/>
              <a:ext cx="45290"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8" name="Rectangle 162"/>
            <p:cNvSpPr>
              <a:spLocks noChangeArrowheads="1"/>
            </p:cNvSpPr>
            <p:nvPr userDrawn="1"/>
          </p:nvSpPr>
          <p:spPr bwMode="auto">
            <a:xfrm flipH="1">
              <a:off x="9725464" y="5880682"/>
              <a:ext cx="45290"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09" name="Rectangle 163"/>
            <p:cNvSpPr>
              <a:spLocks noChangeArrowheads="1"/>
            </p:cNvSpPr>
            <p:nvPr userDrawn="1"/>
          </p:nvSpPr>
          <p:spPr bwMode="auto">
            <a:xfrm flipH="1">
              <a:off x="9629223" y="5880682"/>
              <a:ext cx="45290"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0" name="Rectangle 164"/>
            <p:cNvSpPr>
              <a:spLocks noChangeArrowheads="1"/>
            </p:cNvSpPr>
            <p:nvPr userDrawn="1"/>
          </p:nvSpPr>
          <p:spPr bwMode="auto">
            <a:xfrm flipH="1">
              <a:off x="9534399" y="5880682"/>
              <a:ext cx="45290" cy="10331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1" name="Rectangle 165"/>
            <p:cNvSpPr>
              <a:spLocks noChangeArrowheads="1"/>
            </p:cNvSpPr>
            <p:nvPr userDrawn="1"/>
          </p:nvSpPr>
          <p:spPr bwMode="auto">
            <a:xfrm flipH="1">
              <a:off x="9820289" y="6034950"/>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2" name="Rectangle 166"/>
            <p:cNvSpPr>
              <a:spLocks noChangeArrowheads="1"/>
            </p:cNvSpPr>
            <p:nvPr userDrawn="1"/>
          </p:nvSpPr>
          <p:spPr bwMode="auto">
            <a:xfrm flipH="1">
              <a:off x="9725464" y="6034950"/>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3" name="Rectangle 167"/>
            <p:cNvSpPr>
              <a:spLocks noChangeArrowheads="1"/>
            </p:cNvSpPr>
            <p:nvPr userDrawn="1"/>
          </p:nvSpPr>
          <p:spPr bwMode="auto">
            <a:xfrm flipH="1">
              <a:off x="9629223" y="6034950"/>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4" name="Rectangle 168"/>
            <p:cNvSpPr>
              <a:spLocks noChangeArrowheads="1"/>
            </p:cNvSpPr>
            <p:nvPr userDrawn="1"/>
          </p:nvSpPr>
          <p:spPr bwMode="auto">
            <a:xfrm flipH="1">
              <a:off x="9534399" y="6034950"/>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5" name="Rectangle 169"/>
            <p:cNvSpPr>
              <a:spLocks noChangeArrowheads="1"/>
            </p:cNvSpPr>
            <p:nvPr userDrawn="1"/>
          </p:nvSpPr>
          <p:spPr bwMode="auto">
            <a:xfrm flipH="1">
              <a:off x="9820289" y="6184972"/>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6" name="Rectangle 170"/>
            <p:cNvSpPr>
              <a:spLocks noChangeArrowheads="1"/>
            </p:cNvSpPr>
            <p:nvPr userDrawn="1"/>
          </p:nvSpPr>
          <p:spPr bwMode="auto">
            <a:xfrm flipH="1">
              <a:off x="9725464" y="6184972"/>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7" name="Rectangle 171"/>
            <p:cNvSpPr>
              <a:spLocks noChangeArrowheads="1"/>
            </p:cNvSpPr>
            <p:nvPr userDrawn="1"/>
          </p:nvSpPr>
          <p:spPr bwMode="auto">
            <a:xfrm flipH="1">
              <a:off x="9629223" y="6184972"/>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8" name="Rectangle 172"/>
            <p:cNvSpPr>
              <a:spLocks noChangeArrowheads="1"/>
            </p:cNvSpPr>
            <p:nvPr userDrawn="1"/>
          </p:nvSpPr>
          <p:spPr bwMode="auto">
            <a:xfrm flipH="1">
              <a:off x="9534399" y="6184972"/>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19" name="Rectangle 173"/>
            <p:cNvSpPr>
              <a:spLocks noChangeArrowheads="1"/>
            </p:cNvSpPr>
            <p:nvPr userDrawn="1"/>
          </p:nvSpPr>
          <p:spPr bwMode="auto">
            <a:xfrm flipH="1">
              <a:off x="9820289" y="6334994"/>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0" name="Rectangle 174"/>
            <p:cNvSpPr>
              <a:spLocks noChangeArrowheads="1"/>
            </p:cNvSpPr>
            <p:nvPr userDrawn="1"/>
          </p:nvSpPr>
          <p:spPr bwMode="auto">
            <a:xfrm flipH="1">
              <a:off x="9725464" y="6334994"/>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1" name="Rectangle 175"/>
            <p:cNvSpPr>
              <a:spLocks noChangeArrowheads="1"/>
            </p:cNvSpPr>
            <p:nvPr userDrawn="1"/>
          </p:nvSpPr>
          <p:spPr bwMode="auto">
            <a:xfrm flipH="1">
              <a:off x="9629223" y="6334994"/>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2" name="Rectangle 176"/>
            <p:cNvSpPr>
              <a:spLocks noChangeArrowheads="1"/>
            </p:cNvSpPr>
            <p:nvPr userDrawn="1"/>
          </p:nvSpPr>
          <p:spPr bwMode="auto">
            <a:xfrm flipH="1">
              <a:off x="9534399" y="6334994"/>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3" name="Rectangle 177"/>
            <p:cNvSpPr>
              <a:spLocks noChangeArrowheads="1"/>
            </p:cNvSpPr>
            <p:nvPr userDrawn="1"/>
          </p:nvSpPr>
          <p:spPr bwMode="auto">
            <a:xfrm flipH="1">
              <a:off x="9820289" y="6485016"/>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4" name="Rectangle 178"/>
            <p:cNvSpPr>
              <a:spLocks noChangeArrowheads="1"/>
            </p:cNvSpPr>
            <p:nvPr userDrawn="1"/>
          </p:nvSpPr>
          <p:spPr bwMode="auto">
            <a:xfrm flipH="1">
              <a:off x="9725464" y="6485016"/>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5" name="Rectangle 179"/>
            <p:cNvSpPr>
              <a:spLocks noChangeArrowheads="1"/>
            </p:cNvSpPr>
            <p:nvPr userDrawn="1"/>
          </p:nvSpPr>
          <p:spPr bwMode="auto">
            <a:xfrm flipH="1">
              <a:off x="9629223" y="6485016"/>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6" name="Rectangle 180"/>
            <p:cNvSpPr>
              <a:spLocks noChangeArrowheads="1"/>
            </p:cNvSpPr>
            <p:nvPr userDrawn="1"/>
          </p:nvSpPr>
          <p:spPr bwMode="auto">
            <a:xfrm flipH="1">
              <a:off x="9534399" y="6485016"/>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7" name="Rectangle 181"/>
            <p:cNvSpPr>
              <a:spLocks noChangeArrowheads="1"/>
            </p:cNvSpPr>
            <p:nvPr userDrawn="1"/>
          </p:nvSpPr>
          <p:spPr bwMode="auto">
            <a:xfrm flipH="1">
              <a:off x="9820289" y="6635038"/>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8" name="Rectangle 182"/>
            <p:cNvSpPr>
              <a:spLocks noChangeArrowheads="1"/>
            </p:cNvSpPr>
            <p:nvPr userDrawn="1"/>
          </p:nvSpPr>
          <p:spPr bwMode="auto">
            <a:xfrm flipH="1">
              <a:off x="9725464" y="6635038"/>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29" name="Rectangle 183"/>
            <p:cNvSpPr>
              <a:spLocks noChangeArrowheads="1"/>
            </p:cNvSpPr>
            <p:nvPr userDrawn="1"/>
          </p:nvSpPr>
          <p:spPr bwMode="auto">
            <a:xfrm flipH="1">
              <a:off x="9629223" y="6635038"/>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0" name="Rectangle 184"/>
            <p:cNvSpPr>
              <a:spLocks noChangeArrowheads="1"/>
            </p:cNvSpPr>
            <p:nvPr userDrawn="1"/>
          </p:nvSpPr>
          <p:spPr bwMode="auto">
            <a:xfrm flipH="1">
              <a:off x="9534399" y="6635038"/>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1" name="Rectangle 185"/>
            <p:cNvSpPr>
              <a:spLocks noChangeArrowheads="1"/>
            </p:cNvSpPr>
            <p:nvPr userDrawn="1"/>
          </p:nvSpPr>
          <p:spPr bwMode="auto">
            <a:xfrm flipH="1">
              <a:off x="9820289" y="6789306"/>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2" name="Rectangle 186"/>
            <p:cNvSpPr>
              <a:spLocks noChangeArrowheads="1"/>
            </p:cNvSpPr>
            <p:nvPr userDrawn="1"/>
          </p:nvSpPr>
          <p:spPr bwMode="auto">
            <a:xfrm flipH="1">
              <a:off x="9725464" y="6789306"/>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3" name="Rectangle 187"/>
            <p:cNvSpPr>
              <a:spLocks noChangeArrowheads="1"/>
            </p:cNvSpPr>
            <p:nvPr userDrawn="1"/>
          </p:nvSpPr>
          <p:spPr bwMode="auto">
            <a:xfrm flipH="1">
              <a:off x="9629223" y="6789306"/>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4" name="Rectangle 188"/>
            <p:cNvSpPr>
              <a:spLocks noChangeArrowheads="1"/>
            </p:cNvSpPr>
            <p:nvPr userDrawn="1"/>
          </p:nvSpPr>
          <p:spPr bwMode="auto">
            <a:xfrm flipH="1">
              <a:off x="9534399" y="6789306"/>
              <a:ext cx="45290" cy="10473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5" name="Line 189"/>
            <p:cNvSpPr>
              <a:spLocks noChangeShapeType="1"/>
            </p:cNvSpPr>
            <p:nvPr userDrawn="1"/>
          </p:nvSpPr>
          <p:spPr bwMode="auto">
            <a:xfrm flipH="1">
              <a:off x="8939972" y="5357021"/>
              <a:ext cx="0" cy="1637504"/>
            </a:xfrm>
            <a:prstGeom prst="line">
              <a:avLst/>
            </a:prstGeom>
            <a:noFill/>
            <a:ln w="34925" cap="flat">
              <a:solidFill>
                <a:schemeClr val="bg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6" name="Line 190"/>
            <p:cNvSpPr>
              <a:spLocks noChangeShapeType="1"/>
            </p:cNvSpPr>
            <p:nvPr userDrawn="1"/>
          </p:nvSpPr>
          <p:spPr bwMode="auto">
            <a:xfrm flipH="1">
              <a:off x="9016398" y="5357021"/>
              <a:ext cx="0" cy="1637504"/>
            </a:xfrm>
            <a:prstGeom prst="line">
              <a:avLst/>
            </a:prstGeom>
            <a:noFill/>
            <a:ln w="34925" cap="flat">
              <a:solidFill>
                <a:schemeClr val="bg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7" name="Line 191"/>
            <p:cNvSpPr>
              <a:spLocks noChangeShapeType="1"/>
            </p:cNvSpPr>
            <p:nvPr userDrawn="1"/>
          </p:nvSpPr>
          <p:spPr bwMode="auto">
            <a:xfrm flipH="1">
              <a:off x="9089994" y="5357021"/>
              <a:ext cx="0" cy="1637504"/>
            </a:xfrm>
            <a:prstGeom prst="line">
              <a:avLst/>
            </a:prstGeom>
            <a:noFill/>
            <a:ln w="34925" cap="flat">
              <a:solidFill>
                <a:schemeClr val="bg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8" name="Line 192"/>
            <p:cNvSpPr>
              <a:spLocks noChangeShapeType="1"/>
            </p:cNvSpPr>
            <p:nvPr userDrawn="1"/>
          </p:nvSpPr>
          <p:spPr bwMode="auto">
            <a:xfrm flipH="1">
              <a:off x="9166420" y="5357021"/>
              <a:ext cx="0" cy="1637504"/>
            </a:xfrm>
            <a:prstGeom prst="line">
              <a:avLst/>
            </a:prstGeom>
            <a:noFill/>
            <a:ln w="34925" cap="flat">
              <a:solidFill>
                <a:schemeClr val="bg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39" name="Line 193"/>
            <p:cNvSpPr>
              <a:spLocks noChangeShapeType="1"/>
            </p:cNvSpPr>
            <p:nvPr userDrawn="1"/>
          </p:nvSpPr>
          <p:spPr bwMode="auto">
            <a:xfrm flipH="1">
              <a:off x="9238600" y="5357021"/>
              <a:ext cx="0" cy="1637504"/>
            </a:xfrm>
            <a:prstGeom prst="line">
              <a:avLst/>
            </a:prstGeom>
            <a:noFill/>
            <a:ln w="34925" cap="flat">
              <a:solidFill>
                <a:schemeClr val="bg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40" name="Rectangle 194"/>
            <p:cNvSpPr>
              <a:spLocks noChangeArrowheads="1"/>
            </p:cNvSpPr>
            <p:nvPr userDrawn="1"/>
          </p:nvSpPr>
          <p:spPr bwMode="auto">
            <a:xfrm flipH="1">
              <a:off x="7210472" y="5961354"/>
              <a:ext cx="403361" cy="86334"/>
            </a:xfrm>
            <a:prstGeom prst="rect">
              <a:avLst/>
            </a:pr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41" name="Rectangle 195"/>
            <p:cNvSpPr>
              <a:spLocks noChangeArrowheads="1"/>
            </p:cNvSpPr>
            <p:nvPr userDrawn="1"/>
          </p:nvSpPr>
          <p:spPr bwMode="auto">
            <a:xfrm flipH="1">
              <a:off x="7210472" y="6111376"/>
              <a:ext cx="403361" cy="86334"/>
            </a:xfrm>
            <a:prstGeom prst="rect">
              <a:avLst/>
            </a:pr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42" name="Rectangle 196"/>
            <p:cNvSpPr>
              <a:spLocks noChangeArrowheads="1"/>
            </p:cNvSpPr>
            <p:nvPr userDrawn="1"/>
          </p:nvSpPr>
          <p:spPr bwMode="auto">
            <a:xfrm flipH="1">
              <a:off x="7210472" y="6267059"/>
              <a:ext cx="403361" cy="82087"/>
            </a:xfrm>
            <a:prstGeom prst="rect">
              <a:avLst/>
            </a:pr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43" name="Rectangle 197"/>
            <p:cNvSpPr>
              <a:spLocks noChangeArrowheads="1"/>
            </p:cNvSpPr>
            <p:nvPr userDrawn="1"/>
          </p:nvSpPr>
          <p:spPr bwMode="auto">
            <a:xfrm flipH="1">
              <a:off x="7210472" y="6417081"/>
              <a:ext cx="403361" cy="86334"/>
            </a:xfrm>
            <a:prstGeom prst="rect">
              <a:avLst/>
            </a:pr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44" name="Rectangle 198"/>
            <p:cNvSpPr>
              <a:spLocks noChangeArrowheads="1"/>
            </p:cNvSpPr>
            <p:nvPr userDrawn="1"/>
          </p:nvSpPr>
          <p:spPr bwMode="auto">
            <a:xfrm flipH="1">
              <a:off x="7210472" y="6567103"/>
              <a:ext cx="403361" cy="86334"/>
            </a:xfrm>
            <a:prstGeom prst="rect">
              <a:avLst/>
            </a:pr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45" name="Rectangle 199"/>
            <p:cNvSpPr>
              <a:spLocks noChangeArrowheads="1"/>
            </p:cNvSpPr>
            <p:nvPr userDrawn="1"/>
          </p:nvSpPr>
          <p:spPr bwMode="auto">
            <a:xfrm flipH="1">
              <a:off x="7210472" y="6717125"/>
              <a:ext cx="403361" cy="86334"/>
            </a:xfrm>
            <a:prstGeom prst="rect">
              <a:avLst/>
            </a:pr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46" name="Rectangle 200"/>
            <p:cNvSpPr>
              <a:spLocks noChangeArrowheads="1"/>
            </p:cNvSpPr>
            <p:nvPr userDrawn="1"/>
          </p:nvSpPr>
          <p:spPr bwMode="auto">
            <a:xfrm flipH="1">
              <a:off x="7210472" y="6871393"/>
              <a:ext cx="403361" cy="82087"/>
            </a:xfrm>
            <a:prstGeom prst="rect">
              <a:avLst/>
            </a:pr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94" name="Rectangle 148"/>
            <p:cNvSpPr>
              <a:spLocks noChangeArrowheads="1"/>
            </p:cNvSpPr>
            <p:nvPr userDrawn="1"/>
          </p:nvSpPr>
          <p:spPr bwMode="auto">
            <a:xfrm flipH="1">
              <a:off x="9680174" y="4720135"/>
              <a:ext cx="39628" cy="564706"/>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nvGrpSpPr>
            <p:cNvPr id="119951" name="Group 208"/>
            <p:cNvGrpSpPr>
              <a:grpSpLocks noChangeAspect="1"/>
            </p:cNvGrpSpPr>
            <p:nvPr userDrawn="1"/>
          </p:nvGrpSpPr>
          <p:grpSpPr bwMode="auto">
            <a:xfrm>
              <a:off x="10069382" y="5611776"/>
              <a:ext cx="786908" cy="1379919"/>
              <a:chOff x="2428" y="3429"/>
              <a:chExt cx="556" cy="975"/>
            </a:xfrm>
          </p:grpSpPr>
          <p:sp>
            <p:nvSpPr>
              <p:cNvPr id="119953" name="Rectangle 209"/>
              <p:cNvSpPr>
                <a:spLocks noChangeArrowheads="1"/>
              </p:cNvSpPr>
              <p:nvPr userDrawn="1"/>
            </p:nvSpPr>
            <p:spPr bwMode="auto">
              <a:xfrm>
                <a:off x="2428" y="4093"/>
                <a:ext cx="390" cy="311"/>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54" name="Freeform 210"/>
              <p:cNvSpPr>
                <a:spLocks/>
              </p:cNvSpPr>
              <p:nvPr userDrawn="1"/>
            </p:nvSpPr>
            <p:spPr bwMode="auto">
              <a:xfrm>
                <a:off x="2653" y="3530"/>
                <a:ext cx="331" cy="874"/>
              </a:xfrm>
              <a:custGeom>
                <a:avLst/>
                <a:gdLst>
                  <a:gd name="T0" fmla="*/ 0 w 331"/>
                  <a:gd name="T1" fmla="*/ 0 h 874"/>
                  <a:gd name="T2" fmla="*/ 331 w 331"/>
                  <a:gd name="T3" fmla="*/ 0 h 874"/>
                  <a:gd name="T4" fmla="*/ 331 w 331"/>
                  <a:gd name="T5" fmla="*/ 874 h 874"/>
                  <a:gd name="T6" fmla="*/ 0 w 331"/>
                  <a:gd name="T7" fmla="*/ 874 h 874"/>
                  <a:gd name="T8" fmla="*/ 0 w 331"/>
                  <a:gd name="T9" fmla="*/ 570 h 874"/>
                  <a:gd name="T10" fmla="*/ 0 w 331"/>
                  <a:gd name="T11" fmla="*/ 0 h 874"/>
                </a:gdLst>
                <a:ahLst/>
                <a:cxnLst>
                  <a:cxn ang="0">
                    <a:pos x="T0" y="T1"/>
                  </a:cxn>
                  <a:cxn ang="0">
                    <a:pos x="T2" y="T3"/>
                  </a:cxn>
                  <a:cxn ang="0">
                    <a:pos x="T4" y="T5"/>
                  </a:cxn>
                  <a:cxn ang="0">
                    <a:pos x="T6" y="T7"/>
                  </a:cxn>
                  <a:cxn ang="0">
                    <a:pos x="T8" y="T9"/>
                  </a:cxn>
                  <a:cxn ang="0">
                    <a:pos x="T10" y="T11"/>
                  </a:cxn>
                </a:cxnLst>
                <a:rect l="0" t="0" r="r" b="b"/>
                <a:pathLst>
                  <a:path w="331" h="874">
                    <a:moveTo>
                      <a:pt x="0" y="0"/>
                    </a:moveTo>
                    <a:lnTo>
                      <a:pt x="331" y="0"/>
                    </a:lnTo>
                    <a:lnTo>
                      <a:pt x="331" y="874"/>
                    </a:lnTo>
                    <a:lnTo>
                      <a:pt x="0" y="874"/>
                    </a:lnTo>
                    <a:lnTo>
                      <a:pt x="0" y="570"/>
                    </a:lnTo>
                    <a:lnTo>
                      <a:pt x="0"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55" name="Freeform 211"/>
              <p:cNvSpPr>
                <a:spLocks/>
              </p:cNvSpPr>
              <p:nvPr userDrawn="1"/>
            </p:nvSpPr>
            <p:spPr bwMode="auto">
              <a:xfrm>
                <a:off x="2428" y="4100"/>
                <a:ext cx="225" cy="304"/>
              </a:xfrm>
              <a:custGeom>
                <a:avLst/>
                <a:gdLst>
                  <a:gd name="T0" fmla="*/ 0 w 225"/>
                  <a:gd name="T1" fmla="*/ 304 h 304"/>
                  <a:gd name="T2" fmla="*/ 225 w 225"/>
                  <a:gd name="T3" fmla="*/ 304 h 304"/>
                  <a:gd name="T4" fmla="*/ 225 w 225"/>
                  <a:gd name="T5" fmla="*/ 0 h 304"/>
                  <a:gd name="T6" fmla="*/ 0 w 225"/>
                  <a:gd name="T7" fmla="*/ 304 h 304"/>
                </a:gdLst>
                <a:ahLst/>
                <a:cxnLst>
                  <a:cxn ang="0">
                    <a:pos x="T0" y="T1"/>
                  </a:cxn>
                  <a:cxn ang="0">
                    <a:pos x="T2" y="T3"/>
                  </a:cxn>
                  <a:cxn ang="0">
                    <a:pos x="T4" y="T5"/>
                  </a:cxn>
                  <a:cxn ang="0">
                    <a:pos x="T6" y="T7"/>
                  </a:cxn>
                </a:cxnLst>
                <a:rect l="0" t="0" r="r" b="b"/>
                <a:pathLst>
                  <a:path w="225" h="304">
                    <a:moveTo>
                      <a:pt x="0" y="304"/>
                    </a:moveTo>
                    <a:lnTo>
                      <a:pt x="225" y="304"/>
                    </a:lnTo>
                    <a:lnTo>
                      <a:pt x="225" y="0"/>
                    </a:lnTo>
                    <a:lnTo>
                      <a:pt x="0" y="304"/>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56" name="Rectangle 212"/>
              <p:cNvSpPr>
                <a:spLocks noChangeArrowheads="1"/>
              </p:cNvSpPr>
              <p:nvPr userDrawn="1"/>
            </p:nvSpPr>
            <p:spPr bwMode="auto">
              <a:xfrm>
                <a:off x="2695" y="359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57" name="Rectangle 213"/>
              <p:cNvSpPr>
                <a:spLocks noChangeArrowheads="1"/>
              </p:cNvSpPr>
              <p:nvPr userDrawn="1"/>
            </p:nvSpPr>
            <p:spPr bwMode="auto">
              <a:xfrm>
                <a:off x="2766" y="359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58" name="Rectangle 214"/>
              <p:cNvSpPr>
                <a:spLocks noChangeArrowheads="1"/>
              </p:cNvSpPr>
              <p:nvPr userDrawn="1"/>
            </p:nvSpPr>
            <p:spPr bwMode="auto">
              <a:xfrm>
                <a:off x="2837" y="359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59" name="Rectangle 215"/>
              <p:cNvSpPr>
                <a:spLocks noChangeArrowheads="1"/>
              </p:cNvSpPr>
              <p:nvPr userDrawn="1"/>
            </p:nvSpPr>
            <p:spPr bwMode="auto">
              <a:xfrm>
                <a:off x="2908" y="359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0" name="Rectangle 216"/>
              <p:cNvSpPr>
                <a:spLocks noChangeArrowheads="1"/>
              </p:cNvSpPr>
              <p:nvPr userDrawn="1"/>
            </p:nvSpPr>
            <p:spPr bwMode="auto">
              <a:xfrm>
                <a:off x="2695" y="3685"/>
                <a:ext cx="33" cy="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1" name="Rectangle 217"/>
              <p:cNvSpPr>
                <a:spLocks noChangeArrowheads="1"/>
              </p:cNvSpPr>
              <p:nvPr userDrawn="1"/>
            </p:nvSpPr>
            <p:spPr bwMode="auto">
              <a:xfrm>
                <a:off x="2766" y="3685"/>
                <a:ext cx="33" cy="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2" name="Rectangle 218"/>
              <p:cNvSpPr>
                <a:spLocks noChangeArrowheads="1"/>
              </p:cNvSpPr>
              <p:nvPr userDrawn="1"/>
            </p:nvSpPr>
            <p:spPr bwMode="auto">
              <a:xfrm>
                <a:off x="2837" y="3685"/>
                <a:ext cx="33" cy="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3" name="Rectangle 219"/>
              <p:cNvSpPr>
                <a:spLocks noChangeArrowheads="1"/>
              </p:cNvSpPr>
              <p:nvPr userDrawn="1"/>
            </p:nvSpPr>
            <p:spPr bwMode="auto">
              <a:xfrm>
                <a:off x="2908" y="3685"/>
                <a:ext cx="33" cy="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4" name="Rectangle 220"/>
              <p:cNvSpPr>
                <a:spLocks noChangeArrowheads="1"/>
              </p:cNvSpPr>
              <p:nvPr userDrawn="1"/>
            </p:nvSpPr>
            <p:spPr bwMode="auto">
              <a:xfrm>
                <a:off x="2695" y="3779"/>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5" name="Rectangle 221"/>
              <p:cNvSpPr>
                <a:spLocks noChangeArrowheads="1"/>
              </p:cNvSpPr>
              <p:nvPr userDrawn="1"/>
            </p:nvSpPr>
            <p:spPr bwMode="auto">
              <a:xfrm>
                <a:off x="2766" y="3779"/>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6" name="Rectangle 222"/>
              <p:cNvSpPr>
                <a:spLocks noChangeArrowheads="1"/>
              </p:cNvSpPr>
              <p:nvPr userDrawn="1"/>
            </p:nvSpPr>
            <p:spPr bwMode="auto">
              <a:xfrm>
                <a:off x="2837" y="3779"/>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7" name="Rectangle 223"/>
              <p:cNvSpPr>
                <a:spLocks noChangeArrowheads="1"/>
              </p:cNvSpPr>
              <p:nvPr userDrawn="1"/>
            </p:nvSpPr>
            <p:spPr bwMode="auto">
              <a:xfrm>
                <a:off x="2908" y="3779"/>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4" name="Rectangle 224"/>
              <p:cNvSpPr>
                <a:spLocks noChangeArrowheads="1"/>
              </p:cNvSpPr>
              <p:nvPr userDrawn="1"/>
            </p:nvSpPr>
            <p:spPr bwMode="auto">
              <a:xfrm>
                <a:off x="2695" y="3871"/>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5" name="Rectangle 225"/>
              <p:cNvSpPr>
                <a:spLocks noChangeArrowheads="1"/>
              </p:cNvSpPr>
              <p:nvPr userDrawn="1"/>
            </p:nvSpPr>
            <p:spPr bwMode="auto">
              <a:xfrm>
                <a:off x="2766" y="3871"/>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6" name="Rectangle 226"/>
              <p:cNvSpPr>
                <a:spLocks noChangeArrowheads="1"/>
              </p:cNvSpPr>
              <p:nvPr userDrawn="1"/>
            </p:nvSpPr>
            <p:spPr bwMode="auto">
              <a:xfrm>
                <a:off x="2837" y="3871"/>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7" name="Rectangle 227"/>
              <p:cNvSpPr>
                <a:spLocks noChangeArrowheads="1"/>
              </p:cNvSpPr>
              <p:nvPr userDrawn="1"/>
            </p:nvSpPr>
            <p:spPr bwMode="auto">
              <a:xfrm>
                <a:off x="2908" y="3871"/>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8" name="Rectangle 228"/>
              <p:cNvSpPr>
                <a:spLocks noChangeArrowheads="1"/>
              </p:cNvSpPr>
              <p:nvPr userDrawn="1"/>
            </p:nvSpPr>
            <p:spPr bwMode="auto">
              <a:xfrm>
                <a:off x="2695" y="3966"/>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9" name="Rectangle 229"/>
              <p:cNvSpPr>
                <a:spLocks noChangeArrowheads="1"/>
              </p:cNvSpPr>
              <p:nvPr userDrawn="1"/>
            </p:nvSpPr>
            <p:spPr bwMode="auto">
              <a:xfrm>
                <a:off x="2766" y="3966"/>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0" name="Rectangle 230"/>
              <p:cNvSpPr>
                <a:spLocks noChangeArrowheads="1"/>
              </p:cNvSpPr>
              <p:nvPr userDrawn="1"/>
            </p:nvSpPr>
            <p:spPr bwMode="auto">
              <a:xfrm>
                <a:off x="2837" y="3966"/>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1" name="Rectangle 231"/>
              <p:cNvSpPr>
                <a:spLocks noChangeArrowheads="1"/>
              </p:cNvSpPr>
              <p:nvPr userDrawn="1"/>
            </p:nvSpPr>
            <p:spPr bwMode="auto">
              <a:xfrm>
                <a:off x="2908" y="3966"/>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2" name="Rectangle 232"/>
              <p:cNvSpPr>
                <a:spLocks noChangeArrowheads="1"/>
              </p:cNvSpPr>
              <p:nvPr userDrawn="1"/>
            </p:nvSpPr>
            <p:spPr bwMode="auto">
              <a:xfrm>
                <a:off x="2695" y="4057"/>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3" name="Rectangle 233"/>
              <p:cNvSpPr>
                <a:spLocks noChangeArrowheads="1"/>
              </p:cNvSpPr>
              <p:nvPr userDrawn="1"/>
            </p:nvSpPr>
            <p:spPr bwMode="auto">
              <a:xfrm>
                <a:off x="2766" y="4057"/>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4" name="Rectangle 234"/>
              <p:cNvSpPr>
                <a:spLocks noChangeArrowheads="1"/>
              </p:cNvSpPr>
              <p:nvPr userDrawn="1"/>
            </p:nvSpPr>
            <p:spPr bwMode="auto">
              <a:xfrm>
                <a:off x="2837" y="4057"/>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5" name="Rectangle 235"/>
              <p:cNvSpPr>
                <a:spLocks noChangeArrowheads="1"/>
              </p:cNvSpPr>
              <p:nvPr userDrawn="1"/>
            </p:nvSpPr>
            <p:spPr bwMode="auto">
              <a:xfrm>
                <a:off x="2908" y="4057"/>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6" name="Rectangle 236"/>
              <p:cNvSpPr>
                <a:spLocks noChangeArrowheads="1"/>
              </p:cNvSpPr>
              <p:nvPr userDrawn="1"/>
            </p:nvSpPr>
            <p:spPr bwMode="auto">
              <a:xfrm>
                <a:off x="2695" y="4152"/>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7" name="Rectangle 237"/>
              <p:cNvSpPr>
                <a:spLocks noChangeArrowheads="1"/>
              </p:cNvSpPr>
              <p:nvPr userDrawn="1"/>
            </p:nvSpPr>
            <p:spPr bwMode="auto">
              <a:xfrm>
                <a:off x="2766" y="4152"/>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43" name="Rectangle 238"/>
              <p:cNvSpPr>
                <a:spLocks noChangeArrowheads="1"/>
              </p:cNvSpPr>
              <p:nvPr userDrawn="1"/>
            </p:nvSpPr>
            <p:spPr bwMode="auto">
              <a:xfrm>
                <a:off x="2837" y="4152"/>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46" name="Rectangle 239"/>
              <p:cNvSpPr>
                <a:spLocks noChangeArrowheads="1"/>
              </p:cNvSpPr>
              <p:nvPr userDrawn="1"/>
            </p:nvSpPr>
            <p:spPr bwMode="auto">
              <a:xfrm>
                <a:off x="2908" y="4152"/>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47" name="Rectangle 240"/>
              <p:cNvSpPr>
                <a:spLocks noChangeArrowheads="1"/>
              </p:cNvSpPr>
              <p:nvPr userDrawn="1"/>
            </p:nvSpPr>
            <p:spPr bwMode="auto">
              <a:xfrm>
                <a:off x="2451" y="4152"/>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48" name="Rectangle 241"/>
              <p:cNvSpPr>
                <a:spLocks noChangeArrowheads="1"/>
              </p:cNvSpPr>
              <p:nvPr userDrawn="1"/>
            </p:nvSpPr>
            <p:spPr bwMode="auto">
              <a:xfrm>
                <a:off x="2522" y="4152"/>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49" name="Rectangle 242"/>
              <p:cNvSpPr>
                <a:spLocks noChangeArrowheads="1"/>
              </p:cNvSpPr>
              <p:nvPr userDrawn="1"/>
            </p:nvSpPr>
            <p:spPr bwMode="auto">
              <a:xfrm>
                <a:off x="2596" y="4152"/>
                <a:ext cx="33" cy="6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0" name="Rectangle 243"/>
              <p:cNvSpPr>
                <a:spLocks noChangeArrowheads="1"/>
              </p:cNvSpPr>
              <p:nvPr userDrawn="1"/>
            </p:nvSpPr>
            <p:spPr bwMode="auto">
              <a:xfrm>
                <a:off x="2451" y="424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1" name="Rectangle 244"/>
              <p:cNvSpPr>
                <a:spLocks noChangeArrowheads="1"/>
              </p:cNvSpPr>
              <p:nvPr userDrawn="1"/>
            </p:nvSpPr>
            <p:spPr bwMode="auto">
              <a:xfrm>
                <a:off x="2522" y="424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2" name="Rectangle 245"/>
              <p:cNvSpPr>
                <a:spLocks noChangeArrowheads="1"/>
              </p:cNvSpPr>
              <p:nvPr userDrawn="1"/>
            </p:nvSpPr>
            <p:spPr bwMode="auto">
              <a:xfrm>
                <a:off x="2596" y="424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3" name="Rectangle 246"/>
              <p:cNvSpPr>
                <a:spLocks noChangeArrowheads="1"/>
              </p:cNvSpPr>
              <p:nvPr userDrawn="1"/>
            </p:nvSpPr>
            <p:spPr bwMode="auto">
              <a:xfrm>
                <a:off x="2695" y="424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4" name="Rectangle 247"/>
              <p:cNvSpPr>
                <a:spLocks noChangeArrowheads="1"/>
              </p:cNvSpPr>
              <p:nvPr userDrawn="1"/>
            </p:nvSpPr>
            <p:spPr bwMode="auto">
              <a:xfrm>
                <a:off x="2766" y="424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5" name="Rectangle 248"/>
              <p:cNvSpPr>
                <a:spLocks noChangeArrowheads="1"/>
              </p:cNvSpPr>
              <p:nvPr userDrawn="1"/>
            </p:nvSpPr>
            <p:spPr bwMode="auto">
              <a:xfrm>
                <a:off x="2837" y="424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8" name="Rectangle 249"/>
              <p:cNvSpPr>
                <a:spLocks noChangeArrowheads="1"/>
              </p:cNvSpPr>
              <p:nvPr userDrawn="1"/>
            </p:nvSpPr>
            <p:spPr bwMode="auto">
              <a:xfrm>
                <a:off x="2908" y="4243"/>
                <a:ext cx="33" cy="6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69" name="Rectangle 250"/>
              <p:cNvSpPr>
                <a:spLocks noChangeArrowheads="1"/>
              </p:cNvSpPr>
              <p:nvPr userDrawn="1"/>
            </p:nvSpPr>
            <p:spPr bwMode="auto">
              <a:xfrm>
                <a:off x="2837" y="3469"/>
                <a:ext cx="104" cy="61"/>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70" name="Rectangle 251"/>
              <p:cNvSpPr>
                <a:spLocks noChangeArrowheads="1"/>
              </p:cNvSpPr>
              <p:nvPr userDrawn="1"/>
            </p:nvSpPr>
            <p:spPr bwMode="auto">
              <a:xfrm>
                <a:off x="2728" y="3429"/>
                <a:ext cx="19" cy="10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grpSp>
          <p:nvGrpSpPr>
            <p:cNvPr id="119971" name="Group 254"/>
            <p:cNvGrpSpPr>
              <a:grpSpLocks noChangeAspect="1"/>
            </p:cNvGrpSpPr>
            <p:nvPr userDrawn="1"/>
          </p:nvGrpSpPr>
          <p:grpSpPr bwMode="auto">
            <a:xfrm>
              <a:off x="10852047" y="5361975"/>
              <a:ext cx="440159" cy="1631842"/>
              <a:chOff x="3002" y="3251"/>
              <a:chExt cx="311" cy="1153"/>
            </a:xfrm>
          </p:grpSpPr>
          <p:sp>
            <p:nvSpPr>
              <p:cNvPr id="119973" name="Rectangle 255"/>
              <p:cNvSpPr>
                <a:spLocks noChangeArrowheads="1"/>
              </p:cNvSpPr>
              <p:nvPr userDrawn="1"/>
            </p:nvSpPr>
            <p:spPr bwMode="auto">
              <a:xfrm>
                <a:off x="3002" y="3627"/>
                <a:ext cx="311" cy="77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74" name="Rectangle 256"/>
              <p:cNvSpPr>
                <a:spLocks noChangeArrowheads="1"/>
              </p:cNvSpPr>
              <p:nvPr userDrawn="1"/>
            </p:nvSpPr>
            <p:spPr bwMode="auto">
              <a:xfrm>
                <a:off x="3041" y="3403"/>
                <a:ext cx="235" cy="224"/>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75" name="Freeform 257"/>
              <p:cNvSpPr>
                <a:spLocks/>
              </p:cNvSpPr>
              <p:nvPr userDrawn="1"/>
            </p:nvSpPr>
            <p:spPr bwMode="auto">
              <a:xfrm>
                <a:off x="3098" y="3251"/>
                <a:ext cx="120" cy="152"/>
              </a:xfrm>
              <a:custGeom>
                <a:avLst/>
                <a:gdLst>
                  <a:gd name="T0" fmla="*/ 83 w 120"/>
                  <a:gd name="T1" fmla="*/ 0 h 152"/>
                  <a:gd name="T2" fmla="*/ 37 w 120"/>
                  <a:gd name="T3" fmla="*/ 0 h 152"/>
                  <a:gd name="T4" fmla="*/ 0 w 120"/>
                  <a:gd name="T5" fmla="*/ 152 h 152"/>
                  <a:gd name="T6" fmla="*/ 120 w 120"/>
                  <a:gd name="T7" fmla="*/ 152 h 152"/>
                  <a:gd name="T8" fmla="*/ 83 w 120"/>
                  <a:gd name="T9" fmla="*/ 0 h 152"/>
                </a:gdLst>
                <a:ahLst/>
                <a:cxnLst>
                  <a:cxn ang="0">
                    <a:pos x="T0" y="T1"/>
                  </a:cxn>
                  <a:cxn ang="0">
                    <a:pos x="T2" y="T3"/>
                  </a:cxn>
                  <a:cxn ang="0">
                    <a:pos x="T4" y="T5"/>
                  </a:cxn>
                  <a:cxn ang="0">
                    <a:pos x="T6" y="T7"/>
                  </a:cxn>
                  <a:cxn ang="0">
                    <a:pos x="T8" y="T9"/>
                  </a:cxn>
                </a:cxnLst>
                <a:rect l="0" t="0" r="r" b="b"/>
                <a:pathLst>
                  <a:path w="120" h="152">
                    <a:moveTo>
                      <a:pt x="83" y="0"/>
                    </a:moveTo>
                    <a:lnTo>
                      <a:pt x="37" y="0"/>
                    </a:lnTo>
                    <a:lnTo>
                      <a:pt x="0" y="152"/>
                    </a:lnTo>
                    <a:lnTo>
                      <a:pt x="120" y="152"/>
                    </a:lnTo>
                    <a:lnTo>
                      <a:pt x="83"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76" name="Rectangle 258"/>
              <p:cNvSpPr>
                <a:spLocks noChangeArrowheads="1"/>
              </p:cNvSpPr>
              <p:nvPr userDrawn="1"/>
            </p:nvSpPr>
            <p:spPr bwMode="auto">
              <a:xfrm>
                <a:off x="3045" y="3679"/>
                <a:ext cx="35" cy="72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77" name="Rectangle 259"/>
              <p:cNvSpPr>
                <a:spLocks noChangeArrowheads="1"/>
              </p:cNvSpPr>
              <p:nvPr userDrawn="1"/>
            </p:nvSpPr>
            <p:spPr bwMode="auto">
              <a:xfrm>
                <a:off x="3110" y="3679"/>
                <a:ext cx="32" cy="72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78" name="Rectangle 260"/>
              <p:cNvSpPr>
                <a:spLocks noChangeArrowheads="1"/>
              </p:cNvSpPr>
              <p:nvPr userDrawn="1"/>
            </p:nvSpPr>
            <p:spPr bwMode="auto">
              <a:xfrm>
                <a:off x="3174" y="3679"/>
                <a:ext cx="33" cy="72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79" name="Rectangle 261"/>
              <p:cNvSpPr>
                <a:spLocks noChangeArrowheads="1"/>
              </p:cNvSpPr>
              <p:nvPr userDrawn="1"/>
            </p:nvSpPr>
            <p:spPr bwMode="auto">
              <a:xfrm>
                <a:off x="3237" y="3679"/>
                <a:ext cx="32" cy="72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80" name="Rectangle 262"/>
              <p:cNvSpPr>
                <a:spLocks noChangeArrowheads="1"/>
              </p:cNvSpPr>
              <p:nvPr userDrawn="1"/>
            </p:nvSpPr>
            <p:spPr bwMode="auto">
              <a:xfrm>
                <a:off x="3041" y="3403"/>
                <a:ext cx="235" cy="2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81" name="Rectangle 263"/>
              <p:cNvSpPr>
                <a:spLocks noChangeArrowheads="1"/>
              </p:cNvSpPr>
              <p:nvPr userDrawn="1"/>
            </p:nvSpPr>
            <p:spPr bwMode="auto">
              <a:xfrm>
                <a:off x="3002" y="3604"/>
                <a:ext cx="311" cy="23"/>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grpSp>
          <p:nvGrpSpPr>
            <p:cNvPr id="119982" name="Group 266"/>
            <p:cNvGrpSpPr>
              <a:grpSpLocks noChangeAspect="1"/>
            </p:cNvGrpSpPr>
            <p:nvPr userDrawn="1"/>
          </p:nvGrpSpPr>
          <p:grpSpPr bwMode="auto">
            <a:xfrm>
              <a:off x="11322632" y="5539595"/>
              <a:ext cx="1113843" cy="1454930"/>
              <a:chOff x="3318" y="3380"/>
              <a:chExt cx="787" cy="1028"/>
            </a:xfrm>
          </p:grpSpPr>
          <p:sp>
            <p:nvSpPr>
              <p:cNvPr id="119984" name="Freeform 267"/>
              <p:cNvSpPr>
                <a:spLocks/>
              </p:cNvSpPr>
              <p:nvPr userDrawn="1"/>
            </p:nvSpPr>
            <p:spPr bwMode="auto">
              <a:xfrm>
                <a:off x="3775" y="3496"/>
                <a:ext cx="228" cy="30"/>
              </a:xfrm>
              <a:custGeom>
                <a:avLst/>
                <a:gdLst>
                  <a:gd name="T0" fmla="*/ 191 w 228"/>
                  <a:gd name="T1" fmla="*/ 0 h 30"/>
                  <a:gd name="T2" fmla="*/ 0 w 228"/>
                  <a:gd name="T3" fmla="*/ 0 h 30"/>
                  <a:gd name="T4" fmla="*/ 39 w 228"/>
                  <a:gd name="T5" fmla="*/ 30 h 30"/>
                  <a:gd name="T6" fmla="*/ 228 w 228"/>
                  <a:gd name="T7" fmla="*/ 30 h 30"/>
                  <a:gd name="T8" fmla="*/ 191 w 228"/>
                  <a:gd name="T9" fmla="*/ 0 h 30"/>
                </a:gdLst>
                <a:ahLst/>
                <a:cxnLst>
                  <a:cxn ang="0">
                    <a:pos x="T0" y="T1"/>
                  </a:cxn>
                  <a:cxn ang="0">
                    <a:pos x="T2" y="T3"/>
                  </a:cxn>
                  <a:cxn ang="0">
                    <a:pos x="T4" y="T5"/>
                  </a:cxn>
                  <a:cxn ang="0">
                    <a:pos x="T6" y="T7"/>
                  </a:cxn>
                  <a:cxn ang="0">
                    <a:pos x="T8" y="T9"/>
                  </a:cxn>
                </a:cxnLst>
                <a:rect l="0" t="0" r="r" b="b"/>
                <a:pathLst>
                  <a:path w="228" h="30">
                    <a:moveTo>
                      <a:pt x="191" y="0"/>
                    </a:moveTo>
                    <a:lnTo>
                      <a:pt x="0" y="0"/>
                    </a:lnTo>
                    <a:lnTo>
                      <a:pt x="39" y="30"/>
                    </a:lnTo>
                    <a:lnTo>
                      <a:pt x="228" y="30"/>
                    </a:lnTo>
                    <a:lnTo>
                      <a:pt x="191"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85" name="Freeform 268"/>
              <p:cNvSpPr>
                <a:spLocks/>
              </p:cNvSpPr>
              <p:nvPr userDrawn="1"/>
            </p:nvSpPr>
            <p:spPr bwMode="auto">
              <a:xfrm>
                <a:off x="3775" y="3496"/>
                <a:ext cx="39" cy="139"/>
              </a:xfrm>
              <a:custGeom>
                <a:avLst/>
                <a:gdLst>
                  <a:gd name="T0" fmla="*/ 0 w 39"/>
                  <a:gd name="T1" fmla="*/ 128 h 139"/>
                  <a:gd name="T2" fmla="*/ 0 w 39"/>
                  <a:gd name="T3" fmla="*/ 0 h 139"/>
                  <a:gd name="T4" fmla="*/ 39 w 39"/>
                  <a:gd name="T5" fmla="*/ 30 h 139"/>
                  <a:gd name="T6" fmla="*/ 39 w 39"/>
                  <a:gd name="T7" fmla="*/ 128 h 139"/>
                  <a:gd name="T8" fmla="*/ 39 w 39"/>
                  <a:gd name="T9" fmla="*/ 139 h 139"/>
                  <a:gd name="T10" fmla="*/ 0 w 39"/>
                  <a:gd name="T11" fmla="*/ 139 h 139"/>
                  <a:gd name="T12" fmla="*/ 0 w 39"/>
                  <a:gd name="T13" fmla="*/ 128 h 139"/>
                </a:gdLst>
                <a:ahLst/>
                <a:cxnLst>
                  <a:cxn ang="0">
                    <a:pos x="T0" y="T1"/>
                  </a:cxn>
                  <a:cxn ang="0">
                    <a:pos x="T2" y="T3"/>
                  </a:cxn>
                  <a:cxn ang="0">
                    <a:pos x="T4" y="T5"/>
                  </a:cxn>
                  <a:cxn ang="0">
                    <a:pos x="T6" y="T7"/>
                  </a:cxn>
                  <a:cxn ang="0">
                    <a:pos x="T8" y="T9"/>
                  </a:cxn>
                  <a:cxn ang="0">
                    <a:pos x="T10" y="T11"/>
                  </a:cxn>
                  <a:cxn ang="0">
                    <a:pos x="T12" y="T13"/>
                  </a:cxn>
                </a:cxnLst>
                <a:rect l="0" t="0" r="r" b="b"/>
                <a:pathLst>
                  <a:path w="39" h="139">
                    <a:moveTo>
                      <a:pt x="0" y="128"/>
                    </a:moveTo>
                    <a:lnTo>
                      <a:pt x="0" y="0"/>
                    </a:lnTo>
                    <a:lnTo>
                      <a:pt x="39" y="30"/>
                    </a:lnTo>
                    <a:lnTo>
                      <a:pt x="39" y="128"/>
                    </a:lnTo>
                    <a:lnTo>
                      <a:pt x="39" y="139"/>
                    </a:lnTo>
                    <a:lnTo>
                      <a:pt x="0" y="139"/>
                    </a:lnTo>
                    <a:lnTo>
                      <a:pt x="0" y="128"/>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86" name="Rectangle 269"/>
              <p:cNvSpPr>
                <a:spLocks noChangeArrowheads="1"/>
              </p:cNvSpPr>
              <p:nvPr userDrawn="1"/>
            </p:nvSpPr>
            <p:spPr bwMode="auto">
              <a:xfrm>
                <a:off x="3814" y="3526"/>
                <a:ext cx="189" cy="98"/>
              </a:xfrm>
              <a:prstGeom prst="rect">
                <a:avLst/>
              </a:prstGeom>
              <a:solidFill>
                <a:srgbClr val="9CD9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87" name="Freeform 270"/>
              <p:cNvSpPr>
                <a:spLocks noEditPoints="1"/>
              </p:cNvSpPr>
              <p:nvPr userDrawn="1"/>
            </p:nvSpPr>
            <p:spPr bwMode="auto">
              <a:xfrm>
                <a:off x="3814" y="3526"/>
                <a:ext cx="189" cy="98"/>
              </a:xfrm>
              <a:custGeom>
                <a:avLst/>
                <a:gdLst>
                  <a:gd name="T0" fmla="*/ 186 w 189"/>
                  <a:gd name="T1" fmla="*/ 5 h 98"/>
                  <a:gd name="T2" fmla="*/ 186 w 189"/>
                  <a:gd name="T3" fmla="*/ 93 h 98"/>
                  <a:gd name="T4" fmla="*/ 4 w 189"/>
                  <a:gd name="T5" fmla="*/ 93 h 98"/>
                  <a:gd name="T6" fmla="*/ 4 w 189"/>
                  <a:gd name="T7" fmla="*/ 5 h 98"/>
                  <a:gd name="T8" fmla="*/ 186 w 189"/>
                  <a:gd name="T9" fmla="*/ 5 h 98"/>
                  <a:gd name="T10" fmla="*/ 189 w 189"/>
                  <a:gd name="T11" fmla="*/ 0 h 98"/>
                  <a:gd name="T12" fmla="*/ 0 w 189"/>
                  <a:gd name="T13" fmla="*/ 0 h 98"/>
                  <a:gd name="T14" fmla="*/ 0 w 189"/>
                  <a:gd name="T15" fmla="*/ 98 h 98"/>
                  <a:gd name="T16" fmla="*/ 189 w 189"/>
                  <a:gd name="T17" fmla="*/ 98 h 98"/>
                  <a:gd name="T18" fmla="*/ 189 w 189"/>
                  <a:gd name="T19" fmla="*/ 0 h 98"/>
                  <a:gd name="T20" fmla="*/ 189 w 189"/>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9" h="98">
                    <a:moveTo>
                      <a:pt x="186" y="5"/>
                    </a:moveTo>
                    <a:lnTo>
                      <a:pt x="186" y="93"/>
                    </a:lnTo>
                    <a:lnTo>
                      <a:pt x="4" y="93"/>
                    </a:lnTo>
                    <a:lnTo>
                      <a:pt x="4" y="5"/>
                    </a:lnTo>
                    <a:lnTo>
                      <a:pt x="186" y="5"/>
                    </a:lnTo>
                    <a:close/>
                    <a:moveTo>
                      <a:pt x="189" y="0"/>
                    </a:moveTo>
                    <a:lnTo>
                      <a:pt x="0" y="0"/>
                    </a:lnTo>
                    <a:lnTo>
                      <a:pt x="0" y="98"/>
                    </a:lnTo>
                    <a:lnTo>
                      <a:pt x="189" y="98"/>
                    </a:lnTo>
                    <a:lnTo>
                      <a:pt x="189" y="0"/>
                    </a:lnTo>
                    <a:lnTo>
                      <a:pt x="189"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88" name="Freeform 271"/>
              <p:cNvSpPr>
                <a:spLocks noEditPoints="1"/>
              </p:cNvSpPr>
              <p:nvPr userDrawn="1"/>
            </p:nvSpPr>
            <p:spPr bwMode="auto">
              <a:xfrm>
                <a:off x="3814" y="3526"/>
                <a:ext cx="189" cy="98"/>
              </a:xfrm>
              <a:custGeom>
                <a:avLst/>
                <a:gdLst>
                  <a:gd name="T0" fmla="*/ 186 w 189"/>
                  <a:gd name="T1" fmla="*/ 5 h 98"/>
                  <a:gd name="T2" fmla="*/ 186 w 189"/>
                  <a:gd name="T3" fmla="*/ 93 h 98"/>
                  <a:gd name="T4" fmla="*/ 4 w 189"/>
                  <a:gd name="T5" fmla="*/ 93 h 98"/>
                  <a:gd name="T6" fmla="*/ 4 w 189"/>
                  <a:gd name="T7" fmla="*/ 5 h 98"/>
                  <a:gd name="T8" fmla="*/ 186 w 189"/>
                  <a:gd name="T9" fmla="*/ 5 h 98"/>
                  <a:gd name="T10" fmla="*/ 189 w 189"/>
                  <a:gd name="T11" fmla="*/ 0 h 98"/>
                  <a:gd name="T12" fmla="*/ 0 w 189"/>
                  <a:gd name="T13" fmla="*/ 0 h 98"/>
                  <a:gd name="T14" fmla="*/ 0 w 189"/>
                  <a:gd name="T15" fmla="*/ 98 h 98"/>
                  <a:gd name="T16" fmla="*/ 189 w 189"/>
                  <a:gd name="T17" fmla="*/ 98 h 98"/>
                  <a:gd name="T18" fmla="*/ 189 w 189"/>
                  <a:gd name="T19" fmla="*/ 0 h 98"/>
                  <a:gd name="T20" fmla="*/ 189 w 189"/>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9" h="98">
                    <a:moveTo>
                      <a:pt x="186" y="5"/>
                    </a:moveTo>
                    <a:lnTo>
                      <a:pt x="186" y="93"/>
                    </a:lnTo>
                    <a:lnTo>
                      <a:pt x="4" y="93"/>
                    </a:lnTo>
                    <a:lnTo>
                      <a:pt x="4" y="5"/>
                    </a:lnTo>
                    <a:lnTo>
                      <a:pt x="186" y="5"/>
                    </a:lnTo>
                    <a:moveTo>
                      <a:pt x="189" y="0"/>
                    </a:moveTo>
                    <a:lnTo>
                      <a:pt x="0" y="0"/>
                    </a:lnTo>
                    <a:lnTo>
                      <a:pt x="0" y="98"/>
                    </a:lnTo>
                    <a:lnTo>
                      <a:pt x="189" y="98"/>
                    </a:lnTo>
                    <a:lnTo>
                      <a:pt x="189" y="0"/>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89" name="Line 272"/>
              <p:cNvSpPr>
                <a:spLocks noChangeShapeType="1"/>
              </p:cNvSpPr>
              <p:nvPr userDrawn="1"/>
            </p:nvSpPr>
            <p:spPr bwMode="auto">
              <a:xfrm flipV="1">
                <a:off x="3850" y="3526"/>
                <a:ext cx="0" cy="98"/>
              </a:xfrm>
              <a:prstGeom prst="line">
                <a:avLst/>
              </a:prstGeom>
              <a:noFill/>
              <a:ln w="9525"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0" name="Line 273"/>
              <p:cNvSpPr>
                <a:spLocks noChangeShapeType="1"/>
              </p:cNvSpPr>
              <p:nvPr userDrawn="1"/>
            </p:nvSpPr>
            <p:spPr bwMode="auto">
              <a:xfrm flipV="1">
                <a:off x="3889" y="3526"/>
                <a:ext cx="0" cy="98"/>
              </a:xfrm>
              <a:prstGeom prst="line">
                <a:avLst/>
              </a:prstGeom>
              <a:noFill/>
              <a:ln w="9525"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1" name="Line 274"/>
              <p:cNvSpPr>
                <a:spLocks noChangeShapeType="1"/>
              </p:cNvSpPr>
              <p:nvPr userDrawn="1"/>
            </p:nvSpPr>
            <p:spPr bwMode="auto">
              <a:xfrm flipV="1">
                <a:off x="3928" y="3526"/>
                <a:ext cx="0" cy="98"/>
              </a:xfrm>
              <a:prstGeom prst="line">
                <a:avLst/>
              </a:prstGeom>
              <a:noFill/>
              <a:ln w="9525"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2" name="Line 275"/>
              <p:cNvSpPr>
                <a:spLocks noChangeShapeType="1"/>
              </p:cNvSpPr>
              <p:nvPr userDrawn="1"/>
            </p:nvSpPr>
            <p:spPr bwMode="auto">
              <a:xfrm flipV="1">
                <a:off x="3967" y="3526"/>
                <a:ext cx="0" cy="98"/>
              </a:xfrm>
              <a:prstGeom prst="line">
                <a:avLst/>
              </a:prstGeom>
              <a:noFill/>
              <a:ln w="9525"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3" name="Line 276"/>
              <p:cNvSpPr>
                <a:spLocks noChangeShapeType="1"/>
              </p:cNvSpPr>
              <p:nvPr userDrawn="1"/>
            </p:nvSpPr>
            <p:spPr bwMode="auto">
              <a:xfrm>
                <a:off x="3814" y="3558"/>
                <a:ext cx="186" cy="0"/>
              </a:xfrm>
              <a:prstGeom prst="line">
                <a:avLst/>
              </a:prstGeom>
              <a:noFill/>
              <a:ln w="9525"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4" name="Line 277"/>
              <p:cNvSpPr>
                <a:spLocks noChangeShapeType="1"/>
              </p:cNvSpPr>
              <p:nvPr userDrawn="1"/>
            </p:nvSpPr>
            <p:spPr bwMode="auto">
              <a:xfrm>
                <a:off x="3814" y="3592"/>
                <a:ext cx="186" cy="0"/>
              </a:xfrm>
              <a:prstGeom prst="line">
                <a:avLst/>
              </a:prstGeom>
              <a:noFill/>
              <a:ln w="9525"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5" name="Rectangle 278"/>
              <p:cNvSpPr>
                <a:spLocks noChangeArrowheads="1"/>
              </p:cNvSpPr>
              <p:nvPr userDrawn="1"/>
            </p:nvSpPr>
            <p:spPr bwMode="auto">
              <a:xfrm>
                <a:off x="3389" y="3922"/>
                <a:ext cx="223" cy="36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6" name="Rectangle 279"/>
              <p:cNvSpPr>
                <a:spLocks noChangeArrowheads="1"/>
              </p:cNvSpPr>
              <p:nvPr userDrawn="1"/>
            </p:nvSpPr>
            <p:spPr bwMode="auto">
              <a:xfrm>
                <a:off x="3452" y="3877"/>
                <a:ext cx="91" cy="9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7" name="Rectangle 280"/>
              <p:cNvSpPr>
                <a:spLocks noChangeArrowheads="1"/>
              </p:cNvSpPr>
              <p:nvPr userDrawn="1"/>
            </p:nvSpPr>
            <p:spPr bwMode="auto">
              <a:xfrm>
                <a:off x="3411" y="3544"/>
                <a:ext cx="287" cy="7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8" name="Rectangle 281"/>
              <p:cNvSpPr>
                <a:spLocks noChangeArrowheads="1"/>
              </p:cNvSpPr>
              <p:nvPr userDrawn="1"/>
            </p:nvSpPr>
            <p:spPr bwMode="auto">
              <a:xfrm>
                <a:off x="3318" y="3620"/>
                <a:ext cx="787" cy="788"/>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999" name="Rectangle 282"/>
              <p:cNvSpPr>
                <a:spLocks noChangeArrowheads="1"/>
              </p:cNvSpPr>
              <p:nvPr userDrawn="1"/>
            </p:nvSpPr>
            <p:spPr bwMode="auto">
              <a:xfrm>
                <a:off x="3318" y="3649"/>
                <a:ext cx="787" cy="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88" name="Rectangle 283"/>
              <p:cNvSpPr>
                <a:spLocks noChangeArrowheads="1"/>
              </p:cNvSpPr>
              <p:nvPr userDrawn="1"/>
            </p:nvSpPr>
            <p:spPr bwMode="auto">
              <a:xfrm>
                <a:off x="3363" y="3694"/>
                <a:ext cx="55"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89" name="Rectangle 284"/>
              <p:cNvSpPr>
                <a:spLocks noChangeArrowheads="1"/>
              </p:cNvSpPr>
              <p:nvPr userDrawn="1"/>
            </p:nvSpPr>
            <p:spPr bwMode="auto">
              <a:xfrm>
                <a:off x="3354" y="3749"/>
                <a:ext cx="73"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0" name="Rectangle 285"/>
              <p:cNvSpPr>
                <a:spLocks noChangeArrowheads="1"/>
              </p:cNvSpPr>
              <p:nvPr userDrawn="1"/>
            </p:nvSpPr>
            <p:spPr bwMode="auto">
              <a:xfrm>
                <a:off x="3491" y="3694"/>
                <a:ext cx="55"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1" name="Rectangle 286"/>
              <p:cNvSpPr>
                <a:spLocks noChangeArrowheads="1"/>
              </p:cNvSpPr>
              <p:nvPr userDrawn="1"/>
            </p:nvSpPr>
            <p:spPr bwMode="auto">
              <a:xfrm>
                <a:off x="3482" y="3749"/>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2" name="Rectangle 287"/>
              <p:cNvSpPr>
                <a:spLocks noChangeArrowheads="1"/>
              </p:cNvSpPr>
              <p:nvPr userDrawn="1"/>
            </p:nvSpPr>
            <p:spPr bwMode="auto">
              <a:xfrm>
                <a:off x="3619" y="3694"/>
                <a:ext cx="56"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3" name="Rectangle 288"/>
              <p:cNvSpPr>
                <a:spLocks noChangeArrowheads="1"/>
              </p:cNvSpPr>
              <p:nvPr userDrawn="1"/>
            </p:nvSpPr>
            <p:spPr bwMode="auto">
              <a:xfrm>
                <a:off x="3611" y="3749"/>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4" name="Rectangle 289"/>
              <p:cNvSpPr>
                <a:spLocks noChangeArrowheads="1"/>
              </p:cNvSpPr>
              <p:nvPr userDrawn="1"/>
            </p:nvSpPr>
            <p:spPr bwMode="auto">
              <a:xfrm>
                <a:off x="3748" y="3694"/>
                <a:ext cx="55"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5" name="Rectangle 290"/>
              <p:cNvSpPr>
                <a:spLocks noChangeArrowheads="1"/>
              </p:cNvSpPr>
              <p:nvPr userDrawn="1"/>
            </p:nvSpPr>
            <p:spPr bwMode="auto">
              <a:xfrm>
                <a:off x="3739" y="3749"/>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6" name="Rectangle 291"/>
              <p:cNvSpPr>
                <a:spLocks noChangeArrowheads="1"/>
              </p:cNvSpPr>
              <p:nvPr userDrawn="1"/>
            </p:nvSpPr>
            <p:spPr bwMode="auto">
              <a:xfrm>
                <a:off x="3876" y="3694"/>
                <a:ext cx="56"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7" name="Rectangle 292"/>
              <p:cNvSpPr>
                <a:spLocks noChangeArrowheads="1"/>
              </p:cNvSpPr>
              <p:nvPr userDrawn="1"/>
            </p:nvSpPr>
            <p:spPr bwMode="auto">
              <a:xfrm>
                <a:off x="3868" y="3749"/>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8" name="Rectangle 293"/>
              <p:cNvSpPr>
                <a:spLocks noChangeArrowheads="1"/>
              </p:cNvSpPr>
              <p:nvPr userDrawn="1"/>
            </p:nvSpPr>
            <p:spPr bwMode="auto">
              <a:xfrm>
                <a:off x="4005" y="3694"/>
                <a:ext cx="55"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9" name="Rectangle 294"/>
              <p:cNvSpPr>
                <a:spLocks noChangeArrowheads="1"/>
              </p:cNvSpPr>
              <p:nvPr userDrawn="1"/>
            </p:nvSpPr>
            <p:spPr bwMode="auto">
              <a:xfrm>
                <a:off x="3996" y="3749"/>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0" name="Rectangle 295"/>
              <p:cNvSpPr>
                <a:spLocks noChangeArrowheads="1"/>
              </p:cNvSpPr>
              <p:nvPr userDrawn="1"/>
            </p:nvSpPr>
            <p:spPr bwMode="auto">
              <a:xfrm>
                <a:off x="3363" y="3845"/>
                <a:ext cx="55"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1" name="Rectangle 296"/>
              <p:cNvSpPr>
                <a:spLocks noChangeArrowheads="1"/>
              </p:cNvSpPr>
              <p:nvPr userDrawn="1"/>
            </p:nvSpPr>
            <p:spPr bwMode="auto">
              <a:xfrm>
                <a:off x="3354" y="3902"/>
                <a:ext cx="73"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3" name="Rectangle 297"/>
              <p:cNvSpPr>
                <a:spLocks noChangeArrowheads="1"/>
              </p:cNvSpPr>
              <p:nvPr userDrawn="1"/>
            </p:nvSpPr>
            <p:spPr bwMode="auto">
              <a:xfrm>
                <a:off x="3491" y="3845"/>
                <a:ext cx="55"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4" name="Rectangle 298"/>
              <p:cNvSpPr>
                <a:spLocks noChangeArrowheads="1"/>
              </p:cNvSpPr>
              <p:nvPr userDrawn="1"/>
            </p:nvSpPr>
            <p:spPr bwMode="auto">
              <a:xfrm>
                <a:off x="3482" y="3902"/>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5" name="Rectangle 299"/>
              <p:cNvSpPr>
                <a:spLocks noChangeArrowheads="1"/>
              </p:cNvSpPr>
              <p:nvPr userDrawn="1"/>
            </p:nvSpPr>
            <p:spPr bwMode="auto">
              <a:xfrm>
                <a:off x="3619" y="3845"/>
                <a:ext cx="56"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6" name="Rectangle 300"/>
              <p:cNvSpPr>
                <a:spLocks noChangeArrowheads="1"/>
              </p:cNvSpPr>
              <p:nvPr userDrawn="1"/>
            </p:nvSpPr>
            <p:spPr bwMode="auto">
              <a:xfrm>
                <a:off x="3611" y="3902"/>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7" name="Rectangle 301"/>
              <p:cNvSpPr>
                <a:spLocks noChangeArrowheads="1"/>
              </p:cNvSpPr>
              <p:nvPr userDrawn="1"/>
            </p:nvSpPr>
            <p:spPr bwMode="auto">
              <a:xfrm>
                <a:off x="3748" y="3845"/>
                <a:ext cx="55"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8" name="Rectangle 302"/>
              <p:cNvSpPr>
                <a:spLocks noChangeArrowheads="1"/>
              </p:cNvSpPr>
              <p:nvPr userDrawn="1"/>
            </p:nvSpPr>
            <p:spPr bwMode="auto">
              <a:xfrm>
                <a:off x="3739" y="3902"/>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9" name="Rectangle 303"/>
              <p:cNvSpPr>
                <a:spLocks noChangeArrowheads="1"/>
              </p:cNvSpPr>
              <p:nvPr userDrawn="1"/>
            </p:nvSpPr>
            <p:spPr bwMode="auto">
              <a:xfrm>
                <a:off x="3876" y="3845"/>
                <a:ext cx="56"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0" name="Rectangle 304"/>
              <p:cNvSpPr>
                <a:spLocks noChangeArrowheads="1"/>
              </p:cNvSpPr>
              <p:nvPr userDrawn="1"/>
            </p:nvSpPr>
            <p:spPr bwMode="auto">
              <a:xfrm>
                <a:off x="3868" y="3902"/>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1" name="Rectangle 305"/>
              <p:cNvSpPr>
                <a:spLocks noChangeArrowheads="1"/>
              </p:cNvSpPr>
              <p:nvPr userDrawn="1"/>
            </p:nvSpPr>
            <p:spPr bwMode="auto">
              <a:xfrm>
                <a:off x="4005" y="3845"/>
                <a:ext cx="55"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2" name="Rectangle 306"/>
              <p:cNvSpPr>
                <a:spLocks noChangeArrowheads="1"/>
              </p:cNvSpPr>
              <p:nvPr userDrawn="1"/>
            </p:nvSpPr>
            <p:spPr bwMode="auto">
              <a:xfrm>
                <a:off x="3996" y="3902"/>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3" name="Rectangle 307"/>
              <p:cNvSpPr>
                <a:spLocks noChangeArrowheads="1"/>
              </p:cNvSpPr>
              <p:nvPr userDrawn="1"/>
            </p:nvSpPr>
            <p:spPr bwMode="auto">
              <a:xfrm>
                <a:off x="3363" y="3998"/>
                <a:ext cx="55"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4" name="Rectangle 308"/>
              <p:cNvSpPr>
                <a:spLocks noChangeArrowheads="1"/>
              </p:cNvSpPr>
              <p:nvPr userDrawn="1"/>
            </p:nvSpPr>
            <p:spPr bwMode="auto">
              <a:xfrm>
                <a:off x="3354" y="4055"/>
                <a:ext cx="73" cy="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5" name="Rectangle 309"/>
              <p:cNvSpPr>
                <a:spLocks noChangeArrowheads="1"/>
              </p:cNvSpPr>
              <p:nvPr userDrawn="1"/>
            </p:nvSpPr>
            <p:spPr bwMode="auto">
              <a:xfrm>
                <a:off x="3491" y="3998"/>
                <a:ext cx="55"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6" name="Rectangle 310"/>
              <p:cNvSpPr>
                <a:spLocks noChangeArrowheads="1"/>
              </p:cNvSpPr>
              <p:nvPr userDrawn="1"/>
            </p:nvSpPr>
            <p:spPr bwMode="auto">
              <a:xfrm>
                <a:off x="3482" y="4055"/>
                <a:ext cx="71" cy="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7" name="Rectangle 311"/>
              <p:cNvSpPr>
                <a:spLocks noChangeArrowheads="1"/>
              </p:cNvSpPr>
              <p:nvPr userDrawn="1"/>
            </p:nvSpPr>
            <p:spPr bwMode="auto">
              <a:xfrm>
                <a:off x="3619" y="3998"/>
                <a:ext cx="56"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8" name="Rectangle 312"/>
              <p:cNvSpPr>
                <a:spLocks noChangeArrowheads="1"/>
              </p:cNvSpPr>
              <p:nvPr userDrawn="1"/>
            </p:nvSpPr>
            <p:spPr bwMode="auto">
              <a:xfrm>
                <a:off x="3611" y="4055"/>
                <a:ext cx="71" cy="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9" name="Rectangle 313"/>
              <p:cNvSpPr>
                <a:spLocks noChangeArrowheads="1"/>
              </p:cNvSpPr>
              <p:nvPr userDrawn="1"/>
            </p:nvSpPr>
            <p:spPr bwMode="auto">
              <a:xfrm>
                <a:off x="3748" y="3998"/>
                <a:ext cx="55"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0" name="Rectangle 314"/>
              <p:cNvSpPr>
                <a:spLocks noChangeArrowheads="1"/>
              </p:cNvSpPr>
              <p:nvPr userDrawn="1"/>
            </p:nvSpPr>
            <p:spPr bwMode="auto">
              <a:xfrm>
                <a:off x="3739" y="4055"/>
                <a:ext cx="71" cy="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1" name="Rectangle 315"/>
              <p:cNvSpPr>
                <a:spLocks noChangeArrowheads="1"/>
              </p:cNvSpPr>
              <p:nvPr userDrawn="1"/>
            </p:nvSpPr>
            <p:spPr bwMode="auto">
              <a:xfrm>
                <a:off x="3876" y="3998"/>
                <a:ext cx="56"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2" name="Rectangle 316"/>
              <p:cNvSpPr>
                <a:spLocks noChangeArrowheads="1"/>
              </p:cNvSpPr>
              <p:nvPr userDrawn="1"/>
            </p:nvSpPr>
            <p:spPr bwMode="auto">
              <a:xfrm>
                <a:off x="3868" y="4055"/>
                <a:ext cx="71" cy="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3" name="Rectangle 317"/>
              <p:cNvSpPr>
                <a:spLocks noChangeArrowheads="1"/>
              </p:cNvSpPr>
              <p:nvPr userDrawn="1"/>
            </p:nvSpPr>
            <p:spPr bwMode="auto">
              <a:xfrm>
                <a:off x="4005" y="3998"/>
                <a:ext cx="55"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4" name="Rectangle 318"/>
              <p:cNvSpPr>
                <a:spLocks noChangeArrowheads="1"/>
              </p:cNvSpPr>
              <p:nvPr userDrawn="1"/>
            </p:nvSpPr>
            <p:spPr bwMode="auto">
              <a:xfrm>
                <a:off x="3996" y="4055"/>
                <a:ext cx="71" cy="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5" name="Rectangle 319"/>
              <p:cNvSpPr>
                <a:spLocks noChangeArrowheads="1"/>
              </p:cNvSpPr>
              <p:nvPr userDrawn="1"/>
            </p:nvSpPr>
            <p:spPr bwMode="auto">
              <a:xfrm>
                <a:off x="3363" y="4151"/>
                <a:ext cx="55" cy="1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6" name="Rectangle 320"/>
              <p:cNvSpPr>
                <a:spLocks noChangeArrowheads="1"/>
              </p:cNvSpPr>
              <p:nvPr userDrawn="1"/>
            </p:nvSpPr>
            <p:spPr bwMode="auto">
              <a:xfrm>
                <a:off x="3354" y="4207"/>
                <a:ext cx="73"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7" name="Rectangle 321"/>
              <p:cNvSpPr>
                <a:spLocks noChangeArrowheads="1"/>
              </p:cNvSpPr>
              <p:nvPr userDrawn="1"/>
            </p:nvSpPr>
            <p:spPr bwMode="auto">
              <a:xfrm>
                <a:off x="3491" y="4151"/>
                <a:ext cx="55" cy="1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8" name="Rectangle 322"/>
              <p:cNvSpPr>
                <a:spLocks noChangeArrowheads="1"/>
              </p:cNvSpPr>
              <p:nvPr userDrawn="1"/>
            </p:nvSpPr>
            <p:spPr bwMode="auto">
              <a:xfrm>
                <a:off x="3482" y="4207"/>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09" name="Rectangle 323"/>
              <p:cNvSpPr>
                <a:spLocks noChangeArrowheads="1"/>
              </p:cNvSpPr>
              <p:nvPr userDrawn="1"/>
            </p:nvSpPr>
            <p:spPr bwMode="auto">
              <a:xfrm>
                <a:off x="3491" y="4360"/>
                <a:ext cx="55" cy="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0" name="Rectangle 324"/>
              <p:cNvSpPr>
                <a:spLocks noChangeArrowheads="1"/>
              </p:cNvSpPr>
              <p:nvPr userDrawn="1"/>
            </p:nvSpPr>
            <p:spPr bwMode="auto">
              <a:xfrm>
                <a:off x="3363" y="4360"/>
                <a:ext cx="55" cy="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1" name="Rectangle 325"/>
              <p:cNvSpPr>
                <a:spLocks noChangeArrowheads="1"/>
              </p:cNvSpPr>
              <p:nvPr userDrawn="1"/>
            </p:nvSpPr>
            <p:spPr bwMode="auto">
              <a:xfrm>
                <a:off x="4003" y="4361"/>
                <a:ext cx="55" cy="4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2" name="Rectangle 326"/>
              <p:cNvSpPr>
                <a:spLocks noChangeArrowheads="1"/>
              </p:cNvSpPr>
              <p:nvPr userDrawn="1"/>
            </p:nvSpPr>
            <p:spPr bwMode="auto">
              <a:xfrm>
                <a:off x="3875" y="4361"/>
                <a:ext cx="55" cy="4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3" name="Rectangle 327"/>
              <p:cNvSpPr>
                <a:spLocks noChangeArrowheads="1"/>
              </p:cNvSpPr>
              <p:nvPr userDrawn="1"/>
            </p:nvSpPr>
            <p:spPr bwMode="auto">
              <a:xfrm>
                <a:off x="3876" y="4151"/>
                <a:ext cx="56" cy="1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4" name="Rectangle 328"/>
              <p:cNvSpPr>
                <a:spLocks noChangeArrowheads="1"/>
              </p:cNvSpPr>
              <p:nvPr userDrawn="1"/>
            </p:nvSpPr>
            <p:spPr bwMode="auto">
              <a:xfrm>
                <a:off x="3868" y="4207"/>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5" name="Rectangle 329"/>
              <p:cNvSpPr>
                <a:spLocks noChangeArrowheads="1"/>
              </p:cNvSpPr>
              <p:nvPr userDrawn="1"/>
            </p:nvSpPr>
            <p:spPr bwMode="auto">
              <a:xfrm>
                <a:off x="4005" y="4151"/>
                <a:ext cx="55" cy="1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6" name="Rectangle 330"/>
              <p:cNvSpPr>
                <a:spLocks noChangeArrowheads="1"/>
              </p:cNvSpPr>
              <p:nvPr userDrawn="1"/>
            </p:nvSpPr>
            <p:spPr bwMode="auto">
              <a:xfrm>
                <a:off x="3996" y="4207"/>
                <a:ext cx="71" cy="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7" name="Rectangle 331"/>
              <p:cNvSpPr>
                <a:spLocks noChangeArrowheads="1"/>
              </p:cNvSpPr>
              <p:nvPr userDrawn="1"/>
            </p:nvSpPr>
            <p:spPr bwMode="auto">
              <a:xfrm>
                <a:off x="3646" y="4146"/>
                <a:ext cx="129" cy="18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8" name="Rectangle 332"/>
              <p:cNvSpPr>
                <a:spLocks noChangeArrowheads="1"/>
              </p:cNvSpPr>
              <p:nvPr userDrawn="1"/>
            </p:nvSpPr>
            <p:spPr bwMode="auto">
              <a:xfrm>
                <a:off x="3619" y="4340"/>
                <a:ext cx="184" cy="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19" name="Rectangle 333"/>
              <p:cNvSpPr>
                <a:spLocks noChangeArrowheads="1"/>
              </p:cNvSpPr>
              <p:nvPr userDrawn="1"/>
            </p:nvSpPr>
            <p:spPr bwMode="auto">
              <a:xfrm>
                <a:off x="3603" y="4365"/>
                <a:ext cx="216" cy="1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20" name="Rectangle 334"/>
              <p:cNvSpPr>
                <a:spLocks noChangeArrowheads="1"/>
              </p:cNvSpPr>
              <p:nvPr userDrawn="1"/>
            </p:nvSpPr>
            <p:spPr bwMode="auto">
              <a:xfrm>
                <a:off x="3586" y="4392"/>
                <a:ext cx="251" cy="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21" name="Line 335"/>
              <p:cNvSpPr>
                <a:spLocks noChangeShapeType="1"/>
              </p:cNvSpPr>
              <p:nvPr userDrawn="1"/>
            </p:nvSpPr>
            <p:spPr bwMode="auto">
              <a:xfrm flipV="1">
                <a:off x="3473" y="3441"/>
                <a:ext cx="0" cy="103"/>
              </a:xfrm>
              <a:prstGeom prst="line">
                <a:avLst/>
              </a:prstGeom>
              <a:noFill/>
              <a:ln w="14288"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0022" name="Line 336"/>
              <p:cNvSpPr>
                <a:spLocks noChangeShapeType="1"/>
              </p:cNvSpPr>
              <p:nvPr userDrawn="1"/>
            </p:nvSpPr>
            <p:spPr bwMode="auto">
              <a:xfrm flipV="1">
                <a:off x="3525" y="3380"/>
                <a:ext cx="0" cy="164"/>
              </a:xfrm>
              <a:prstGeom prst="line">
                <a:avLst/>
              </a:prstGeom>
              <a:noFill/>
              <a:ln w="14288"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grpSp>
      <p:grpSp>
        <p:nvGrpSpPr>
          <p:cNvPr id="120023" name="Group 120022"/>
          <p:cNvGrpSpPr/>
          <p:nvPr userDrawn="1"/>
        </p:nvGrpSpPr>
        <p:grpSpPr>
          <a:xfrm flipH="1">
            <a:off x="7903971" y="36498"/>
            <a:ext cx="3092692" cy="4848373"/>
            <a:chOff x="4573547" y="-1256816"/>
            <a:chExt cx="3307680" cy="5185407"/>
          </a:xfrm>
        </p:grpSpPr>
        <p:sp>
          <p:nvSpPr>
            <p:cNvPr id="46" name="Rectangle 13"/>
            <p:cNvSpPr>
              <a:spLocks noChangeArrowheads="1"/>
            </p:cNvSpPr>
            <p:nvPr userDrawn="1"/>
          </p:nvSpPr>
          <p:spPr bwMode="auto">
            <a:xfrm>
              <a:off x="5958886" y="1228595"/>
              <a:ext cx="11482" cy="10821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9" name="Rectangle 16"/>
            <p:cNvSpPr>
              <a:spLocks noChangeArrowheads="1"/>
            </p:cNvSpPr>
            <p:nvPr userDrawn="1"/>
          </p:nvSpPr>
          <p:spPr bwMode="auto">
            <a:xfrm>
              <a:off x="6624852" y="1722329"/>
              <a:ext cx="11482" cy="1630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3" name="Rectangle 20"/>
            <p:cNvSpPr>
              <a:spLocks noChangeArrowheads="1"/>
            </p:cNvSpPr>
            <p:nvPr userDrawn="1"/>
          </p:nvSpPr>
          <p:spPr bwMode="auto">
            <a:xfrm>
              <a:off x="6980800" y="1426663"/>
              <a:ext cx="11482" cy="8209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7" name="Rectangle 24"/>
            <p:cNvSpPr>
              <a:spLocks noChangeArrowheads="1"/>
            </p:cNvSpPr>
            <p:nvPr userDrawn="1"/>
          </p:nvSpPr>
          <p:spPr bwMode="auto">
            <a:xfrm>
              <a:off x="4936971" y="1739552"/>
              <a:ext cx="11482" cy="12372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1" name="Rectangle 28"/>
            <p:cNvSpPr>
              <a:spLocks noChangeArrowheads="1"/>
            </p:cNvSpPr>
            <p:nvPr userDrawn="1"/>
          </p:nvSpPr>
          <p:spPr bwMode="auto">
            <a:xfrm>
              <a:off x="5292918" y="1443886"/>
              <a:ext cx="11482" cy="7463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08" name="Freeform 31"/>
            <p:cNvSpPr>
              <a:spLocks/>
            </p:cNvSpPr>
            <p:nvPr userDrawn="1"/>
          </p:nvSpPr>
          <p:spPr bwMode="auto">
            <a:xfrm>
              <a:off x="5407740" y="304279"/>
              <a:ext cx="1489814" cy="978856"/>
            </a:xfrm>
            <a:custGeom>
              <a:avLst/>
              <a:gdLst>
                <a:gd name="T0" fmla="*/ 903 w 1103"/>
                <a:gd name="T1" fmla="*/ 412 h 724"/>
                <a:gd name="T2" fmla="*/ 1103 w 1103"/>
                <a:gd name="T3" fmla="*/ 156 h 724"/>
                <a:gd name="T4" fmla="*/ 848 w 1103"/>
                <a:gd name="T5" fmla="*/ 0 h 724"/>
                <a:gd name="T6" fmla="*/ 696 w 1103"/>
                <a:gd name="T7" fmla="*/ 277 h 724"/>
                <a:gd name="T8" fmla="*/ 268 w 1103"/>
                <a:gd name="T9" fmla="*/ 277 h 724"/>
                <a:gd name="T10" fmla="*/ 268 w 1103"/>
                <a:gd name="T11" fmla="*/ 277 h 724"/>
                <a:gd name="T12" fmla="*/ 268 w 1103"/>
                <a:gd name="T13" fmla="*/ 277 h 724"/>
                <a:gd name="T14" fmla="*/ 79 w 1103"/>
                <a:gd name="T15" fmla="*/ 400 h 724"/>
                <a:gd name="T16" fmla="*/ 167 w 1103"/>
                <a:gd name="T17" fmla="*/ 419 h 724"/>
                <a:gd name="T18" fmla="*/ 274 w 1103"/>
                <a:gd name="T19" fmla="*/ 348 h 724"/>
                <a:gd name="T20" fmla="*/ 347 w 1103"/>
                <a:gd name="T21" fmla="*/ 348 h 724"/>
                <a:gd name="T22" fmla="*/ 232 w 1103"/>
                <a:gd name="T23" fmla="*/ 393 h 724"/>
                <a:gd name="T24" fmla="*/ 232 w 1103"/>
                <a:gd name="T25" fmla="*/ 393 h 724"/>
                <a:gd name="T26" fmla="*/ 0 w 1103"/>
                <a:gd name="T27" fmla="*/ 590 h 724"/>
                <a:gd name="T28" fmla="*/ 89 w 1103"/>
                <a:gd name="T29" fmla="*/ 597 h 724"/>
                <a:gd name="T30" fmla="*/ 262 w 1103"/>
                <a:gd name="T31" fmla="*/ 451 h 724"/>
                <a:gd name="T32" fmla="*/ 386 w 1103"/>
                <a:gd name="T33" fmla="*/ 399 h 724"/>
                <a:gd name="T34" fmla="*/ 244 w 1103"/>
                <a:gd name="T35" fmla="*/ 480 h 724"/>
                <a:gd name="T36" fmla="*/ 54 w 1103"/>
                <a:gd name="T37" fmla="*/ 701 h 724"/>
                <a:gd name="T38" fmla="*/ 143 w 1103"/>
                <a:gd name="T39" fmla="*/ 694 h 724"/>
                <a:gd name="T40" fmla="*/ 279 w 1103"/>
                <a:gd name="T41" fmla="*/ 536 h 724"/>
                <a:gd name="T42" fmla="*/ 413 w 1103"/>
                <a:gd name="T43" fmla="*/ 448 h 724"/>
                <a:gd name="T44" fmla="*/ 266 w 1103"/>
                <a:gd name="T45" fmla="*/ 567 h 724"/>
                <a:gd name="T46" fmla="*/ 383 w 1103"/>
                <a:gd name="T47" fmla="*/ 703 h 724"/>
                <a:gd name="T48" fmla="*/ 389 w 1103"/>
                <a:gd name="T49" fmla="*/ 614 h 724"/>
                <a:gd name="T50" fmla="*/ 351 w 1103"/>
                <a:gd name="T51" fmla="*/ 569 h 724"/>
                <a:gd name="T52" fmla="*/ 520 w 1103"/>
                <a:gd name="T53" fmla="*/ 480 h 724"/>
                <a:gd name="T54" fmla="*/ 672 w 1103"/>
                <a:gd name="T55" fmla="*/ 488 h 724"/>
                <a:gd name="T56" fmla="*/ 648 w 1103"/>
                <a:gd name="T57" fmla="*/ 574 h 724"/>
                <a:gd name="T58" fmla="*/ 480 w 1103"/>
                <a:gd name="T59" fmla="*/ 621 h 724"/>
                <a:gd name="T60" fmla="*/ 434 w 1103"/>
                <a:gd name="T61" fmla="*/ 703 h 724"/>
                <a:gd name="T62" fmla="*/ 562 w 1103"/>
                <a:gd name="T63" fmla="*/ 667 h 724"/>
                <a:gd name="T64" fmla="*/ 671 w 1103"/>
                <a:gd name="T65" fmla="*/ 636 h 724"/>
                <a:gd name="T66" fmla="*/ 746 w 1103"/>
                <a:gd name="T67" fmla="*/ 615 h 724"/>
                <a:gd name="T68" fmla="*/ 746 w 1103"/>
                <a:gd name="T69" fmla="*/ 615 h 724"/>
                <a:gd name="T70" fmla="*/ 746 w 1103"/>
                <a:gd name="T71" fmla="*/ 615 h 724"/>
                <a:gd name="T72" fmla="*/ 903 w 1103"/>
                <a:gd name="T73" fmla="*/ 412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724">
                  <a:moveTo>
                    <a:pt x="903" y="412"/>
                  </a:moveTo>
                  <a:cubicBezTo>
                    <a:pt x="1103" y="156"/>
                    <a:pt x="1103" y="156"/>
                    <a:pt x="1103" y="156"/>
                  </a:cubicBezTo>
                  <a:cubicBezTo>
                    <a:pt x="848" y="0"/>
                    <a:pt x="848" y="0"/>
                    <a:pt x="848" y="0"/>
                  </a:cubicBezTo>
                  <a:cubicBezTo>
                    <a:pt x="696" y="277"/>
                    <a:pt x="696" y="277"/>
                    <a:pt x="696" y="277"/>
                  </a:cubicBezTo>
                  <a:cubicBezTo>
                    <a:pt x="268" y="277"/>
                    <a:pt x="268" y="277"/>
                    <a:pt x="268" y="277"/>
                  </a:cubicBezTo>
                  <a:cubicBezTo>
                    <a:pt x="268" y="277"/>
                    <a:pt x="268" y="277"/>
                    <a:pt x="268" y="277"/>
                  </a:cubicBezTo>
                  <a:cubicBezTo>
                    <a:pt x="268" y="277"/>
                    <a:pt x="268" y="277"/>
                    <a:pt x="268" y="277"/>
                  </a:cubicBezTo>
                  <a:cubicBezTo>
                    <a:pt x="79" y="400"/>
                    <a:pt x="79" y="400"/>
                    <a:pt x="79" y="400"/>
                  </a:cubicBezTo>
                  <a:cubicBezTo>
                    <a:pt x="98" y="430"/>
                    <a:pt x="137" y="438"/>
                    <a:pt x="167" y="419"/>
                  </a:cubicBezTo>
                  <a:cubicBezTo>
                    <a:pt x="274" y="348"/>
                    <a:pt x="274" y="348"/>
                    <a:pt x="274" y="348"/>
                  </a:cubicBezTo>
                  <a:cubicBezTo>
                    <a:pt x="347" y="348"/>
                    <a:pt x="347" y="348"/>
                    <a:pt x="347" y="348"/>
                  </a:cubicBezTo>
                  <a:cubicBezTo>
                    <a:pt x="232" y="393"/>
                    <a:pt x="232" y="393"/>
                    <a:pt x="232" y="393"/>
                  </a:cubicBezTo>
                  <a:cubicBezTo>
                    <a:pt x="232" y="393"/>
                    <a:pt x="232" y="393"/>
                    <a:pt x="232" y="393"/>
                  </a:cubicBezTo>
                  <a:cubicBezTo>
                    <a:pt x="0" y="590"/>
                    <a:pt x="0" y="590"/>
                    <a:pt x="0" y="590"/>
                  </a:cubicBezTo>
                  <a:cubicBezTo>
                    <a:pt x="23" y="617"/>
                    <a:pt x="63" y="620"/>
                    <a:pt x="89" y="597"/>
                  </a:cubicBezTo>
                  <a:cubicBezTo>
                    <a:pt x="262" y="451"/>
                    <a:pt x="262" y="451"/>
                    <a:pt x="262" y="451"/>
                  </a:cubicBezTo>
                  <a:cubicBezTo>
                    <a:pt x="386" y="399"/>
                    <a:pt x="386" y="399"/>
                    <a:pt x="386" y="399"/>
                  </a:cubicBezTo>
                  <a:cubicBezTo>
                    <a:pt x="244" y="480"/>
                    <a:pt x="244" y="480"/>
                    <a:pt x="244" y="480"/>
                  </a:cubicBezTo>
                  <a:cubicBezTo>
                    <a:pt x="54" y="701"/>
                    <a:pt x="54" y="701"/>
                    <a:pt x="54" y="701"/>
                  </a:cubicBezTo>
                  <a:cubicBezTo>
                    <a:pt x="80" y="724"/>
                    <a:pt x="120" y="721"/>
                    <a:pt x="143" y="694"/>
                  </a:cubicBezTo>
                  <a:cubicBezTo>
                    <a:pt x="279" y="536"/>
                    <a:pt x="279" y="536"/>
                    <a:pt x="279" y="536"/>
                  </a:cubicBezTo>
                  <a:cubicBezTo>
                    <a:pt x="413" y="448"/>
                    <a:pt x="413" y="448"/>
                    <a:pt x="413" y="448"/>
                  </a:cubicBezTo>
                  <a:cubicBezTo>
                    <a:pt x="266" y="567"/>
                    <a:pt x="266" y="567"/>
                    <a:pt x="266" y="567"/>
                  </a:cubicBezTo>
                  <a:cubicBezTo>
                    <a:pt x="383" y="703"/>
                    <a:pt x="383" y="703"/>
                    <a:pt x="383" y="703"/>
                  </a:cubicBezTo>
                  <a:cubicBezTo>
                    <a:pt x="409" y="680"/>
                    <a:pt x="412" y="640"/>
                    <a:pt x="389" y="614"/>
                  </a:cubicBezTo>
                  <a:cubicBezTo>
                    <a:pt x="351" y="569"/>
                    <a:pt x="351" y="569"/>
                    <a:pt x="351" y="569"/>
                  </a:cubicBezTo>
                  <a:cubicBezTo>
                    <a:pt x="520" y="480"/>
                    <a:pt x="520" y="480"/>
                    <a:pt x="520" y="480"/>
                  </a:cubicBezTo>
                  <a:cubicBezTo>
                    <a:pt x="520" y="480"/>
                    <a:pt x="614" y="416"/>
                    <a:pt x="672" y="488"/>
                  </a:cubicBezTo>
                  <a:cubicBezTo>
                    <a:pt x="698" y="522"/>
                    <a:pt x="693" y="558"/>
                    <a:pt x="648" y="574"/>
                  </a:cubicBezTo>
                  <a:cubicBezTo>
                    <a:pt x="480" y="621"/>
                    <a:pt x="480" y="621"/>
                    <a:pt x="480" y="621"/>
                  </a:cubicBezTo>
                  <a:cubicBezTo>
                    <a:pt x="444" y="631"/>
                    <a:pt x="424" y="668"/>
                    <a:pt x="434" y="703"/>
                  </a:cubicBezTo>
                  <a:cubicBezTo>
                    <a:pt x="562" y="667"/>
                    <a:pt x="562" y="667"/>
                    <a:pt x="562" y="667"/>
                  </a:cubicBezTo>
                  <a:cubicBezTo>
                    <a:pt x="671" y="636"/>
                    <a:pt x="671" y="636"/>
                    <a:pt x="671" y="636"/>
                  </a:cubicBezTo>
                  <a:cubicBezTo>
                    <a:pt x="746" y="615"/>
                    <a:pt x="746" y="615"/>
                    <a:pt x="746" y="615"/>
                  </a:cubicBezTo>
                  <a:cubicBezTo>
                    <a:pt x="746" y="615"/>
                    <a:pt x="746" y="615"/>
                    <a:pt x="746" y="615"/>
                  </a:cubicBezTo>
                  <a:cubicBezTo>
                    <a:pt x="746" y="615"/>
                    <a:pt x="746" y="615"/>
                    <a:pt x="746" y="615"/>
                  </a:cubicBezTo>
                  <a:lnTo>
                    <a:pt x="903" y="412"/>
                  </a:lnTo>
                  <a:close/>
                </a:path>
              </a:pathLst>
            </a:custGeom>
            <a:solidFill>
              <a:srgbClr val="FE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09" name="Freeform 32"/>
            <p:cNvSpPr>
              <a:spLocks/>
            </p:cNvSpPr>
            <p:nvPr userDrawn="1"/>
          </p:nvSpPr>
          <p:spPr bwMode="auto">
            <a:xfrm>
              <a:off x="4885301" y="1366381"/>
              <a:ext cx="2158651" cy="396135"/>
            </a:xfrm>
            <a:custGeom>
              <a:avLst/>
              <a:gdLst>
                <a:gd name="T0" fmla="*/ 0 w 752"/>
                <a:gd name="T1" fmla="*/ 116 h 138"/>
                <a:gd name="T2" fmla="*/ 4 w 752"/>
                <a:gd name="T3" fmla="*/ 138 h 138"/>
                <a:gd name="T4" fmla="*/ 752 w 752"/>
                <a:gd name="T5" fmla="*/ 22 h 138"/>
                <a:gd name="T6" fmla="*/ 748 w 752"/>
                <a:gd name="T7" fmla="*/ 0 h 138"/>
                <a:gd name="T8" fmla="*/ 0 w 752"/>
                <a:gd name="T9" fmla="*/ 116 h 138"/>
              </a:gdLst>
              <a:ahLst/>
              <a:cxnLst>
                <a:cxn ang="0">
                  <a:pos x="T0" y="T1"/>
                </a:cxn>
                <a:cxn ang="0">
                  <a:pos x="T2" y="T3"/>
                </a:cxn>
                <a:cxn ang="0">
                  <a:pos x="T4" y="T5"/>
                </a:cxn>
                <a:cxn ang="0">
                  <a:pos x="T6" y="T7"/>
                </a:cxn>
                <a:cxn ang="0">
                  <a:pos x="T8" y="T9"/>
                </a:cxn>
              </a:cxnLst>
              <a:rect l="0" t="0" r="r" b="b"/>
              <a:pathLst>
                <a:path w="752" h="138">
                  <a:moveTo>
                    <a:pt x="0" y="116"/>
                  </a:moveTo>
                  <a:lnTo>
                    <a:pt x="4" y="138"/>
                  </a:lnTo>
                  <a:lnTo>
                    <a:pt x="752" y="22"/>
                  </a:lnTo>
                  <a:lnTo>
                    <a:pt x="748" y="0"/>
                  </a:lnTo>
                  <a:lnTo>
                    <a:pt x="0" y="116"/>
                  </a:lnTo>
                  <a:close/>
                </a:path>
              </a:pathLst>
            </a:custGeom>
            <a:solidFill>
              <a:srgbClr val="BDD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11" name="Freeform 33"/>
            <p:cNvSpPr>
              <a:spLocks/>
            </p:cNvSpPr>
            <p:nvPr userDrawn="1"/>
          </p:nvSpPr>
          <p:spPr bwMode="auto">
            <a:xfrm>
              <a:off x="5246989" y="1395087"/>
              <a:ext cx="1435274" cy="355948"/>
            </a:xfrm>
            <a:custGeom>
              <a:avLst/>
              <a:gdLst>
                <a:gd name="T0" fmla="*/ 4 w 500"/>
                <a:gd name="T1" fmla="*/ 0 h 124"/>
                <a:gd name="T2" fmla="*/ 0 w 500"/>
                <a:gd name="T3" fmla="*/ 22 h 124"/>
                <a:gd name="T4" fmla="*/ 496 w 500"/>
                <a:gd name="T5" fmla="*/ 124 h 124"/>
                <a:gd name="T6" fmla="*/ 500 w 500"/>
                <a:gd name="T7" fmla="*/ 102 h 124"/>
                <a:gd name="T8" fmla="*/ 4 w 500"/>
                <a:gd name="T9" fmla="*/ 0 h 124"/>
              </a:gdLst>
              <a:ahLst/>
              <a:cxnLst>
                <a:cxn ang="0">
                  <a:pos x="T0" y="T1"/>
                </a:cxn>
                <a:cxn ang="0">
                  <a:pos x="T2" y="T3"/>
                </a:cxn>
                <a:cxn ang="0">
                  <a:pos x="T4" y="T5"/>
                </a:cxn>
                <a:cxn ang="0">
                  <a:pos x="T6" y="T7"/>
                </a:cxn>
                <a:cxn ang="0">
                  <a:pos x="T8" y="T9"/>
                </a:cxn>
              </a:cxnLst>
              <a:rect l="0" t="0" r="r" b="b"/>
              <a:pathLst>
                <a:path w="500" h="124">
                  <a:moveTo>
                    <a:pt x="4" y="0"/>
                  </a:moveTo>
                  <a:lnTo>
                    <a:pt x="0" y="22"/>
                  </a:lnTo>
                  <a:lnTo>
                    <a:pt x="496" y="124"/>
                  </a:lnTo>
                  <a:lnTo>
                    <a:pt x="500" y="102"/>
                  </a:lnTo>
                  <a:lnTo>
                    <a:pt x="4" y="0"/>
                  </a:lnTo>
                  <a:close/>
                </a:path>
              </a:pathLst>
            </a:custGeom>
            <a:solidFill>
              <a:srgbClr val="83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9812" name="Freeform 34"/>
            <p:cNvSpPr>
              <a:spLocks/>
            </p:cNvSpPr>
            <p:nvPr userDrawn="1"/>
          </p:nvSpPr>
          <p:spPr bwMode="auto">
            <a:xfrm>
              <a:off x="6553088" y="-1256816"/>
              <a:ext cx="1328139" cy="1773512"/>
            </a:xfrm>
            <a:custGeom>
              <a:avLst/>
              <a:gdLst>
                <a:gd name="T0" fmla="*/ 59 w 259"/>
                <a:gd name="T1" fmla="*/ 0 h 180"/>
                <a:gd name="T2" fmla="*/ 0 w 259"/>
                <a:gd name="T3" fmla="*/ 106 h 180"/>
                <a:gd name="T4" fmla="*/ 120 w 259"/>
                <a:gd name="T5" fmla="*/ 180 h 180"/>
                <a:gd name="T6" fmla="*/ 259 w 259"/>
                <a:gd name="T7" fmla="*/ 0 h 180"/>
                <a:gd name="T8" fmla="*/ 59 w 259"/>
                <a:gd name="T9" fmla="*/ 0 h 180"/>
                <a:gd name="connsiteX0" fmla="*/ 2278 w 10000"/>
                <a:gd name="connsiteY0" fmla="*/ 34 h 10034"/>
                <a:gd name="connsiteX1" fmla="*/ 0 w 10000"/>
                <a:gd name="connsiteY1" fmla="*/ 5923 h 10034"/>
                <a:gd name="connsiteX2" fmla="*/ 4633 w 10000"/>
                <a:gd name="connsiteY2" fmla="*/ 10034 h 10034"/>
                <a:gd name="connsiteX3" fmla="*/ 10000 w 10000"/>
                <a:gd name="connsiteY3" fmla="*/ 34 h 10034"/>
                <a:gd name="connsiteX4" fmla="*/ 4380 w 10000"/>
                <a:gd name="connsiteY4" fmla="*/ 0 h 10034"/>
                <a:gd name="connsiteX5" fmla="*/ 2278 w 10000"/>
                <a:gd name="connsiteY5" fmla="*/ 34 h 10034"/>
                <a:gd name="connsiteX0" fmla="*/ 2278 w 10000"/>
                <a:gd name="connsiteY0" fmla="*/ 34 h 10034"/>
                <a:gd name="connsiteX1" fmla="*/ 0 w 10000"/>
                <a:gd name="connsiteY1" fmla="*/ 5923 h 10034"/>
                <a:gd name="connsiteX2" fmla="*/ 4633 w 10000"/>
                <a:gd name="connsiteY2" fmla="*/ 10034 h 10034"/>
                <a:gd name="connsiteX3" fmla="*/ 10000 w 10000"/>
                <a:gd name="connsiteY3" fmla="*/ 34 h 10034"/>
                <a:gd name="connsiteX4" fmla="*/ 7779 w 10000"/>
                <a:gd name="connsiteY4" fmla="*/ 0 h 10034"/>
                <a:gd name="connsiteX5" fmla="*/ 4380 w 10000"/>
                <a:gd name="connsiteY5" fmla="*/ 0 h 10034"/>
                <a:gd name="connsiteX6" fmla="*/ 2278 w 10000"/>
                <a:gd name="connsiteY6" fmla="*/ 34 h 10034"/>
                <a:gd name="connsiteX0" fmla="*/ 2278 w 17864"/>
                <a:gd name="connsiteY0" fmla="*/ 9655 h 19655"/>
                <a:gd name="connsiteX1" fmla="*/ 0 w 17864"/>
                <a:gd name="connsiteY1" fmla="*/ 15544 h 19655"/>
                <a:gd name="connsiteX2" fmla="*/ 4633 w 17864"/>
                <a:gd name="connsiteY2" fmla="*/ 19655 h 19655"/>
                <a:gd name="connsiteX3" fmla="*/ 10000 w 17864"/>
                <a:gd name="connsiteY3" fmla="*/ 9655 h 19655"/>
                <a:gd name="connsiteX4" fmla="*/ 17864 w 17864"/>
                <a:gd name="connsiteY4" fmla="*/ 0 h 19655"/>
                <a:gd name="connsiteX5" fmla="*/ 4380 w 17864"/>
                <a:gd name="connsiteY5" fmla="*/ 9621 h 19655"/>
                <a:gd name="connsiteX6" fmla="*/ 2278 w 17864"/>
                <a:gd name="connsiteY6" fmla="*/ 9655 h 19655"/>
                <a:gd name="connsiteX0" fmla="*/ 2278 w 17864"/>
                <a:gd name="connsiteY0" fmla="*/ 24324 h 34324"/>
                <a:gd name="connsiteX1" fmla="*/ 0 w 17864"/>
                <a:gd name="connsiteY1" fmla="*/ 30213 h 34324"/>
                <a:gd name="connsiteX2" fmla="*/ 4633 w 17864"/>
                <a:gd name="connsiteY2" fmla="*/ 34324 h 34324"/>
                <a:gd name="connsiteX3" fmla="*/ 10000 w 17864"/>
                <a:gd name="connsiteY3" fmla="*/ 24324 h 34324"/>
                <a:gd name="connsiteX4" fmla="*/ 17864 w 17864"/>
                <a:gd name="connsiteY4" fmla="*/ 14669 h 34324"/>
                <a:gd name="connsiteX5" fmla="*/ 11724 w 17864"/>
                <a:gd name="connsiteY5" fmla="*/ 0 h 34324"/>
                <a:gd name="connsiteX6" fmla="*/ 2278 w 17864"/>
                <a:gd name="connsiteY6" fmla="*/ 24324 h 3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4" h="34324">
                  <a:moveTo>
                    <a:pt x="2278" y="24324"/>
                  </a:moveTo>
                  <a:lnTo>
                    <a:pt x="0" y="30213"/>
                  </a:lnTo>
                  <a:lnTo>
                    <a:pt x="4633" y="34324"/>
                  </a:lnTo>
                  <a:lnTo>
                    <a:pt x="10000" y="24324"/>
                  </a:lnTo>
                  <a:lnTo>
                    <a:pt x="17864" y="14669"/>
                  </a:lnTo>
                  <a:lnTo>
                    <a:pt x="11724" y="0"/>
                  </a:lnTo>
                  <a:lnTo>
                    <a:pt x="2278" y="24324"/>
                  </a:lnTo>
                  <a:close/>
                </a:path>
              </a:pathLst>
            </a:custGeom>
            <a:solidFill>
              <a:srgbClr val="EA1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pic>
          <p:nvPicPr>
            <p:cNvPr id="238" name="Picture 23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561230" y="2043080"/>
              <a:ext cx="812772" cy="494484"/>
            </a:xfrm>
            <a:prstGeom prst="rect">
              <a:avLst/>
            </a:prstGeom>
          </p:spPr>
        </p:pic>
        <p:pic>
          <p:nvPicPr>
            <p:cNvPr id="239" name="Picture 23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37561" y="2238185"/>
              <a:ext cx="505571" cy="962215"/>
            </a:xfrm>
            <a:prstGeom prst="rect">
              <a:avLst/>
            </a:prstGeom>
          </p:spPr>
        </p:pic>
        <p:pic>
          <p:nvPicPr>
            <p:cNvPr id="240" name="Picture 239"/>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5088522" y="2190228"/>
              <a:ext cx="393609" cy="574934"/>
            </a:xfrm>
            <a:prstGeom prst="rect">
              <a:avLst/>
            </a:prstGeom>
          </p:spPr>
        </p:pic>
        <p:pic>
          <p:nvPicPr>
            <p:cNvPr id="241" name="Picture 24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73547" y="2962666"/>
              <a:ext cx="745142" cy="965925"/>
            </a:xfrm>
            <a:prstGeom prst="rect">
              <a:avLst/>
            </a:prstGeom>
          </p:spPr>
        </p:pic>
        <p:pic>
          <p:nvPicPr>
            <p:cNvPr id="242" name="Picture 24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981830" y="3200400"/>
              <a:ext cx="907976" cy="513723"/>
            </a:xfrm>
            <a:prstGeom prst="rect">
              <a:avLst/>
            </a:prstGeom>
          </p:spPr>
        </p:pic>
      </p:grpSp>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8" imgW="378" imgH="377" progId="TCLayout.ActiveDocument.1">
                  <p:embed/>
                </p:oleObj>
              </mc:Choice>
              <mc:Fallback>
                <p:oleObj name="think-cell Slide" r:id="rId8" imgW="378" imgH="377" progId="TCLayout.ActiveDocument.1">
                  <p:embed/>
                  <p:pic>
                    <p:nvPicPr>
                      <p:cNvPr id="2" name="Object 1" hidden="1"/>
                      <p:cNvPicPr/>
                      <p:nvPr/>
                    </p:nvPicPr>
                    <p:blipFill>
                      <a:blip r:embed="rId9"/>
                      <a:stretch>
                        <a:fillRect/>
                      </a:stretch>
                    </p:blipFill>
                    <p:spPr>
                      <a:xfrm>
                        <a:off x="1588" y="1589"/>
                        <a:ext cx="1587" cy="1587"/>
                      </a:xfrm>
                      <a:prstGeom prst="rect">
                        <a:avLst/>
                      </a:prstGeom>
                    </p:spPr>
                  </p:pic>
                </p:oleObj>
              </mc:Fallback>
            </mc:AlternateContent>
          </a:graphicData>
        </a:graphic>
      </p:graphicFrame>
      <p:pic>
        <p:nvPicPr>
          <p:cNvPr id="377" name="Picture 376"/>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bwMode="invGray">
          <a:xfrm>
            <a:off x="10387826" y="144170"/>
            <a:ext cx="1903235" cy="700093"/>
          </a:xfrm>
          <a:prstGeom prst="rect">
            <a:avLst/>
          </a:prstGeom>
          <a:noFill/>
          <a:ln>
            <a:noFill/>
          </a:ln>
        </p:spPr>
      </p:pic>
      <p:sp>
        <p:nvSpPr>
          <p:cNvPr id="320" name="Freeform 319"/>
          <p:cNvSpPr/>
          <p:nvPr userDrawn="1"/>
        </p:nvSpPr>
        <p:spPr bwMode="auto">
          <a:xfrm>
            <a:off x="444571" y="2"/>
            <a:ext cx="8097894" cy="6997700"/>
          </a:xfrm>
          <a:custGeom>
            <a:avLst/>
            <a:gdLst>
              <a:gd name="connsiteX0" fmla="*/ 0 w 8097894"/>
              <a:gd name="connsiteY0" fmla="*/ 0 h 6994525"/>
              <a:gd name="connsiteX1" fmla="*/ 8097894 w 8097894"/>
              <a:gd name="connsiteY1" fmla="*/ 0 h 6994525"/>
              <a:gd name="connsiteX2" fmla="*/ 6517262 w 8097894"/>
              <a:gd name="connsiteY2" fmla="*/ 6994525 h 6994525"/>
              <a:gd name="connsiteX3" fmla="*/ 0 w 8097894"/>
              <a:gd name="connsiteY3" fmla="*/ 6994525 h 6994525"/>
              <a:gd name="connsiteX0" fmla="*/ 0 w 8097894"/>
              <a:gd name="connsiteY0" fmla="*/ 0 h 6997700"/>
              <a:gd name="connsiteX1" fmla="*/ 8097894 w 8097894"/>
              <a:gd name="connsiteY1" fmla="*/ 0 h 6997700"/>
              <a:gd name="connsiteX2" fmla="*/ 6517262 w 8097894"/>
              <a:gd name="connsiteY2" fmla="*/ 6994525 h 6997700"/>
              <a:gd name="connsiteX3" fmla="*/ 6184900 w 8097894"/>
              <a:gd name="connsiteY3" fmla="*/ 6997700 h 6997700"/>
              <a:gd name="connsiteX4" fmla="*/ 0 w 8097894"/>
              <a:gd name="connsiteY4" fmla="*/ 6994525 h 6997700"/>
              <a:gd name="connsiteX5" fmla="*/ 0 w 8097894"/>
              <a:gd name="connsiteY5" fmla="*/ 0 h 6997700"/>
              <a:gd name="connsiteX0" fmla="*/ 0 w 8097894"/>
              <a:gd name="connsiteY0" fmla="*/ 0 h 6997700"/>
              <a:gd name="connsiteX1" fmla="*/ 8097894 w 8097894"/>
              <a:gd name="connsiteY1" fmla="*/ 0 h 6997700"/>
              <a:gd name="connsiteX2" fmla="*/ 6184900 w 8097894"/>
              <a:gd name="connsiteY2" fmla="*/ 6997700 h 6997700"/>
              <a:gd name="connsiteX3" fmla="*/ 0 w 8097894"/>
              <a:gd name="connsiteY3" fmla="*/ 6994525 h 6997700"/>
              <a:gd name="connsiteX4" fmla="*/ 0 w 8097894"/>
              <a:gd name="connsiteY4" fmla="*/ 0 h 699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7894" h="6997700">
                <a:moveTo>
                  <a:pt x="0" y="0"/>
                </a:moveTo>
                <a:lnTo>
                  <a:pt x="8097894" y="0"/>
                </a:lnTo>
                <a:lnTo>
                  <a:pt x="6184900" y="6997700"/>
                </a:lnTo>
                <a:lnTo>
                  <a:pt x="0" y="6994525"/>
                </a:lnTo>
                <a:lnTo>
                  <a:pt x="0" y="0"/>
                </a:lnTo>
                <a:close/>
              </a:path>
            </a:pathLst>
          </a:custGeom>
          <a:solidFill>
            <a:schemeClr val="bg2">
              <a:lumMod val="75000"/>
            </a:schemeClr>
          </a:solidFill>
          <a:ln>
            <a:no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1" name="Freeform 320"/>
          <p:cNvSpPr/>
          <p:nvPr userDrawn="1"/>
        </p:nvSpPr>
        <p:spPr bwMode="auto">
          <a:xfrm>
            <a:off x="216323" y="2"/>
            <a:ext cx="8097894" cy="6997700"/>
          </a:xfrm>
          <a:custGeom>
            <a:avLst/>
            <a:gdLst>
              <a:gd name="connsiteX0" fmla="*/ 0 w 8097894"/>
              <a:gd name="connsiteY0" fmla="*/ 0 h 6994525"/>
              <a:gd name="connsiteX1" fmla="*/ 8097894 w 8097894"/>
              <a:gd name="connsiteY1" fmla="*/ 0 h 6994525"/>
              <a:gd name="connsiteX2" fmla="*/ 6517262 w 8097894"/>
              <a:gd name="connsiteY2" fmla="*/ 6994525 h 6994525"/>
              <a:gd name="connsiteX3" fmla="*/ 0 w 8097894"/>
              <a:gd name="connsiteY3" fmla="*/ 6994525 h 6994525"/>
              <a:gd name="connsiteX0" fmla="*/ 0 w 8097894"/>
              <a:gd name="connsiteY0" fmla="*/ 0 h 6997700"/>
              <a:gd name="connsiteX1" fmla="*/ 8097894 w 8097894"/>
              <a:gd name="connsiteY1" fmla="*/ 0 h 6997700"/>
              <a:gd name="connsiteX2" fmla="*/ 6517262 w 8097894"/>
              <a:gd name="connsiteY2" fmla="*/ 6994525 h 6997700"/>
              <a:gd name="connsiteX3" fmla="*/ 6184900 w 8097894"/>
              <a:gd name="connsiteY3" fmla="*/ 6997700 h 6997700"/>
              <a:gd name="connsiteX4" fmla="*/ 0 w 8097894"/>
              <a:gd name="connsiteY4" fmla="*/ 6994525 h 6997700"/>
              <a:gd name="connsiteX5" fmla="*/ 0 w 8097894"/>
              <a:gd name="connsiteY5" fmla="*/ 0 h 6997700"/>
              <a:gd name="connsiteX0" fmla="*/ 0 w 8097894"/>
              <a:gd name="connsiteY0" fmla="*/ 0 h 6997700"/>
              <a:gd name="connsiteX1" fmla="*/ 8097894 w 8097894"/>
              <a:gd name="connsiteY1" fmla="*/ 0 h 6997700"/>
              <a:gd name="connsiteX2" fmla="*/ 6184900 w 8097894"/>
              <a:gd name="connsiteY2" fmla="*/ 6997700 h 6997700"/>
              <a:gd name="connsiteX3" fmla="*/ 0 w 8097894"/>
              <a:gd name="connsiteY3" fmla="*/ 6994525 h 6997700"/>
              <a:gd name="connsiteX4" fmla="*/ 0 w 8097894"/>
              <a:gd name="connsiteY4" fmla="*/ 0 h 699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7894" h="6997700">
                <a:moveTo>
                  <a:pt x="0" y="0"/>
                </a:moveTo>
                <a:lnTo>
                  <a:pt x="8097894" y="0"/>
                </a:lnTo>
                <a:lnTo>
                  <a:pt x="6184900" y="6997700"/>
                </a:lnTo>
                <a:lnTo>
                  <a:pt x="0" y="6994525"/>
                </a:lnTo>
                <a:lnTo>
                  <a:pt x="0" y="0"/>
                </a:lnTo>
                <a:close/>
              </a:path>
            </a:pathLst>
          </a:custGeom>
          <a:solidFill>
            <a:schemeClr val="bg2">
              <a:lumMod val="75000"/>
            </a:schemeClr>
          </a:solidFill>
          <a:ln>
            <a:no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37"/>
          <p:cNvSpPr/>
          <p:nvPr userDrawn="1"/>
        </p:nvSpPr>
        <p:spPr bwMode="auto">
          <a:xfrm>
            <a:off x="0" y="2"/>
            <a:ext cx="8097894" cy="6997700"/>
          </a:xfrm>
          <a:custGeom>
            <a:avLst/>
            <a:gdLst>
              <a:gd name="connsiteX0" fmla="*/ 0 w 8097894"/>
              <a:gd name="connsiteY0" fmla="*/ 0 h 6994525"/>
              <a:gd name="connsiteX1" fmla="*/ 8097894 w 8097894"/>
              <a:gd name="connsiteY1" fmla="*/ 0 h 6994525"/>
              <a:gd name="connsiteX2" fmla="*/ 6517262 w 8097894"/>
              <a:gd name="connsiteY2" fmla="*/ 6994525 h 6994525"/>
              <a:gd name="connsiteX3" fmla="*/ 0 w 8097894"/>
              <a:gd name="connsiteY3" fmla="*/ 6994525 h 6994525"/>
              <a:gd name="connsiteX0" fmla="*/ 0 w 8097894"/>
              <a:gd name="connsiteY0" fmla="*/ 0 h 6997700"/>
              <a:gd name="connsiteX1" fmla="*/ 8097894 w 8097894"/>
              <a:gd name="connsiteY1" fmla="*/ 0 h 6997700"/>
              <a:gd name="connsiteX2" fmla="*/ 6517262 w 8097894"/>
              <a:gd name="connsiteY2" fmla="*/ 6994525 h 6997700"/>
              <a:gd name="connsiteX3" fmla="*/ 6184900 w 8097894"/>
              <a:gd name="connsiteY3" fmla="*/ 6997700 h 6997700"/>
              <a:gd name="connsiteX4" fmla="*/ 0 w 8097894"/>
              <a:gd name="connsiteY4" fmla="*/ 6994525 h 6997700"/>
              <a:gd name="connsiteX5" fmla="*/ 0 w 8097894"/>
              <a:gd name="connsiteY5" fmla="*/ 0 h 6997700"/>
              <a:gd name="connsiteX0" fmla="*/ 0 w 8097894"/>
              <a:gd name="connsiteY0" fmla="*/ 0 h 6997700"/>
              <a:gd name="connsiteX1" fmla="*/ 8097894 w 8097894"/>
              <a:gd name="connsiteY1" fmla="*/ 0 h 6997700"/>
              <a:gd name="connsiteX2" fmla="*/ 6184900 w 8097894"/>
              <a:gd name="connsiteY2" fmla="*/ 6997700 h 6997700"/>
              <a:gd name="connsiteX3" fmla="*/ 0 w 8097894"/>
              <a:gd name="connsiteY3" fmla="*/ 6994525 h 6997700"/>
              <a:gd name="connsiteX4" fmla="*/ 0 w 8097894"/>
              <a:gd name="connsiteY4" fmla="*/ 0 h 699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7894" h="6997700">
                <a:moveTo>
                  <a:pt x="0" y="0"/>
                </a:moveTo>
                <a:lnTo>
                  <a:pt x="8097894" y="0"/>
                </a:lnTo>
                <a:lnTo>
                  <a:pt x="6184900" y="6997700"/>
                </a:lnTo>
                <a:lnTo>
                  <a:pt x="0" y="6994525"/>
                </a:lnTo>
                <a:lnTo>
                  <a:pt x="0" y="0"/>
                </a:lnTo>
                <a:close/>
              </a:path>
            </a:pathLst>
          </a:custGeom>
          <a:solidFill>
            <a:schemeClr val="bg2">
              <a:lumMod val="75000"/>
            </a:schemeClr>
          </a:solidFill>
          <a:ln>
            <a:no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userDrawn="1">
            <p:ph type="title" hasCustomPrompt="1"/>
          </p:nvPr>
        </p:nvSpPr>
        <p:spPr bwMode="auto">
          <a:xfrm>
            <a:off x="467182" y="1092471"/>
            <a:ext cx="6498380" cy="2339971"/>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467183" y="3451491"/>
            <a:ext cx="6183360" cy="1480375"/>
          </a:xfrm>
        </p:spPr>
        <p:txBody>
          <a:bodyPr tIns="109728" bIns="109728">
            <a:noAutofit/>
          </a:bodyPr>
          <a:lstStyle>
            <a:lvl1pPr marL="0" indent="0">
              <a:spcBef>
                <a:spcPts val="0"/>
              </a:spcBef>
              <a:buNone/>
              <a:defRPr sz="3199">
                <a:solidFill>
                  <a:schemeClr val="tx1"/>
                </a:solidFill>
              </a:defRPr>
            </a:lvl1pPr>
          </a:lstStyle>
          <a:p>
            <a:pPr lvl="0"/>
            <a:r>
              <a:rPr lang="en-US"/>
              <a:t>Speaker Name</a:t>
            </a:r>
          </a:p>
        </p:txBody>
      </p:sp>
      <p:sp>
        <p:nvSpPr>
          <p:cNvPr id="378" name="Text Placeholder 2"/>
          <p:cNvSpPr txBox="1">
            <a:spLocks/>
          </p:cNvSpPr>
          <p:nvPr userDrawn="1"/>
        </p:nvSpPr>
        <p:spPr bwMode="auto">
          <a:xfrm>
            <a:off x="313089" y="620618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defRPr/>
            </a:pPr>
            <a:r>
              <a:rPr lang="en-US" sz="2400">
                <a:solidFill>
                  <a:srgbClr val="FFFFFF"/>
                </a:solidFill>
                <a:latin typeface="Segoe UI"/>
              </a:rPr>
              <a:t>Microsoft Services</a:t>
            </a:r>
          </a:p>
        </p:txBody>
      </p:sp>
    </p:spTree>
    <p:extLst>
      <p:ext uri="{BB962C8B-B14F-4D97-AF65-F5344CB8AC3E}">
        <p14:creationId xmlns:p14="http://schemas.microsoft.com/office/powerpoint/2010/main" val="211469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281358"/>
            <a:ext cx="6399213" cy="1830388"/>
          </a:xfrm>
          <a:noFill/>
        </p:spPr>
        <p:txBody>
          <a:bodyPr lIns="146304" tIns="109728" rIns="146304" bIns="109728">
            <a:noAutofit/>
          </a:bodyPr>
          <a:lstStyle>
            <a:lvl1pPr marL="0" indent="0">
              <a:spcBef>
                <a:spcPts val="0"/>
              </a:spcBef>
              <a:buNone/>
              <a:defRPr sz="3199" spc="0" baseline="0">
                <a:solidFill>
                  <a:schemeClr val="bg2"/>
                </a:solidFill>
                <a:latin typeface="+mj-lt"/>
              </a:defRPr>
            </a:lvl1pPr>
          </a:lstStyle>
          <a:p>
            <a:pPr lvl="0"/>
            <a:r>
              <a:rPr lang="en-US"/>
              <a:t>Speaker Name</a:t>
            </a:r>
          </a:p>
        </p:txBody>
      </p:sp>
      <p:sp>
        <p:nvSpPr>
          <p:cNvPr id="9" name="Title 1"/>
          <p:cNvSpPr>
            <a:spLocks noGrp="1"/>
          </p:cNvSpPr>
          <p:nvPr>
            <p:ph type="title" hasCustomPrompt="1"/>
          </p:nvPr>
        </p:nvSpPr>
        <p:spPr>
          <a:xfrm>
            <a:off x="274702" y="1444065"/>
            <a:ext cx="8229535" cy="1837298"/>
          </a:xfrm>
          <a:noFill/>
        </p:spPr>
        <p:txBody>
          <a:bodyPr lIns="146304" tIns="91440" rIns="146304" bIns="91440" anchor="t" anchorCtr="0"/>
          <a:lstStyle>
            <a:lvl1pPr>
              <a:defRPr sz="5399" spc="-100" baseline="0">
                <a:solidFill>
                  <a:schemeClr val="bg2"/>
                </a:soli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7200" y="6161443"/>
            <a:ext cx="1645920" cy="353658"/>
          </a:xfrm>
          <a:prstGeom prst="rect">
            <a:avLst/>
          </a:prstGeom>
        </p:spPr>
      </p:pic>
      <p:sp>
        <p:nvSpPr>
          <p:cNvPr id="6"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defRPr/>
            </a:pPr>
            <a:r>
              <a:rPr lang="en-US" sz="2400" b="1"/>
              <a:t>Microsoft Services</a:t>
            </a:r>
            <a:endParaRPr lang="en-US" sz="2400">
              <a:latin typeface="Segoe UI"/>
            </a:endParaRPr>
          </a:p>
        </p:txBody>
      </p:sp>
      <p:grpSp>
        <p:nvGrpSpPr>
          <p:cNvPr id="287" name="Group 286"/>
          <p:cNvGrpSpPr/>
          <p:nvPr userDrawn="1"/>
        </p:nvGrpSpPr>
        <p:grpSpPr>
          <a:xfrm>
            <a:off x="2880502" y="73036"/>
            <a:ext cx="10096844" cy="6921491"/>
            <a:chOff x="2880502" y="73035"/>
            <a:chExt cx="10096844" cy="6921491"/>
          </a:xfrm>
        </p:grpSpPr>
        <p:grpSp>
          <p:nvGrpSpPr>
            <p:cNvPr id="288" name="Group 170"/>
            <p:cNvGrpSpPr>
              <a:grpSpLocks noChangeAspect="1"/>
            </p:cNvGrpSpPr>
            <p:nvPr/>
          </p:nvGrpSpPr>
          <p:grpSpPr bwMode="auto">
            <a:xfrm>
              <a:off x="11201400" y="4729163"/>
              <a:ext cx="1249363" cy="1628775"/>
              <a:chOff x="7056" y="3134"/>
              <a:chExt cx="787" cy="1026"/>
            </a:xfrm>
          </p:grpSpPr>
          <p:sp>
            <p:nvSpPr>
              <p:cNvPr id="494" name="AutoShape 169"/>
              <p:cNvSpPr>
                <a:spLocks noChangeAspect="1" noChangeArrowheads="1" noTextEdit="1"/>
              </p:cNvSpPr>
              <p:nvPr/>
            </p:nvSpPr>
            <p:spPr bwMode="auto">
              <a:xfrm>
                <a:off x="7056" y="3134"/>
                <a:ext cx="787" cy="1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95" name="Freeform 171"/>
              <p:cNvSpPr>
                <a:spLocks/>
              </p:cNvSpPr>
              <p:nvPr/>
            </p:nvSpPr>
            <p:spPr bwMode="auto">
              <a:xfrm>
                <a:off x="7515" y="3250"/>
                <a:ext cx="228" cy="30"/>
              </a:xfrm>
              <a:custGeom>
                <a:avLst/>
                <a:gdLst>
                  <a:gd name="T0" fmla="*/ 191 w 228"/>
                  <a:gd name="T1" fmla="*/ 0 h 30"/>
                  <a:gd name="T2" fmla="*/ 0 w 228"/>
                  <a:gd name="T3" fmla="*/ 0 h 30"/>
                  <a:gd name="T4" fmla="*/ 39 w 228"/>
                  <a:gd name="T5" fmla="*/ 30 h 30"/>
                  <a:gd name="T6" fmla="*/ 228 w 228"/>
                  <a:gd name="T7" fmla="*/ 30 h 30"/>
                  <a:gd name="T8" fmla="*/ 191 w 228"/>
                  <a:gd name="T9" fmla="*/ 0 h 30"/>
                </a:gdLst>
                <a:ahLst/>
                <a:cxnLst>
                  <a:cxn ang="0">
                    <a:pos x="T0" y="T1"/>
                  </a:cxn>
                  <a:cxn ang="0">
                    <a:pos x="T2" y="T3"/>
                  </a:cxn>
                  <a:cxn ang="0">
                    <a:pos x="T4" y="T5"/>
                  </a:cxn>
                  <a:cxn ang="0">
                    <a:pos x="T6" y="T7"/>
                  </a:cxn>
                  <a:cxn ang="0">
                    <a:pos x="T8" y="T9"/>
                  </a:cxn>
                </a:cxnLst>
                <a:rect l="0" t="0" r="r" b="b"/>
                <a:pathLst>
                  <a:path w="228" h="30">
                    <a:moveTo>
                      <a:pt x="191" y="0"/>
                    </a:moveTo>
                    <a:lnTo>
                      <a:pt x="0" y="0"/>
                    </a:lnTo>
                    <a:lnTo>
                      <a:pt x="39" y="30"/>
                    </a:lnTo>
                    <a:lnTo>
                      <a:pt x="228" y="30"/>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96" name="Freeform 172"/>
              <p:cNvSpPr>
                <a:spLocks/>
              </p:cNvSpPr>
              <p:nvPr/>
            </p:nvSpPr>
            <p:spPr bwMode="auto">
              <a:xfrm>
                <a:off x="7515" y="3250"/>
                <a:ext cx="39" cy="139"/>
              </a:xfrm>
              <a:custGeom>
                <a:avLst/>
                <a:gdLst>
                  <a:gd name="T0" fmla="*/ 0 w 39"/>
                  <a:gd name="T1" fmla="*/ 128 h 139"/>
                  <a:gd name="T2" fmla="*/ 0 w 39"/>
                  <a:gd name="T3" fmla="*/ 0 h 139"/>
                  <a:gd name="T4" fmla="*/ 39 w 39"/>
                  <a:gd name="T5" fmla="*/ 30 h 139"/>
                  <a:gd name="T6" fmla="*/ 39 w 39"/>
                  <a:gd name="T7" fmla="*/ 128 h 139"/>
                  <a:gd name="T8" fmla="*/ 39 w 39"/>
                  <a:gd name="T9" fmla="*/ 139 h 139"/>
                  <a:gd name="T10" fmla="*/ 0 w 39"/>
                  <a:gd name="T11" fmla="*/ 139 h 139"/>
                  <a:gd name="T12" fmla="*/ 0 w 39"/>
                  <a:gd name="T13" fmla="*/ 128 h 139"/>
                </a:gdLst>
                <a:ahLst/>
                <a:cxnLst>
                  <a:cxn ang="0">
                    <a:pos x="T0" y="T1"/>
                  </a:cxn>
                  <a:cxn ang="0">
                    <a:pos x="T2" y="T3"/>
                  </a:cxn>
                  <a:cxn ang="0">
                    <a:pos x="T4" y="T5"/>
                  </a:cxn>
                  <a:cxn ang="0">
                    <a:pos x="T6" y="T7"/>
                  </a:cxn>
                  <a:cxn ang="0">
                    <a:pos x="T8" y="T9"/>
                  </a:cxn>
                  <a:cxn ang="0">
                    <a:pos x="T10" y="T11"/>
                  </a:cxn>
                  <a:cxn ang="0">
                    <a:pos x="T12" y="T13"/>
                  </a:cxn>
                </a:cxnLst>
                <a:rect l="0" t="0" r="r" b="b"/>
                <a:pathLst>
                  <a:path w="39" h="139">
                    <a:moveTo>
                      <a:pt x="0" y="128"/>
                    </a:moveTo>
                    <a:lnTo>
                      <a:pt x="0" y="0"/>
                    </a:lnTo>
                    <a:lnTo>
                      <a:pt x="39" y="30"/>
                    </a:lnTo>
                    <a:lnTo>
                      <a:pt x="39" y="128"/>
                    </a:lnTo>
                    <a:lnTo>
                      <a:pt x="39" y="139"/>
                    </a:lnTo>
                    <a:lnTo>
                      <a:pt x="0" y="139"/>
                    </a:lnTo>
                    <a:lnTo>
                      <a:pt x="0" y="128"/>
                    </a:lnTo>
                    <a:close/>
                  </a:path>
                </a:pathLst>
              </a:custGeom>
              <a:solidFill>
                <a:srgbClr val="309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97" name="Rectangle 173"/>
              <p:cNvSpPr>
                <a:spLocks noChangeArrowheads="1"/>
              </p:cNvSpPr>
              <p:nvPr/>
            </p:nvSpPr>
            <p:spPr bwMode="auto">
              <a:xfrm>
                <a:off x="7554" y="3280"/>
                <a:ext cx="189" cy="98"/>
              </a:xfrm>
              <a:prstGeom prst="rect">
                <a:avLst/>
              </a:prstGeom>
              <a:solidFill>
                <a:srgbClr val="9CD9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98" name="Freeform 174"/>
              <p:cNvSpPr>
                <a:spLocks noEditPoints="1"/>
              </p:cNvSpPr>
              <p:nvPr/>
            </p:nvSpPr>
            <p:spPr bwMode="auto">
              <a:xfrm>
                <a:off x="7554" y="3280"/>
                <a:ext cx="189" cy="98"/>
              </a:xfrm>
              <a:custGeom>
                <a:avLst/>
                <a:gdLst>
                  <a:gd name="T0" fmla="*/ 186 w 189"/>
                  <a:gd name="T1" fmla="*/ 5 h 98"/>
                  <a:gd name="T2" fmla="*/ 186 w 189"/>
                  <a:gd name="T3" fmla="*/ 93 h 98"/>
                  <a:gd name="T4" fmla="*/ 4 w 189"/>
                  <a:gd name="T5" fmla="*/ 93 h 98"/>
                  <a:gd name="T6" fmla="*/ 4 w 189"/>
                  <a:gd name="T7" fmla="*/ 5 h 98"/>
                  <a:gd name="T8" fmla="*/ 186 w 189"/>
                  <a:gd name="T9" fmla="*/ 5 h 98"/>
                  <a:gd name="T10" fmla="*/ 189 w 189"/>
                  <a:gd name="T11" fmla="*/ 0 h 98"/>
                  <a:gd name="T12" fmla="*/ 0 w 189"/>
                  <a:gd name="T13" fmla="*/ 0 h 98"/>
                  <a:gd name="T14" fmla="*/ 0 w 189"/>
                  <a:gd name="T15" fmla="*/ 98 h 98"/>
                  <a:gd name="T16" fmla="*/ 189 w 189"/>
                  <a:gd name="T17" fmla="*/ 98 h 98"/>
                  <a:gd name="T18" fmla="*/ 189 w 189"/>
                  <a:gd name="T19" fmla="*/ 0 h 98"/>
                  <a:gd name="T20" fmla="*/ 189 w 189"/>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9" h="98">
                    <a:moveTo>
                      <a:pt x="186" y="5"/>
                    </a:moveTo>
                    <a:lnTo>
                      <a:pt x="186" y="93"/>
                    </a:lnTo>
                    <a:lnTo>
                      <a:pt x="4" y="93"/>
                    </a:lnTo>
                    <a:lnTo>
                      <a:pt x="4" y="5"/>
                    </a:lnTo>
                    <a:lnTo>
                      <a:pt x="186" y="5"/>
                    </a:lnTo>
                    <a:close/>
                    <a:moveTo>
                      <a:pt x="189" y="0"/>
                    </a:moveTo>
                    <a:lnTo>
                      <a:pt x="0" y="0"/>
                    </a:lnTo>
                    <a:lnTo>
                      <a:pt x="0" y="98"/>
                    </a:lnTo>
                    <a:lnTo>
                      <a:pt x="189" y="98"/>
                    </a:lnTo>
                    <a:lnTo>
                      <a:pt x="189" y="0"/>
                    </a:lnTo>
                    <a:lnTo>
                      <a:pt x="189"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99" name="Freeform 175"/>
              <p:cNvSpPr>
                <a:spLocks noEditPoints="1"/>
              </p:cNvSpPr>
              <p:nvPr/>
            </p:nvSpPr>
            <p:spPr bwMode="auto">
              <a:xfrm>
                <a:off x="7554" y="3280"/>
                <a:ext cx="189" cy="98"/>
              </a:xfrm>
              <a:custGeom>
                <a:avLst/>
                <a:gdLst>
                  <a:gd name="T0" fmla="*/ 186 w 189"/>
                  <a:gd name="T1" fmla="*/ 5 h 98"/>
                  <a:gd name="T2" fmla="*/ 186 w 189"/>
                  <a:gd name="T3" fmla="*/ 93 h 98"/>
                  <a:gd name="T4" fmla="*/ 4 w 189"/>
                  <a:gd name="T5" fmla="*/ 93 h 98"/>
                  <a:gd name="T6" fmla="*/ 4 w 189"/>
                  <a:gd name="T7" fmla="*/ 5 h 98"/>
                  <a:gd name="T8" fmla="*/ 186 w 189"/>
                  <a:gd name="T9" fmla="*/ 5 h 98"/>
                  <a:gd name="T10" fmla="*/ 189 w 189"/>
                  <a:gd name="T11" fmla="*/ 0 h 98"/>
                  <a:gd name="T12" fmla="*/ 0 w 189"/>
                  <a:gd name="T13" fmla="*/ 0 h 98"/>
                  <a:gd name="T14" fmla="*/ 0 w 189"/>
                  <a:gd name="T15" fmla="*/ 98 h 98"/>
                  <a:gd name="T16" fmla="*/ 189 w 189"/>
                  <a:gd name="T17" fmla="*/ 98 h 98"/>
                  <a:gd name="T18" fmla="*/ 189 w 189"/>
                  <a:gd name="T19" fmla="*/ 0 h 98"/>
                  <a:gd name="T20" fmla="*/ 189 w 189"/>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9" h="98">
                    <a:moveTo>
                      <a:pt x="186" y="5"/>
                    </a:moveTo>
                    <a:lnTo>
                      <a:pt x="186" y="93"/>
                    </a:lnTo>
                    <a:lnTo>
                      <a:pt x="4" y="93"/>
                    </a:lnTo>
                    <a:lnTo>
                      <a:pt x="4" y="5"/>
                    </a:lnTo>
                    <a:lnTo>
                      <a:pt x="186" y="5"/>
                    </a:lnTo>
                    <a:moveTo>
                      <a:pt x="189" y="0"/>
                    </a:moveTo>
                    <a:lnTo>
                      <a:pt x="0" y="0"/>
                    </a:lnTo>
                    <a:lnTo>
                      <a:pt x="0" y="98"/>
                    </a:lnTo>
                    <a:lnTo>
                      <a:pt x="189" y="98"/>
                    </a:lnTo>
                    <a:lnTo>
                      <a:pt x="189" y="0"/>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0" name="Line 176"/>
              <p:cNvSpPr>
                <a:spLocks noChangeShapeType="1"/>
              </p:cNvSpPr>
              <p:nvPr/>
            </p:nvSpPr>
            <p:spPr bwMode="auto">
              <a:xfrm flipV="1">
                <a:off x="7590" y="3280"/>
                <a:ext cx="0" cy="98"/>
              </a:xfrm>
              <a:prstGeom prst="line">
                <a:avLst/>
              </a:prstGeom>
              <a:noFill/>
              <a:ln w="9525" cap="flat">
                <a:solidFill>
                  <a:srgbClr val="6DC2E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1" name="Line 177"/>
              <p:cNvSpPr>
                <a:spLocks noChangeShapeType="1"/>
              </p:cNvSpPr>
              <p:nvPr/>
            </p:nvSpPr>
            <p:spPr bwMode="auto">
              <a:xfrm flipV="1">
                <a:off x="7629" y="3280"/>
                <a:ext cx="0" cy="98"/>
              </a:xfrm>
              <a:prstGeom prst="line">
                <a:avLst/>
              </a:prstGeom>
              <a:noFill/>
              <a:ln w="9525" cap="flat">
                <a:solidFill>
                  <a:srgbClr val="6DC2E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2" name="Line 178"/>
              <p:cNvSpPr>
                <a:spLocks noChangeShapeType="1"/>
              </p:cNvSpPr>
              <p:nvPr/>
            </p:nvSpPr>
            <p:spPr bwMode="auto">
              <a:xfrm flipV="1">
                <a:off x="7668" y="3280"/>
                <a:ext cx="0" cy="98"/>
              </a:xfrm>
              <a:prstGeom prst="line">
                <a:avLst/>
              </a:prstGeom>
              <a:noFill/>
              <a:ln w="9525" cap="flat">
                <a:solidFill>
                  <a:srgbClr val="6DC2E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3" name="Line 179"/>
              <p:cNvSpPr>
                <a:spLocks noChangeShapeType="1"/>
              </p:cNvSpPr>
              <p:nvPr/>
            </p:nvSpPr>
            <p:spPr bwMode="auto">
              <a:xfrm flipV="1">
                <a:off x="7707" y="3280"/>
                <a:ext cx="0" cy="98"/>
              </a:xfrm>
              <a:prstGeom prst="line">
                <a:avLst/>
              </a:prstGeom>
              <a:noFill/>
              <a:ln w="9525" cap="flat">
                <a:solidFill>
                  <a:srgbClr val="6DC2E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4" name="Line 180"/>
              <p:cNvSpPr>
                <a:spLocks noChangeShapeType="1"/>
              </p:cNvSpPr>
              <p:nvPr/>
            </p:nvSpPr>
            <p:spPr bwMode="auto">
              <a:xfrm>
                <a:off x="7554" y="3312"/>
                <a:ext cx="186" cy="0"/>
              </a:xfrm>
              <a:prstGeom prst="line">
                <a:avLst/>
              </a:prstGeom>
              <a:noFill/>
              <a:ln w="9525" cap="flat">
                <a:solidFill>
                  <a:srgbClr val="6DC2E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5" name="Line 181"/>
              <p:cNvSpPr>
                <a:spLocks noChangeShapeType="1"/>
              </p:cNvSpPr>
              <p:nvPr/>
            </p:nvSpPr>
            <p:spPr bwMode="auto">
              <a:xfrm>
                <a:off x="7554" y="3346"/>
                <a:ext cx="186" cy="0"/>
              </a:xfrm>
              <a:prstGeom prst="line">
                <a:avLst/>
              </a:prstGeom>
              <a:noFill/>
              <a:ln w="9525" cap="flat">
                <a:solidFill>
                  <a:srgbClr val="6DC2E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6" name="Rectangle 182"/>
              <p:cNvSpPr>
                <a:spLocks noChangeArrowheads="1"/>
              </p:cNvSpPr>
              <p:nvPr/>
            </p:nvSpPr>
            <p:spPr bwMode="auto">
              <a:xfrm>
                <a:off x="7129" y="3676"/>
                <a:ext cx="223" cy="36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7" name="Rectangle 183"/>
              <p:cNvSpPr>
                <a:spLocks noChangeArrowheads="1"/>
              </p:cNvSpPr>
              <p:nvPr/>
            </p:nvSpPr>
            <p:spPr bwMode="auto">
              <a:xfrm>
                <a:off x="7192" y="3631"/>
                <a:ext cx="91" cy="9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8" name="Rectangle 184"/>
              <p:cNvSpPr>
                <a:spLocks noChangeArrowheads="1"/>
              </p:cNvSpPr>
              <p:nvPr/>
            </p:nvSpPr>
            <p:spPr bwMode="auto">
              <a:xfrm>
                <a:off x="7151" y="3298"/>
                <a:ext cx="287" cy="76"/>
              </a:xfrm>
              <a:prstGeom prst="rect">
                <a:avLst/>
              </a:prstGeom>
              <a:solidFill>
                <a:srgbClr val="0077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09" name="Rectangle 185"/>
              <p:cNvSpPr>
                <a:spLocks noChangeArrowheads="1"/>
              </p:cNvSpPr>
              <p:nvPr/>
            </p:nvSpPr>
            <p:spPr bwMode="auto">
              <a:xfrm>
                <a:off x="7058" y="3374"/>
                <a:ext cx="787" cy="78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0" name="Rectangle 186"/>
              <p:cNvSpPr>
                <a:spLocks noChangeArrowheads="1"/>
              </p:cNvSpPr>
              <p:nvPr/>
            </p:nvSpPr>
            <p:spPr bwMode="auto">
              <a:xfrm>
                <a:off x="7058" y="3403"/>
                <a:ext cx="787" cy="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1" name="Rectangle 187"/>
              <p:cNvSpPr>
                <a:spLocks noChangeArrowheads="1"/>
              </p:cNvSpPr>
              <p:nvPr/>
            </p:nvSpPr>
            <p:spPr bwMode="auto">
              <a:xfrm>
                <a:off x="7103" y="3448"/>
                <a:ext cx="55"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2" name="Rectangle 188"/>
              <p:cNvSpPr>
                <a:spLocks noChangeArrowheads="1"/>
              </p:cNvSpPr>
              <p:nvPr/>
            </p:nvSpPr>
            <p:spPr bwMode="auto">
              <a:xfrm>
                <a:off x="7094" y="3503"/>
                <a:ext cx="73"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3" name="Rectangle 189"/>
              <p:cNvSpPr>
                <a:spLocks noChangeArrowheads="1"/>
              </p:cNvSpPr>
              <p:nvPr/>
            </p:nvSpPr>
            <p:spPr bwMode="auto">
              <a:xfrm>
                <a:off x="7231" y="3448"/>
                <a:ext cx="55" cy="115"/>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4" name="Rectangle 190"/>
              <p:cNvSpPr>
                <a:spLocks noChangeArrowheads="1"/>
              </p:cNvSpPr>
              <p:nvPr/>
            </p:nvSpPr>
            <p:spPr bwMode="auto">
              <a:xfrm>
                <a:off x="7222" y="3503"/>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5" name="Rectangle 191"/>
              <p:cNvSpPr>
                <a:spLocks noChangeArrowheads="1"/>
              </p:cNvSpPr>
              <p:nvPr/>
            </p:nvSpPr>
            <p:spPr bwMode="auto">
              <a:xfrm>
                <a:off x="7359" y="3448"/>
                <a:ext cx="56"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6" name="Rectangle 192"/>
              <p:cNvSpPr>
                <a:spLocks noChangeArrowheads="1"/>
              </p:cNvSpPr>
              <p:nvPr/>
            </p:nvSpPr>
            <p:spPr bwMode="auto">
              <a:xfrm>
                <a:off x="7351" y="3503"/>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7" name="Rectangle 193"/>
              <p:cNvSpPr>
                <a:spLocks noChangeArrowheads="1"/>
              </p:cNvSpPr>
              <p:nvPr/>
            </p:nvSpPr>
            <p:spPr bwMode="auto">
              <a:xfrm>
                <a:off x="7488" y="3448"/>
                <a:ext cx="55"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8" name="Rectangle 194"/>
              <p:cNvSpPr>
                <a:spLocks noChangeArrowheads="1"/>
              </p:cNvSpPr>
              <p:nvPr/>
            </p:nvSpPr>
            <p:spPr bwMode="auto">
              <a:xfrm>
                <a:off x="7479" y="3503"/>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19" name="Rectangle 195"/>
              <p:cNvSpPr>
                <a:spLocks noChangeArrowheads="1"/>
              </p:cNvSpPr>
              <p:nvPr/>
            </p:nvSpPr>
            <p:spPr bwMode="auto">
              <a:xfrm>
                <a:off x="7616" y="3448"/>
                <a:ext cx="56" cy="115"/>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0" name="Rectangle 196"/>
              <p:cNvSpPr>
                <a:spLocks noChangeArrowheads="1"/>
              </p:cNvSpPr>
              <p:nvPr/>
            </p:nvSpPr>
            <p:spPr bwMode="auto">
              <a:xfrm>
                <a:off x="7608" y="3503"/>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1" name="Rectangle 197"/>
              <p:cNvSpPr>
                <a:spLocks noChangeArrowheads="1"/>
              </p:cNvSpPr>
              <p:nvPr/>
            </p:nvSpPr>
            <p:spPr bwMode="auto">
              <a:xfrm>
                <a:off x="7745" y="3448"/>
                <a:ext cx="55" cy="1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2" name="Rectangle 198"/>
              <p:cNvSpPr>
                <a:spLocks noChangeArrowheads="1"/>
              </p:cNvSpPr>
              <p:nvPr/>
            </p:nvSpPr>
            <p:spPr bwMode="auto">
              <a:xfrm>
                <a:off x="7736" y="3503"/>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3" name="Rectangle 199"/>
              <p:cNvSpPr>
                <a:spLocks noChangeArrowheads="1"/>
              </p:cNvSpPr>
              <p:nvPr/>
            </p:nvSpPr>
            <p:spPr bwMode="auto">
              <a:xfrm>
                <a:off x="7103" y="3599"/>
                <a:ext cx="55"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4" name="Rectangle 200"/>
              <p:cNvSpPr>
                <a:spLocks noChangeArrowheads="1"/>
              </p:cNvSpPr>
              <p:nvPr/>
            </p:nvSpPr>
            <p:spPr bwMode="auto">
              <a:xfrm>
                <a:off x="7094" y="3656"/>
                <a:ext cx="73"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5" name="Rectangle 201"/>
              <p:cNvSpPr>
                <a:spLocks noChangeArrowheads="1"/>
              </p:cNvSpPr>
              <p:nvPr/>
            </p:nvSpPr>
            <p:spPr bwMode="auto">
              <a:xfrm>
                <a:off x="7231" y="3599"/>
                <a:ext cx="55"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6" name="Rectangle 202"/>
              <p:cNvSpPr>
                <a:spLocks noChangeArrowheads="1"/>
              </p:cNvSpPr>
              <p:nvPr/>
            </p:nvSpPr>
            <p:spPr bwMode="auto">
              <a:xfrm>
                <a:off x="7222" y="3656"/>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7" name="Rectangle 203"/>
              <p:cNvSpPr>
                <a:spLocks noChangeArrowheads="1"/>
              </p:cNvSpPr>
              <p:nvPr/>
            </p:nvSpPr>
            <p:spPr bwMode="auto">
              <a:xfrm>
                <a:off x="7359" y="3599"/>
                <a:ext cx="56"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8" name="Rectangle 204"/>
              <p:cNvSpPr>
                <a:spLocks noChangeArrowheads="1"/>
              </p:cNvSpPr>
              <p:nvPr/>
            </p:nvSpPr>
            <p:spPr bwMode="auto">
              <a:xfrm>
                <a:off x="7351" y="3656"/>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29" name="Rectangle 205"/>
              <p:cNvSpPr>
                <a:spLocks noChangeArrowheads="1"/>
              </p:cNvSpPr>
              <p:nvPr/>
            </p:nvSpPr>
            <p:spPr bwMode="auto">
              <a:xfrm>
                <a:off x="7488" y="3599"/>
                <a:ext cx="55" cy="117"/>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0" name="Rectangle 206"/>
              <p:cNvSpPr>
                <a:spLocks noChangeArrowheads="1"/>
              </p:cNvSpPr>
              <p:nvPr/>
            </p:nvSpPr>
            <p:spPr bwMode="auto">
              <a:xfrm>
                <a:off x="7479" y="3656"/>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1" name="Rectangle 207"/>
              <p:cNvSpPr>
                <a:spLocks noChangeArrowheads="1"/>
              </p:cNvSpPr>
              <p:nvPr/>
            </p:nvSpPr>
            <p:spPr bwMode="auto">
              <a:xfrm>
                <a:off x="7616" y="3599"/>
                <a:ext cx="56"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2" name="Rectangle 208"/>
              <p:cNvSpPr>
                <a:spLocks noChangeArrowheads="1"/>
              </p:cNvSpPr>
              <p:nvPr/>
            </p:nvSpPr>
            <p:spPr bwMode="auto">
              <a:xfrm>
                <a:off x="7608" y="3656"/>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3" name="Rectangle 209"/>
              <p:cNvSpPr>
                <a:spLocks noChangeArrowheads="1"/>
              </p:cNvSpPr>
              <p:nvPr/>
            </p:nvSpPr>
            <p:spPr bwMode="auto">
              <a:xfrm>
                <a:off x="7745" y="3599"/>
                <a:ext cx="55" cy="11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4" name="Rectangle 210"/>
              <p:cNvSpPr>
                <a:spLocks noChangeArrowheads="1"/>
              </p:cNvSpPr>
              <p:nvPr/>
            </p:nvSpPr>
            <p:spPr bwMode="auto">
              <a:xfrm>
                <a:off x="7736" y="3656"/>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5" name="Rectangle 211"/>
              <p:cNvSpPr>
                <a:spLocks noChangeArrowheads="1"/>
              </p:cNvSpPr>
              <p:nvPr/>
            </p:nvSpPr>
            <p:spPr bwMode="auto">
              <a:xfrm>
                <a:off x="7103" y="3752"/>
                <a:ext cx="55" cy="118"/>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6" name="Rectangle 212"/>
              <p:cNvSpPr>
                <a:spLocks noChangeArrowheads="1"/>
              </p:cNvSpPr>
              <p:nvPr/>
            </p:nvSpPr>
            <p:spPr bwMode="auto">
              <a:xfrm>
                <a:off x="7094" y="3809"/>
                <a:ext cx="73" cy="4"/>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7" name="Rectangle 213"/>
              <p:cNvSpPr>
                <a:spLocks noChangeArrowheads="1"/>
              </p:cNvSpPr>
              <p:nvPr/>
            </p:nvSpPr>
            <p:spPr bwMode="auto">
              <a:xfrm>
                <a:off x="7231" y="3752"/>
                <a:ext cx="55"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8" name="Rectangle 214"/>
              <p:cNvSpPr>
                <a:spLocks noChangeArrowheads="1"/>
              </p:cNvSpPr>
              <p:nvPr/>
            </p:nvSpPr>
            <p:spPr bwMode="auto">
              <a:xfrm>
                <a:off x="7222" y="3809"/>
                <a:ext cx="71" cy="4"/>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39" name="Rectangle 215"/>
              <p:cNvSpPr>
                <a:spLocks noChangeArrowheads="1"/>
              </p:cNvSpPr>
              <p:nvPr/>
            </p:nvSpPr>
            <p:spPr bwMode="auto">
              <a:xfrm>
                <a:off x="7359" y="3752"/>
                <a:ext cx="56" cy="118"/>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0" name="Rectangle 216"/>
              <p:cNvSpPr>
                <a:spLocks noChangeArrowheads="1"/>
              </p:cNvSpPr>
              <p:nvPr/>
            </p:nvSpPr>
            <p:spPr bwMode="auto">
              <a:xfrm>
                <a:off x="7351" y="3809"/>
                <a:ext cx="71" cy="4"/>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1" name="Rectangle 217"/>
              <p:cNvSpPr>
                <a:spLocks noChangeArrowheads="1"/>
              </p:cNvSpPr>
              <p:nvPr/>
            </p:nvSpPr>
            <p:spPr bwMode="auto">
              <a:xfrm>
                <a:off x="7488" y="3752"/>
                <a:ext cx="55"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2" name="Rectangle 218"/>
              <p:cNvSpPr>
                <a:spLocks noChangeArrowheads="1"/>
              </p:cNvSpPr>
              <p:nvPr/>
            </p:nvSpPr>
            <p:spPr bwMode="auto">
              <a:xfrm>
                <a:off x="7479" y="3809"/>
                <a:ext cx="71" cy="4"/>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3" name="Rectangle 219"/>
              <p:cNvSpPr>
                <a:spLocks noChangeArrowheads="1"/>
              </p:cNvSpPr>
              <p:nvPr/>
            </p:nvSpPr>
            <p:spPr bwMode="auto">
              <a:xfrm>
                <a:off x="7616" y="3752"/>
                <a:ext cx="56" cy="118"/>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4" name="Rectangle 220"/>
              <p:cNvSpPr>
                <a:spLocks noChangeArrowheads="1"/>
              </p:cNvSpPr>
              <p:nvPr/>
            </p:nvSpPr>
            <p:spPr bwMode="auto">
              <a:xfrm>
                <a:off x="7608" y="3809"/>
                <a:ext cx="71" cy="4"/>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5" name="Rectangle 221"/>
              <p:cNvSpPr>
                <a:spLocks noChangeArrowheads="1"/>
              </p:cNvSpPr>
              <p:nvPr/>
            </p:nvSpPr>
            <p:spPr bwMode="auto">
              <a:xfrm>
                <a:off x="7745" y="3752"/>
                <a:ext cx="55" cy="1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6" name="Rectangle 222"/>
              <p:cNvSpPr>
                <a:spLocks noChangeArrowheads="1"/>
              </p:cNvSpPr>
              <p:nvPr/>
            </p:nvSpPr>
            <p:spPr bwMode="auto">
              <a:xfrm>
                <a:off x="7736" y="3809"/>
                <a:ext cx="71" cy="4"/>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7" name="Rectangle 223"/>
              <p:cNvSpPr>
                <a:spLocks noChangeArrowheads="1"/>
              </p:cNvSpPr>
              <p:nvPr/>
            </p:nvSpPr>
            <p:spPr bwMode="auto">
              <a:xfrm>
                <a:off x="7103" y="3905"/>
                <a:ext cx="55" cy="1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8" name="Rectangle 224"/>
              <p:cNvSpPr>
                <a:spLocks noChangeArrowheads="1"/>
              </p:cNvSpPr>
              <p:nvPr/>
            </p:nvSpPr>
            <p:spPr bwMode="auto">
              <a:xfrm>
                <a:off x="7094" y="3961"/>
                <a:ext cx="73"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49" name="Rectangle 225"/>
              <p:cNvSpPr>
                <a:spLocks noChangeArrowheads="1"/>
              </p:cNvSpPr>
              <p:nvPr/>
            </p:nvSpPr>
            <p:spPr bwMode="auto">
              <a:xfrm>
                <a:off x="7231" y="3905"/>
                <a:ext cx="55" cy="116"/>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0" name="Rectangle 226"/>
              <p:cNvSpPr>
                <a:spLocks noChangeArrowheads="1"/>
              </p:cNvSpPr>
              <p:nvPr/>
            </p:nvSpPr>
            <p:spPr bwMode="auto">
              <a:xfrm>
                <a:off x="7222" y="3961"/>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1" name="Rectangle 227"/>
              <p:cNvSpPr>
                <a:spLocks noChangeArrowheads="1"/>
              </p:cNvSpPr>
              <p:nvPr/>
            </p:nvSpPr>
            <p:spPr bwMode="auto">
              <a:xfrm>
                <a:off x="7231" y="4114"/>
                <a:ext cx="55" cy="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2" name="Rectangle 228"/>
              <p:cNvSpPr>
                <a:spLocks noChangeArrowheads="1"/>
              </p:cNvSpPr>
              <p:nvPr/>
            </p:nvSpPr>
            <p:spPr bwMode="auto">
              <a:xfrm>
                <a:off x="7103" y="4114"/>
                <a:ext cx="55" cy="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3" name="Rectangle 229"/>
              <p:cNvSpPr>
                <a:spLocks noChangeArrowheads="1"/>
              </p:cNvSpPr>
              <p:nvPr/>
            </p:nvSpPr>
            <p:spPr bwMode="auto">
              <a:xfrm>
                <a:off x="7743" y="4115"/>
                <a:ext cx="55" cy="4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4" name="Rectangle 230"/>
              <p:cNvSpPr>
                <a:spLocks noChangeArrowheads="1"/>
              </p:cNvSpPr>
              <p:nvPr/>
            </p:nvSpPr>
            <p:spPr bwMode="auto">
              <a:xfrm>
                <a:off x="7615" y="4115"/>
                <a:ext cx="55" cy="47"/>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5" name="Rectangle 231"/>
              <p:cNvSpPr>
                <a:spLocks noChangeArrowheads="1"/>
              </p:cNvSpPr>
              <p:nvPr/>
            </p:nvSpPr>
            <p:spPr bwMode="auto">
              <a:xfrm>
                <a:off x="7616" y="3905"/>
                <a:ext cx="56" cy="1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6" name="Rectangle 232"/>
              <p:cNvSpPr>
                <a:spLocks noChangeArrowheads="1"/>
              </p:cNvSpPr>
              <p:nvPr/>
            </p:nvSpPr>
            <p:spPr bwMode="auto">
              <a:xfrm>
                <a:off x="7608" y="3961"/>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7" name="Rectangle 233"/>
              <p:cNvSpPr>
                <a:spLocks noChangeArrowheads="1"/>
              </p:cNvSpPr>
              <p:nvPr/>
            </p:nvSpPr>
            <p:spPr bwMode="auto">
              <a:xfrm>
                <a:off x="7745" y="3905"/>
                <a:ext cx="55" cy="1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8" name="Rectangle 234"/>
              <p:cNvSpPr>
                <a:spLocks noChangeArrowheads="1"/>
              </p:cNvSpPr>
              <p:nvPr/>
            </p:nvSpPr>
            <p:spPr bwMode="auto">
              <a:xfrm>
                <a:off x="7736" y="3961"/>
                <a:ext cx="71" cy="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59" name="Rectangle 235"/>
              <p:cNvSpPr>
                <a:spLocks noChangeArrowheads="1"/>
              </p:cNvSpPr>
              <p:nvPr/>
            </p:nvSpPr>
            <p:spPr bwMode="auto">
              <a:xfrm>
                <a:off x="7386" y="3900"/>
                <a:ext cx="129" cy="182"/>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60" name="Rectangle 236"/>
              <p:cNvSpPr>
                <a:spLocks noChangeArrowheads="1"/>
              </p:cNvSpPr>
              <p:nvPr/>
            </p:nvSpPr>
            <p:spPr bwMode="auto">
              <a:xfrm>
                <a:off x="7359" y="4094"/>
                <a:ext cx="184" cy="16"/>
              </a:xfrm>
              <a:prstGeom prst="rect">
                <a:avLst/>
              </a:prstGeom>
              <a:solidFill>
                <a:srgbClr val="0077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61" name="Rectangle 237"/>
              <p:cNvSpPr>
                <a:spLocks noChangeArrowheads="1"/>
              </p:cNvSpPr>
              <p:nvPr/>
            </p:nvSpPr>
            <p:spPr bwMode="auto">
              <a:xfrm>
                <a:off x="7343" y="4119"/>
                <a:ext cx="216" cy="14"/>
              </a:xfrm>
              <a:prstGeom prst="rect">
                <a:avLst/>
              </a:prstGeom>
              <a:solidFill>
                <a:srgbClr val="0077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62" name="Rectangle 238"/>
              <p:cNvSpPr>
                <a:spLocks noChangeArrowheads="1"/>
              </p:cNvSpPr>
              <p:nvPr/>
            </p:nvSpPr>
            <p:spPr bwMode="auto">
              <a:xfrm>
                <a:off x="7326" y="4146"/>
                <a:ext cx="251" cy="16"/>
              </a:xfrm>
              <a:prstGeom prst="rect">
                <a:avLst/>
              </a:prstGeom>
              <a:solidFill>
                <a:srgbClr val="0077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63" name="Line 239"/>
              <p:cNvSpPr>
                <a:spLocks noChangeShapeType="1"/>
              </p:cNvSpPr>
              <p:nvPr/>
            </p:nvSpPr>
            <p:spPr bwMode="auto">
              <a:xfrm flipV="1">
                <a:off x="7213" y="3195"/>
                <a:ext cx="0" cy="103"/>
              </a:xfrm>
              <a:prstGeom prst="line">
                <a:avLst/>
              </a:prstGeom>
              <a:noFill/>
              <a:ln w="14288" cap="flat">
                <a:solidFill>
                  <a:srgbClr val="33333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564" name="Line 240"/>
              <p:cNvSpPr>
                <a:spLocks noChangeShapeType="1"/>
              </p:cNvSpPr>
              <p:nvPr/>
            </p:nvSpPr>
            <p:spPr bwMode="auto">
              <a:xfrm flipV="1">
                <a:off x="7265" y="3134"/>
                <a:ext cx="0" cy="164"/>
              </a:xfrm>
              <a:prstGeom prst="line">
                <a:avLst/>
              </a:prstGeom>
              <a:noFill/>
              <a:ln w="14288" cap="flat">
                <a:solidFill>
                  <a:srgbClr val="33333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grpSp>
        <p:sp>
          <p:nvSpPr>
            <p:cNvPr id="289" name="Freeform 8"/>
            <p:cNvSpPr>
              <a:spLocks/>
            </p:cNvSpPr>
            <p:nvPr/>
          </p:nvSpPr>
          <p:spPr bwMode="auto">
            <a:xfrm>
              <a:off x="7702101" y="6455555"/>
              <a:ext cx="2309868" cy="53897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505050"/>
                </a:solidFill>
              </a:endParaRPr>
            </a:p>
          </p:txBody>
        </p:sp>
        <p:sp>
          <p:nvSpPr>
            <p:cNvPr id="290" name="Freeform 289"/>
            <p:cNvSpPr/>
            <p:nvPr/>
          </p:nvSpPr>
          <p:spPr bwMode="auto">
            <a:xfrm>
              <a:off x="3175637" y="3535680"/>
              <a:ext cx="7157083" cy="2595086"/>
            </a:xfrm>
            <a:custGeom>
              <a:avLst/>
              <a:gdLst>
                <a:gd name="connsiteX0" fmla="*/ 19050 w 7610475"/>
                <a:gd name="connsiteY0" fmla="*/ 4124325 h 4124325"/>
                <a:gd name="connsiteX1" fmla="*/ 0 w 7610475"/>
                <a:gd name="connsiteY1" fmla="*/ 3733800 h 4124325"/>
                <a:gd name="connsiteX2" fmla="*/ 1790700 w 7610475"/>
                <a:gd name="connsiteY2" fmla="*/ 2743200 h 4124325"/>
                <a:gd name="connsiteX3" fmla="*/ 3819525 w 7610475"/>
                <a:gd name="connsiteY3" fmla="*/ 2657475 h 4124325"/>
                <a:gd name="connsiteX4" fmla="*/ 7610475 w 7610475"/>
                <a:gd name="connsiteY4" fmla="*/ 0 h 4124325"/>
                <a:gd name="connsiteX0" fmla="*/ 19050 w 7610475"/>
                <a:gd name="connsiteY0" fmla="*/ 4124325 h 4124325"/>
                <a:gd name="connsiteX1" fmla="*/ 0 w 7610475"/>
                <a:gd name="connsiteY1" fmla="*/ 3733800 h 4124325"/>
                <a:gd name="connsiteX2" fmla="*/ 1790700 w 7610475"/>
                <a:gd name="connsiteY2" fmla="*/ 2743200 h 4124325"/>
                <a:gd name="connsiteX3" fmla="*/ 3825875 w 7610475"/>
                <a:gd name="connsiteY3" fmla="*/ 2682875 h 4124325"/>
                <a:gd name="connsiteX4" fmla="*/ 7610475 w 7610475"/>
                <a:gd name="connsiteY4" fmla="*/ 0 h 4124325"/>
                <a:gd name="connsiteX0" fmla="*/ 19050 w 7610475"/>
                <a:gd name="connsiteY0" fmla="*/ 4124325 h 4124325"/>
                <a:gd name="connsiteX1" fmla="*/ 0 w 7610475"/>
                <a:gd name="connsiteY1" fmla="*/ 3733800 h 4124325"/>
                <a:gd name="connsiteX2" fmla="*/ 1790700 w 7610475"/>
                <a:gd name="connsiteY2" fmla="*/ 2743200 h 4124325"/>
                <a:gd name="connsiteX3" fmla="*/ 3832225 w 7610475"/>
                <a:gd name="connsiteY3" fmla="*/ 2714625 h 4124325"/>
                <a:gd name="connsiteX4" fmla="*/ 7610475 w 7610475"/>
                <a:gd name="connsiteY4" fmla="*/ 0 h 4124325"/>
                <a:gd name="connsiteX0" fmla="*/ 19050 w 7610475"/>
                <a:gd name="connsiteY0" fmla="*/ 4124325 h 4124325"/>
                <a:gd name="connsiteX1" fmla="*/ 0 w 7610475"/>
                <a:gd name="connsiteY1" fmla="*/ 3733800 h 4124325"/>
                <a:gd name="connsiteX2" fmla="*/ 1790700 w 7610475"/>
                <a:gd name="connsiteY2" fmla="*/ 2743200 h 4124325"/>
                <a:gd name="connsiteX3" fmla="*/ 3883025 w 7610475"/>
                <a:gd name="connsiteY3" fmla="*/ 2714625 h 4124325"/>
                <a:gd name="connsiteX4" fmla="*/ 7610475 w 7610475"/>
                <a:gd name="connsiteY4" fmla="*/ 0 h 4124325"/>
                <a:gd name="connsiteX0" fmla="*/ 19050 w 7610475"/>
                <a:gd name="connsiteY0" fmla="*/ 4124325 h 4124325"/>
                <a:gd name="connsiteX1" fmla="*/ 0 w 7610475"/>
                <a:gd name="connsiteY1" fmla="*/ 3733800 h 4124325"/>
                <a:gd name="connsiteX2" fmla="*/ 1790700 w 7610475"/>
                <a:gd name="connsiteY2" fmla="*/ 2743200 h 4124325"/>
                <a:gd name="connsiteX3" fmla="*/ 3876675 w 7610475"/>
                <a:gd name="connsiteY3" fmla="*/ 2708275 h 4124325"/>
                <a:gd name="connsiteX4" fmla="*/ 7610475 w 7610475"/>
                <a:gd name="connsiteY4" fmla="*/ 0 h 4124325"/>
                <a:gd name="connsiteX0" fmla="*/ 19050 w 7610475"/>
                <a:gd name="connsiteY0" fmla="*/ 4124325 h 4124325"/>
                <a:gd name="connsiteX1" fmla="*/ 0 w 7610475"/>
                <a:gd name="connsiteY1" fmla="*/ 3733800 h 4124325"/>
                <a:gd name="connsiteX2" fmla="*/ 1790700 w 7610475"/>
                <a:gd name="connsiteY2" fmla="*/ 2743200 h 4124325"/>
                <a:gd name="connsiteX3" fmla="*/ 3883025 w 7610475"/>
                <a:gd name="connsiteY3" fmla="*/ 2720975 h 4124325"/>
                <a:gd name="connsiteX4" fmla="*/ 7610475 w 7610475"/>
                <a:gd name="connsiteY4" fmla="*/ 0 h 4124325"/>
                <a:gd name="connsiteX0" fmla="*/ 19050 w 7610475"/>
                <a:gd name="connsiteY0" fmla="*/ 4124325 h 4124325"/>
                <a:gd name="connsiteX1" fmla="*/ 0 w 7610475"/>
                <a:gd name="connsiteY1" fmla="*/ 3733800 h 4124325"/>
                <a:gd name="connsiteX2" fmla="*/ 1790700 w 7610475"/>
                <a:gd name="connsiteY2" fmla="*/ 2743200 h 4124325"/>
                <a:gd name="connsiteX3" fmla="*/ 3883025 w 7610475"/>
                <a:gd name="connsiteY3" fmla="*/ 2714625 h 4124325"/>
                <a:gd name="connsiteX4" fmla="*/ 7610475 w 7610475"/>
                <a:gd name="connsiteY4" fmla="*/ 0 h 4124325"/>
                <a:gd name="connsiteX0" fmla="*/ 7144 w 7610475"/>
                <a:gd name="connsiteY0" fmla="*/ 4121944 h 4121944"/>
                <a:gd name="connsiteX1" fmla="*/ 0 w 7610475"/>
                <a:gd name="connsiteY1" fmla="*/ 3733800 h 4121944"/>
                <a:gd name="connsiteX2" fmla="*/ 1790700 w 7610475"/>
                <a:gd name="connsiteY2" fmla="*/ 2743200 h 4121944"/>
                <a:gd name="connsiteX3" fmla="*/ 3883025 w 7610475"/>
                <a:gd name="connsiteY3" fmla="*/ 2714625 h 4121944"/>
                <a:gd name="connsiteX4" fmla="*/ 7610475 w 7610475"/>
                <a:gd name="connsiteY4" fmla="*/ 0 h 4121944"/>
                <a:gd name="connsiteX0" fmla="*/ 14287 w 7610475"/>
                <a:gd name="connsiteY0" fmla="*/ 4124325 h 4124325"/>
                <a:gd name="connsiteX1" fmla="*/ 0 w 7610475"/>
                <a:gd name="connsiteY1" fmla="*/ 3733800 h 4124325"/>
                <a:gd name="connsiteX2" fmla="*/ 1790700 w 7610475"/>
                <a:gd name="connsiteY2" fmla="*/ 2743200 h 4124325"/>
                <a:gd name="connsiteX3" fmla="*/ 3883025 w 7610475"/>
                <a:gd name="connsiteY3" fmla="*/ 2714625 h 4124325"/>
                <a:gd name="connsiteX4" fmla="*/ 7610475 w 7610475"/>
                <a:gd name="connsiteY4" fmla="*/ 0 h 4124325"/>
                <a:gd name="connsiteX0" fmla="*/ 7144 w 7610475"/>
                <a:gd name="connsiteY0" fmla="*/ 4121943 h 4121943"/>
                <a:gd name="connsiteX1" fmla="*/ 0 w 7610475"/>
                <a:gd name="connsiteY1" fmla="*/ 3733800 h 4121943"/>
                <a:gd name="connsiteX2" fmla="*/ 1790700 w 7610475"/>
                <a:gd name="connsiteY2" fmla="*/ 2743200 h 4121943"/>
                <a:gd name="connsiteX3" fmla="*/ 3883025 w 7610475"/>
                <a:gd name="connsiteY3" fmla="*/ 2714625 h 4121943"/>
                <a:gd name="connsiteX4" fmla="*/ 7610475 w 7610475"/>
                <a:gd name="connsiteY4" fmla="*/ 0 h 4121943"/>
                <a:gd name="connsiteX0" fmla="*/ 11907 w 7610475"/>
                <a:gd name="connsiteY0" fmla="*/ 4124324 h 4124324"/>
                <a:gd name="connsiteX1" fmla="*/ 0 w 7610475"/>
                <a:gd name="connsiteY1" fmla="*/ 3733800 h 4124324"/>
                <a:gd name="connsiteX2" fmla="*/ 1790700 w 7610475"/>
                <a:gd name="connsiteY2" fmla="*/ 2743200 h 4124324"/>
                <a:gd name="connsiteX3" fmla="*/ 3883025 w 7610475"/>
                <a:gd name="connsiteY3" fmla="*/ 2714625 h 4124324"/>
                <a:gd name="connsiteX4" fmla="*/ 7610475 w 7610475"/>
                <a:gd name="connsiteY4" fmla="*/ 0 h 4124324"/>
                <a:gd name="connsiteX0" fmla="*/ 7145 w 7610475"/>
                <a:gd name="connsiteY0" fmla="*/ 4121942 h 4121942"/>
                <a:gd name="connsiteX1" fmla="*/ 0 w 7610475"/>
                <a:gd name="connsiteY1" fmla="*/ 3733800 h 4121942"/>
                <a:gd name="connsiteX2" fmla="*/ 1790700 w 7610475"/>
                <a:gd name="connsiteY2" fmla="*/ 2743200 h 4121942"/>
                <a:gd name="connsiteX3" fmla="*/ 3883025 w 7610475"/>
                <a:gd name="connsiteY3" fmla="*/ 2714625 h 4121942"/>
                <a:gd name="connsiteX4" fmla="*/ 7610475 w 7610475"/>
                <a:gd name="connsiteY4" fmla="*/ 0 h 4121942"/>
                <a:gd name="connsiteX0" fmla="*/ 4764 w 7610475"/>
                <a:gd name="connsiteY0" fmla="*/ 4121942 h 4121942"/>
                <a:gd name="connsiteX1" fmla="*/ 0 w 7610475"/>
                <a:gd name="connsiteY1" fmla="*/ 3733800 h 4121942"/>
                <a:gd name="connsiteX2" fmla="*/ 1790700 w 7610475"/>
                <a:gd name="connsiteY2" fmla="*/ 2743200 h 4121942"/>
                <a:gd name="connsiteX3" fmla="*/ 3883025 w 7610475"/>
                <a:gd name="connsiteY3" fmla="*/ 2714625 h 4121942"/>
                <a:gd name="connsiteX4" fmla="*/ 7610475 w 7610475"/>
                <a:gd name="connsiteY4" fmla="*/ 0 h 4121942"/>
                <a:gd name="connsiteX0" fmla="*/ 4764 w 7610475"/>
                <a:gd name="connsiteY0" fmla="*/ 4121942 h 4121942"/>
                <a:gd name="connsiteX1" fmla="*/ 0 w 7610475"/>
                <a:gd name="connsiteY1" fmla="*/ 3733800 h 4121942"/>
                <a:gd name="connsiteX2" fmla="*/ 1790700 w 7610475"/>
                <a:gd name="connsiteY2" fmla="*/ 2743200 h 4121942"/>
                <a:gd name="connsiteX3" fmla="*/ 3883025 w 7610475"/>
                <a:gd name="connsiteY3" fmla="*/ 2714625 h 4121942"/>
                <a:gd name="connsiteX4" fmla="*/ 7610475 w 7610475"/>
                <a:gd name="connsiteY4" fmla="*/ 0 h 4121942"/>
                <a:gd name="connsiteX0" fmla="*/ 4764 w 6619875"/>
                <a:gd name="connsiteY0" fmla="*/ 3451382 h 3451382"/>
                <a:gd name="connsiteX1" fmla="*/ 0 w 6619875"/>
                <a:gd name="connsiteY1" fmla="*/ 3063240 h 3451382"/>
                <a:gd name="connsiteX2" fmla="*/ 1790700 w 6619875"/>
                <a:gd name="connsiteY2" fmla="*/ 2072640 h 3451382"/>
                <a:gd name="connsiteX3" fmla="*/ 3883025 w 6619875"/>
                <a:gd name="connsiteY3" fmla="*/ 2044065 h 3451382"/>
                <a:gd name="connsiteX4" fmla="*/ 6619875 w 6619875"/>
                <a:gd name="connsiteY4" fmla="*/ 0 h 3451382"/>
                <a:gd name="connsiteX0" fmla="*/ 4764 w 6612255"/>
                <a:gd name="connsiteY0" fmla="*/ 3489482 h 3489482"/>
                <a:gd name="connsiteX1" fmla="*/ 0 w 6612255"/>
                <a:gd name="connsiteY1" fmla="*/ 3101340 h 3489482"/>
                <a:gd name="connsiteX2" fmla="*/ 1790700 w 6612255"/>
                <a:gd name="connsiteY2" fmla="*/ 2110740 h 3489482"/>
                <a:gd name="connsiteX3" fmla="*/ 3883025 w 6612255"/>
                <a:gd name="connsiteY3" fmla="*/ 2082165 h 3489482"/>
                <a:gd name="connsiteX4" fmla="*/ 6612255 w 6612255"/>
                <a:gd name="connsiteY4" fmla="*/ 0 h 3489482"/>
                <a:gd name="connsiteX0" fmla="*/ 4764 w 6612255"/>
                <a:gd name="connsiteY0" fmla="*/ 3489482 h 3489482"/>
                <a:gd name="connsiteX1" fmla="*/ 0 w 6612255"/>
                <a:gd name="connsiteY1" fmla="*/ 3101340 h 3489482"/>
                <a:gd name="connsiteX2" fmla="*/ 1790700 w 6612255"/>
                <a:gd name="connsiteY2" fmla="*/ 2110740 h 3489482"/>
                <a:gd name="connsiteX3" fmla="*/ 3873500 w 6612255"/>
                <a:gd name="connsiteY3" fmla="*/ 2101215 h 3489482"/>
                <a:gd name="connsiteX4" fmla="*/ 6612255 w 6612255"/>
                <a:gd name="connsiteY4" fmla="*/ 0 h 3489482"/>
                <a:gd name="connsiteX0" fmla="*/ 4764 w 6612255"/>
                <a:gd name="connsiteY0" fmla="*/ 3489482 h 3489482"/>
                <a:gd name="connsiteX1" fmla="*/ 0 w 6612255"/>
                <a:gd name="connsiteY1" fmla="*/ 3101340 h 3489482"/>
                <a:gd name="connsiteX2" fmla="*/ 1790700 w 6612255"/>
                <a:gd name="connsiteY2" fmla="*/ 2110740 h 3489482"/>
                <a:gd name="connsiteX3" fmla="*/ 3873500 w 6612255"/>
                <a:gd name="connsiteY3" fmla="*/ 2101215 h 3489482"/>
                <a:gd name="connsiteX4" fmla="*/ 5960745 w 6612255"/>
                <a:gd name="connsiteY4" fmla="*/ 512444 h 3489482"/>
                <a:gd name="connsiteX5" fmla="*/ 6612255 w 6612255"/>
                <a:gd name="connsiteY5" fmla="*/ 0 h 3489482"/>
                <a:gd name="connsiteX0" fmla="*/ 4764 w 5960745"/>
                <a:gd name="connsiteY0" fmla="*/ 2977038 h 2977038"/>
                <a:gd name="connsiteX1" fmla="*/ 0 w 5960745"/>
                <a:gd name="connsiteY1" fmla="*/ 2588896 h 2977038"/>
                <a:gd name="connsiteX2" fmla="*/ 1790700 w 5960745"/>
                <a:gd name="connsiteY2" fmla="*/ 1598296 h 2977038"/>
                <a:gd name="connsiteX3" fmla="*/ 3873500 w 5960745"/>
                <a:gd name="connsiteY3" fmla="*/ 1588771 h 2977038"/>
                <a:gd name="connsiteX4" fmla="*/ 5960745 w 5960745"/>
                <a:gd name="connsiteY4" fmla="*/ 0 h 2977038"/>
                <a:gd name="connsiteX0" fmla="*/ 0 w 7152321"/>
                <a:gd name="connsiteY0" fmla="*/ 2618898 h 2618898"/>
                <a:gd name="connsiteX1" fmla="*/ 1191576 w 7152321"/>
                <a:gd name="connsiteY1" fmla="*/ 2588896 h 2618898"/>
                <a:gd name="connsiteX2" fmla="*/ 2982276 w 7152321"/>
                <a:gd name="connsiteY2" fmla="*/ 1598296 h 2618898"/>
                <a:gd name="connsiteX3" fmla="*/ 5065076 w 7152321"/>
                <a:gd name="connsiteY3" fmla="*/ 1588771 h 2618898"/>
                <a:gd name="connsiteX4" fmla="*/ 7152321 w 7152321"/>
                <a:gd name="connsiteY4" fmla="*/ 0 h 2618898"/>
                <a:gd name="connsiteX0" fmla="*/ 0 w 7157083"/>
                <a:gd name="connsiteY0" fmla="*/ 2599848 h 2599848"/>
                <a:gd name="connsiteX1" fmla="*/ 1196338 w 7157083"/>
                <a:gd name="connsiteY1" fmla="*/ 2588896 h 2599848"/>
                <a:gd name="connsiteX2" fmla="*/ 2987038 w 7157083"/>
                <a:gd name="connsiteY2" fmla="*/ 1598296 h 2599848"/>
                <a:gd name="connsiteX3" fmla="*/ 5069838 w 7157083"/>
                <a:gd name="connsiteY3" fmla="*/ 1588771 h 2599848"/>
                <a:gd name="connsiteX4" fmla="*/ 7157083 w 7157083"/>
                <a:gd name="connsiteY4" fmla="*/ 0 h 2599848"/>
                <a:gd name="connsiteX0" fmla="*/ 0 w 7157083"/>
                <a:gd name="connsiteY0" fmla="*/ 2595086 h 2595086"/>
                <a:gd name="connsiteX1" fmla="*/ 1196338 w 7157083"/>
                <a:gd name="connsiteY1" fmla="*/ 2588896 h 2595086"/>
                <a:gd name="connsiteX2" fmla="*/ 2987038 w 7157083"/>
                <a:gd name="connsiteY2" fmla="*/ 1598296 h 2595086"/>
                <a:gd name="connsiteX3" fmla="*/ 5069838 w 7157083"/>
                <a:gd name="connsiteY3" fmla="*/ 1588771 h 2595086"/>
                <a:gd name="connsiteX4" fmla="*/ 7157083 w 7157083"/>
                <a:gd name="connsiteY4" fmla="*/ 0 h 259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7083" h="2595086">
                  <a:moveTo>
                    <a:pt x="0" y="2595086"/>
                  </a:moveTo>
                  <a:lnTo>
                    <a:pt x="1196338" y="2588896"/>
                  </a:lnTo>
                  <a:lnTo>
                    <a:pt x="2987038" y="1598296"/>
                  </a:lnTo>
                  <a:lnTo>
                    <a:pt x="5069838" y="1588771"/>
                  </a:lnTo>
                  <a:lnTo>
                    <a:pt x="7157083" y="0"/>
                  </a:lnTo>
                </a:path>
              </a:pathLst>
            </a:custGeom>
            <a:noFill/>
            <a:ln w="19050" cap="flat" cmpd="sng" algn="ctr">
              <a:solidFill>
                <a:srgbClr val="505050"/>
              </a:solidFill>
              <a:prstDash val="solid"/>
              <a:headEnd type="none" w="med" len="med"/>
              <a:tailEnd type="none" w="med" len="med"/>
            </a:ln>
            <a:effectLst/>
          </p:spPr>
          <p:txBody>
            <a:bodyPr rtlCol="0" anchor="ctr"/>
            <a:lstStyle/>
            <a:p>
              <a:pPr algn="ctr" defTabSz="914224">
                <a:defRPr/>
              </a:pPr>
              <a:endParaRPr lang="en-IN" sz="1800" kern="0">
                <a:solidFill>
                  <a:srgbClr val="FFFFFF"/>
                </a:solidFill>
              </a:endParaRPr>
            </a:p>
          </p:txBody>
        </p:sp>
        <p:sp>
          <p:nvSpPr>
            <p:cNvPr id="291" name="Oval 290"/>
            <p:cNvSpPr/>
            <p:nvPr/>
          </p:nvSpPr>
          <p:spPr bwMode="auto">
            <a:xfrm>
              <a:off x="2880502" y="5610994"/>
              <a:ext cx="901724" cy="901724"/>
            </a:xfrm>
            <a:prstGeom prst="ellipse">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92" name="Oval 1036"/>
            <p:cNvSpPr/>
            <p:nvPr/>
          </p:nvSpPr>
          <p:spPr>
            <a:xfrm>
              <a:off x="3126948" y="5714876"/>
              <a:ext cx="408832" cy="654898"/>
            </a:xfrm>
            <a:custGeom>
              <a:avLst/>
              <a:gdLst/>
              <a:ahLst/>
              <a:cxnLst/>
              <a:rect l="l" t="t" r="r" b="b"/>
              <a:pathLst>
                <a:path w="873694" h="1399546">
                  <a:moveTo>
                    <a:pt x="368268" y="1353826"/>
                  </a:moveTo>
                  <a:lnTo>
                    <a:pt x="505428" y="1353826"/>
                  </a:lnTo>
                  <a:lnTo>
                    <a:pt x="505428" y="1399546"/>
                  </a:lnTo>
                  <a:lnTo>
                    <a:pt x="368268" y="1399546"/>
                  </a:lnTo>
                  <a:close/>
                  <a:moveTo>
                    <a:pt x="298452" y="1288836"/>
                  </a:moveTo>
                  <a:lnTo>
                    <a:pt x="575244" y="1288836"/>
                  </a:lnTo>
                  <a:lnTo>
                    <a:pt x="575244" y="1352844"/>
                  </a:lnTo>
                  <a:lnTo>
                    <a:pt x="298452" y="1352844"/>
                  </a:lnTo>
                  <a:close/>
                  <a:moveTo>
                    <a:pt x="273051" y="1181375"/>
                  </a:moveTo>
                  <a:lnTo>
                    <a:pt x="600645" y="1181375"/>
                  </a:lnTo>
                  <a:lnTo>
                    <a:pt x="600645" y="1245383"/>
                  </a:lnTo>
                  <a:lnTo>
                    <a:pt x="273051" y="1245383"/>
                  </a:lnTo>
                  <a:close/>
                  <a:moveTo>
                    <a:pt x="244760" y="1073915"/>
                  </a:moveTo>
                  <a:lnTo>
                    <a:pt x="628935" y="1073915"/>
                  </a:lnTo>
                  <a:lnTo>
                    <a:pt x="628935" y="1137923"/>
                  </a:lnTo>
                  <a:lnTo>
                    <a:pt x="244760" y="1137923"/>
                  </a:lnTo>
                  <a:close/>
                  <a:moveTo>
                    <a:pt x="436847" y="0"/>
                  </a:moveTo>
                  <a:cubicBezTo>
                    <a:pt x="678111" y="0"/>
                    <a:pt x="873694" y="181797"/>
                    <a:pt x="873694" y="406056"/>
                  </a:cubicBezTo>
                  <a:lnTo>
                    <a:pt x="865469" y="481894"/>
                  </a:lnTo>
                  <a:lnTo>
                    <a:pt x="866615" y="481894"/>
                  </a:lnTo>
                  <a:lnTo>
                    <a:pt x="865050" y="485764"/>
                  </a:lnTo>
                  <a:cubicBezTo>
                    <a:pt x="856692" y="525850"/>
                    <a:pt x="841779" y="563767"/>
                    <a:pt x="819803" y="597610"/>
                  </a:cubicBezTo>
                  <a:cubicBezTo>
                    <a:pt x="757417" y="736579"/>
                    <a:pt x="674367" y="866868"/>
                    <a:pt x="650095" y="1030463"/>
                  </a:cubicBezTo>
                  <a:lnTo>
                    <a:pt x="223599" y="1030463"/>
                  </a:lnTo>
                  <a:cubicBezTo>
                    <a:pt x="196160" y="878092"/>
                    <a:pt x="109005" y="733956"/>
                    <a:pt x="48016" y="587548"/>
                  </a:cubicBezTo>
                  <a:cubicBezTo>
                    <a:pt x="29124" y="556473"/>
                    <a:pt x="16227" y="522121"/>
                    <a:pt x="8670" y="486001"/>
                  </a:cubicBezTo>
                  <a:cubicBezTo>
                    <a:pt x="7945" y="484692"/>
                    <a:pt x="7510" y="483293"/>
                    <a:pt x="7079" y="481894"/>
                  </a:cubicBezTo>
                  <a:lnTo>
                    <a:pt x="8225" y="481894"/>
                  </a:lnTo>
                  <a:cubicBezTo>
                    <a:pt x="2621" y="457409"/>
                    <a:pt x="0" y="432017"/>
                    <a:pt x="0" y="406056"/>
                  </a:cubicBezTo>
                  <a:cubicBezTo>
                    <a:pt x="0" y="181797"/>
                    <a:pt x="195583" y="0"/>
                    <a:pt x="436847" y="0"/>
                  </a:cubicBezTo>
                  <a:close/>
                </a:path>
              </a:pathLst>
            </a:custGeom>
            <a:solidFill>
              <a:srgbClr val="FFFFFF"/>
            </a:solidFill>
            <a:ln w="10795" cap="flat" cmpd="sng" algn="ctr">
              <a:noFill/>
              <a:prstDash val="solid"/>
            </a:ln>
            <a:effectLst/>
          </p:spPr>
          <p:txBody>
            <a:bodyPr rtlCol="0" anchor="ctr"/>
            <a:lstStyle/>
            <a:p>
              <a:pPr algn="ctr" defTabSz="914224">
                <a:defRPr/>
              </a:pPr>
              <a:endParaRPr lang="en-US" sz="1800" kern="0">
                <a:solidFill>
                  <a:srgbClr val="FFFFFF"/>
                </a:solidFill>
              </a:endParaRPr>
            </a:p>
          </p:txBody>
        </p:sp>
        <p:sp>
          <p:nvSpPr>
            <p:cNvPr id="293" name="Oval 292"/>
            <p:cNvSpPr/>
            <p:nvPr/>
          </p:nvSpPr>
          <p:spPr bwMode="auto">
            <a:xfrm>
              <a:off x="6757830" y="4673377"/>
              <a:ext cx="901724" cy="901724"/>
            </a:xfrm>
            <a:prstGeom prst="ellipse">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294" name="Group 293"/>
            <p:cNvGrpSpPr/>
            <p:nvPr/>
          </p:nvGrpSpPr>
          <p:grpSpPr>
            <a:xfrm>
              <a:off x="6946101" y="4858810"/>
              <a:ext cx="525182" cy="530859"/>
              <a:chOff x="6286844" y="2329087"/>
              <a:chExt cx="968505" cy="978974"/>
            </a:xfrm>
            <a:solidFill>
              <a:srgbClr val="FFFFFF"/>
            </a:solidFill>
          </p:grpSpPr>
          <p:sp>
            <p:nvSpPr>
              <p:cNvPr id="492" name="Freeform 491"/>
              <p:cNvSpPr/>
              <p:nvPr/>
            </p:nvSpPr>
            <p:spPr bwMode="auto">
              <a:xfrm rot="1196550">
                <a:off x="6286844" y="2673387"/>
                <a:ext cx="635768" cy="634674"/>
              </a:xfrm>
              <a:custGeom>
                <a:avLst/>
                <a:gdLst>
                  <a:gd name="connsiteX0" fmla="*/ 534897 w 1296109"/>
                  <a:gd name="connsiteY0" fmla="*/ 456519 h 1293879"/>
                  <a:gd name="connsiteX1" fmla="*/ 457634 w 1296109"/>
                  <a:gd name="connsiteY1" fmla="*/ 760098 h 1293879"/>
                  <a:gd name="connsiteX2" fmla="*/ 761213 w 1296109"/>
                  <a:gd name="connsiteY2" fmla="*/ 837361 h 1293879"/>
                  <a:gd name="connsiteX3" fmla="*/ 838476 w 1296109"/>
                  <a:gd name="connsiteY3" fmla="*/ 533782 h 1293879"/>
                  <a:gd name="connsiteX4" fmla="*/ 534897 w 1296109"/>
                  <a:gd name="connsiteY4" fmla="*/ 456519 h 1293879"/>
                  <a:gd name="connsiteX5" fmla="*/ 287047 w 1296109"/>
                  <a:gd name="connsiteY5" fmla="*/ 109549 h 1293879"/>
                  <a:gd name="connsiteX6" fmla="*/ 379506 w 1296109"/>
                  <a:gd name="connsiteY6" fmla="*/ 58788 h 1293879"/>
                  <a:gd name="connsiteX7" fmla="*/ 448512 w 1296109"/>
                  <a:gd name="connsiteY7" fmla="*/ 78879 h 1293879"/>
                  <a:gd name="connsiteX8" fmla="*/ 502583 w 1296109"/>
                  <a:gd name="connsiteY8" fmla="*/ 177363 h 1293879"/>
                  <a:gd name="connsiteX9" fmla="*/ 555952 w 1296109"/>
                  <a:gd name="connsiteY9" fmla="*/ 163545 h 1293879"/>
                  <a:gd name="connsiteX10" fmla="*/ 559855 w 1296109"/>
                  <a:gd name="connsiteY10" fmla="*/ 49089 h 1293879"/>
                  <a:gd name="connsiteX11" fmla="*/ 575956 w 1296109"/>
                  <a:gd name="connsiteY11" fmla="*/ 13682 h 1293879"/>
                  <a:gd name="connsiteX12" fmla="*/ 612379 w 1296109"/>
                  <a:gd name="connsiteY12" fmla="*/ 30 h 1293879"/>
                  <a:gd name="connsiteX13" fmla="*/ 717795 w 1296109"/>
                  <a:gd name="connsiteY13" fmla="*/ 3626 h 1293879"/>
                  <a:gd name="connsiteX14" fmla="*/ 766853 w 1296109"/>
                  <a:gd name="connsiteY14" fmla="*/ 56150 h 1293879"/>
                  <a:gd name="connsiteX15" fmla="*/ 763058 w 1296109"/>
                  <a:gd name="connsiteY15" fmla="*/ 167432 h 1293879"/>
                  <a:gd name="connsiteX16" fmla="*/ 778804 w 1296109"/>
                  <a:gd name="connsiteY16" fmla="*/ 170762 h 1293879"/>
                  <a:gd name="connsiteX17" fmla="*/ 824298 w 1296109"/>
                  <a:gd name="connsiteY17" fmla="*/ 65372 h 1293879"/>
                  <a:gd name="connsiteX18" fmla="*/ 891098 w 1296109"/>
                  <a:gd name="connsiteY18" fmla="*/ 38856 h 1293879"/>
                  <a:gd name="connsiteX19" fmla="*/ 987939 w 1296109"/>
                  <a:gd name="connsiteY19" fmla="*/ 80661 h 1293879"/>
                  <a:gd name="connsiteX20" fmla="*/ 1014455 w 1296109"/>
                  <a:gd name="connsiteY20" fmla="*/ 147460 h 1293879"/>
                  <a:gd name="connsiteX21" fmla="*/ 963838 w 1296109"/>
                  <a:gd name="connsiteY21" fmla="*/ 264716 h 1293879"/>
                  <a:gd name="connsiteX22" fmla="*/ 1004698 w 1296109"/>
                  <a:gd name="connsiteY22" fmla="*/ 303260 h 1293879"/>
                  <a:gd name="connsiteX23" fmla="*/ 1096803 w 1296109"/>
                  <a:gd name="connsiteY23" fmla="*/ 236512 h 1293879"/>
                  <a:gd name="connsiteX24" fmla="*/ 1167775 w 1296109"/>
                  <a:gd name="connsiteY24" fmla="*/ 247842 h 1293879"/>
                  <a:gd name="connsiteX25" fmla="*/ 1229669 w 1296109"/>
                  <a:gd name="connsiteY25" fmla="*/ 333252 h 1293879"/>
                  <a:gd name="connsiteX26" fmla="*/ 1218339 w 1296109"/>
                  <a:gd name="connsiteY26" fmla="*/ 404223 h 1293879"/>
                  <a:gd name="connsiteX27" fmla="*/ 1114924 w 1296109"/>
                  <a:gd name="connsiteY27" fmla="*/ 479166 h 1293879"/>
                  <a:gd name="connsiteX28" fmla="*/ 1118015 w 1296109"/>
                  <a:gd name="connsiteY28" fmla="*/ 489983 h 1293879"/>
                  <a:gd name="connsiteX29" fmla="*/ 1128638 w 1296109"/>
                  <a:gd name="connsiteY29" fmla="*/ 522191 h 1293879"/>
                  <a:gd name="connsiteX30" fmla="*/ 1241513 w 1296109"/>
                  <a:gd name="connsiteY30" fmla="*/ 519465 h 1293879"/>
                  <a:gd name="connsiteX31" fmla="*/ 1293546 w 1296109"/>
                  <a:gd name="connsiteY31" fmla="*/ 569042 h 1293879"/>
                  <a:gd name="connsiteX32" fmla="*/ 1296094 w 1296109"/>
                  <a:gd name="connsiteY32" fmla="*/ 674489 h 1293879"/>
                  <a:gd name="connsiteX33" fmla="*/ 1246516 w 1296109"/>
                  <a:gd name="connsiteY33" fmla="*/ 726522 h 1293879"/>
                  <a:gd name="connsiteX34" fmla="*/ 1138094 w 1296109"/>
                  <a:gd name="connsiteY34" fmla="*/ 729141 h 1293879"/>
                  <a:gd name="connsiteX35" fmla="*/ 1133867 w 1296109"/>
                  <a:gd name="connsiteY35" fmla="*/ 744886 h 1293879"/>
                  <a:gd name="connsiteX36" fmla="*/ 1125064 w 1296109"/>
                  <a:gd name="connsiteY36" fmla="*/ 784697 h 1293879"/>
                  <a:gd name="connsiteX37" fmla="*/ 1223492 w 1296109"/>
                  <a:gd name="connsiteY37" fmla="*/ 840017 h 1293879"/>
                  <a:gd name="connsiteX38" fmla="*/ 1242896 w 1296109"/>
                  <a:gd name="connsiteY38" fmla="*/ 909218 h 1293879"/>
                  <a:gd name="connsiteX39" fmla="*/ 1191218 w 1296109"/>
                  <a:gd name="connsiteY39" fmla="*/ 1001169 h 1293879"/>
                  <a:gd name="connsiteX40" fmla="*/ 1122016 w 1296109"/>
                  <a:gd name="connsiteY40" fmla="*/ 1020573 h 1293879"/>
                  <a:gd name="connsiteX41" fmla="*/ 1027471 w 1296109"/>
                  <a:gd name="connsiteY41" fmla="*/ 967436 h 1293879"/>
                  <a:gd name="connsiteX42" fmla="*/ 987438 w 1296109"/>
                  <a:gd name="connsiteY42" fmla="*/ 1006435 h 1293879"/>
                  <a:gd name="connsiteX43" fmla="*/ 1034590 w 1296109"/>
                  <a:gd name="connsiteY43" fmla="*/ 1119587 h 1293879"/>
                  <a:gd name="connsiteX44" fmla="*/ 1007228 w 1296109"/>
                  <a:gd name="connsiteY44" fmla="*/ 1186045 h 1293879"/>
                  <a:gd name="connsiteX45" fmla="*/ 909865 w 1296109"/>
                  <a:gd name="connsiteY45" fmla="*/ 1226616 h 1293879"/>
                  <a:gd name="connsiteX46" fmla="*/ 843407 w 1296109"/>
                  <a:gd name="connsiteY46" fmla="*/ 1199253 h 1293879"/>
                  <a:gd name="connsiteX47" fmla="*/ 808203 w 1296109"/>
                  <a:gd name="connsiteY47" fmla="*/ 1114771 h 1293879"/>
                  <a:gd name="connsiteX48" fmla="*/ 756458 w 1296109"/>
                  <a:gd name="connsiteY48" fmla="*/ 1127741 h 1293879"/>
                  <a:gd name="connsiteX49" fmla="*/ 739030 w 1296109"/>
                  <a:gd name="connsiteY49" fmla="*/ 1250213 h 1293879"/>
                  <a:gd name="connsiteX50" fmla="*/ 681557 w 1296109"/>
                  <a:gd name="connsiteY50" fmla="*/ 1293366 h 1293879"/>
                  <a:gd name="connsiteX51" fmla="*/ 577132 w 1296109"/>
                  <a:gd name="connsiteY51" fmla="*/ 1278505 h 1293879"/>
                  <a:gd name="connsiteX52" fmla="*/ 533979 w 1296109"/>
                  <a:gd name="connsiteY52" fmla="*/ 1221032 h 1293879"/>
                  <a:gd name="connsiteX53" fmla="*/ 547230 w 1296109"/>
                  <a:gd name="connsiteY53" fmla="*/ 1127913 h 1293879"/>
                  <a:gd name="connsiteX54" fmla="*/ 475304 w 1296109"/>
                  <a:gd name="connsiteY54" fmla="*/ 1105535 h 1293879"/>
                  <a:gd name="connsiteX55" fmla="*/ 416016 w 1296109"/>
                  <a:gd name="connsiteY55" fmla="*/ 1196081 h 1293879"/>
                  <a:gd name="connsiteX56" fmla="*/ 345660 w 1296109"/>
                  <a:gd name="connsiteY56" fmla="*/ 1210759 h 1293879"/>
                  <a:gd name="connsiteX57" fmla="*/ 257416 w 1296109"/>
                  <a:gd name="connsiteY57" fmla="*/ 1152979 h 1293879"/>
                  <a:gd name="connsiteX58" fmla="*/ 242738 w 1296109"/>
                  <a:gd name="connsiteY58" fmla="*/ 1082622 h 1293879"/>
                  <a:gd name="connsiteX59" fmla="*/ 302953 w 1296109"/>
                  <a:gd name="connsiteY59" fmla="*/ 990659 h 1293879"/>
                  <a:gd name="connsiteX60" fmla="*/ 298482 w 1296109"/>
                  <a:gd name="connsiteY60" fmla="*/ 985429 h 1293879"/>
                  <a:gd name="connsiteX61" fmla="*/ 266931 w 1296109"/>
                  <a:gd name="connsiteY61" fmla="*/ 951673 h 1293879"/>
                  <a:gd name="connsiteX62" fmla="*/ 168186 w 1296109"/>
                  <a:gd name="connsiteY62" fmla="*/ 999969 h 1293879"/>
                  <a:gd name="connsiteX63" fmla="*/ 100205 w 1296109"/>
                  <a:gd name="connsiteY63" fmla="*/ 976645 h 1293879"/>
                  <a:gd name="connsiteX64" fmla="*/ 53862 w 1296109"/>
                  <a:gd name="connsiteY64" fmla="*/ 881893 h 1293879"/>
                  <a:gd name="connsiteX65" fmla="*/ 77186 w 1296109"/>
                  <a:gd name="connsiteY65" fmla="*/ 813912 h 1293879"/>
                  <a:gd name="connsiteX66" fmla="*/ 175931 w 1296109"/>
                  <a:gd name="connsiteY66" fmla="*/ 765616 h 1293879"/>
                  <a:gd name="connsiteX67" fmla="*/ 171615 w 1296109"/>
                  <a:gd name="connsiteY67" fmla="*/ 740645 h 1293879"/>
                  <a:gd name="connsiteX68" fmla="*/ 60401 w 1296109"/>
                  <a:gd name="connsiteY68" fmla="*/ 747473 h 1293879"/>
                  <a:gd name="connsiteX69" fmla="*/ 6563 w 1296109"/>
                  <a:gd name="connsiteY69" fmla="*/ 699863 h 1293879"/>
                  <a:gd name="connsiteX70" fmla="*/ 97 w 1296109"/>
                  <a:gd name="connsiteY70" fmla="*/ 594583 h 1293879"/>
                  <a:gd name="connsiteX71" fmla="*/ 47708 w 1296109"/>
                  <a:gd name="connsiteY71" fmla="*/ 540745 h 1293879"/>
                  <a:gd name="connsiteX72" fmla="*/ 173063 w 1296109"/>
                  <a:gd name="connsiteY72" fmla="*/ 533049 h 1293879"/>
                  <a:gd name="connsiteX73" fmla="*/ 189336 w 1296109"/>
                  <a:gd name="connsiteY73" fmla="*/ 482867 h 1293879"/>
                  <a:gd name="connsiteX74" fmla="*/ 91651 w 1296109"/>
                  <a:gd name="connsiteY74" fmla="*/ 432648 h 1293879"/>
                  <a:gd name="connsiteX75" fmla="*/ 69690 w 1296109"/>
                  <a:gd name="connsiteY75" fmla="*/ 364215 h 1293879"/>
                  <a:gd name="connsiteX76" fmla="*/ 117915 w 1296109"/>
                  <a:gd name="connsiteY76" fmla="*/ 270407 h 1293879"/>
                  <a:gd name="connsiteX77" fmla="*/ 186348 w 1296109"/>
                  <a:gd name="connsiteY77" fmla="*/ 248446 h 1293879"/>
                  <a:gd name="connsiteX78" fmla="*/ 297575 w 1296109"/>
                  <a:gd name="connsiteY78" fmla="*/ 305628 h 1293879"/>
                  <a:gd name="connsiteX79" fmla="*/ 323036 w 1296109"/>
                  <a:gd name="connsiteY79" fmla="*/ 280699 h 1293879"/>
                  <a:gd name="connsiteX80" fmla="*/ 266956 w 1296109"/>
                  <a:gd name="connsiteY80" fmla="*/ 178555 h 1293879"/>
                  <a:gd name="connsiteX81" fmla="*/ 262709 w 1296109"/>
                  <a:gd name="connsiteY81" fmla="*/ 139892 h 1293879"/>
                  <a:gd name="connsiteX82" fmla="*/ 287047 w 1296109"/>
                  <a:gd name="connsiteY82" fmla="*/ 109549 h 12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96109" h="1293879">
                    <a:moveTo>
                      <a:pt x="534897" y="456519"/>
                    </a:moveTo>
                    <a:cubicBezTo>
                      <a:pt x="429731" y="519014"/>
                      <a:pt x="395139" y="654931"/>
                      <a:pt x="457634" y="760098"/>
                    </a:cubicBezTo>
                    <a:cubicBezTo>
                      <a:pt x="520129" y="865264"/>
                      <a:pt x="656047" y="899856"/>
                      <a:pt x="761213" y="837361"/>
                    </a:cubicBezTo>
                    <a:cubicBezTo>
                      <a:pt x="866380" y="774865"/>
                      <a:pt x="900972" y="638948"/>
                      <a:pt x="838476" y="533782"/>
                    </a:cubicBezTo>
                    <a:cubicBezTo>
                      <a:pt x="775981" y="428615"/>
                      <a:pt x="640063" y="394023"/>
                      <a:pt x="534897" y="456519"/>
                    </a:cubicBezTo>
                    <a:close/>
                    <a:moveTo>
                      <a:pt x="287047" y="109549"/>
                    </a:moveTo>
                    <a:lnTo>
                      <a:pt x="379506" y="58788"/>
                    </a:lnTo>
                    <a:cubicBezTo>
                      <a:pt x="404109" y="45281"/>
                      <a:pt x="435004" y="54275"/>
                      <a:pt x="448512" y="78879"/>
                    </a:cubicBezTo>
                    <a:lnTo>
                      <a:pt x="502583" y="177363"/>
                    </a:lnTo>
                    <a:lnTo>
                      <a:pt x="555952" y="163545"/>
                    </a:lnTo>
                    <a:lnTo>
                      <a:pt x="559855" y="49089"/>
                    </a:lnTo>
                    <a:cubicBezTo>
                      <a:pt x="560334" y="35063"/>
                      <a:pt x="566452" y="22560"/>
                      <a:pt x="575956" y="13682"/>
                    </a:cubicBezTo>
                    <a:cubicBezTo>
                      <a:pt x="585461" y="4804"/>
                      <a:pt x="598353" y="-448"/>
                      <a:pt x="612379" y="30"/>
                    </a:cubicBezTo>
                    <a:lnTo>
                      <a:pt x="717795" y="3626"/>
                    </a:lnTo>
                    <a:cubicBezTo>
                      <a:pt x="745845" y="4583"/>
                      <a:pt x="767810" y="28098"/>
                      <a:pt x="766853" y="56150"/>
                    </a:cubicBezTo>
                    <a:lnTo>
                      <a:pt x="763058" y="167432"/>
                    </a:lnTo>
                    <a:lnTo>
                      <a:pt x="778804" y="170762"/>
                    </a:lnTo>
                    <a:lnTo>
                      <a:pt x="824298" y="65372"/>
                    </a:lnTo>
                    <a:cubicBezTo>
                      <a:pt x="835423" y="39604"/>
                      <a:pt x="865329" y="27732"/>
                      <a:pt x="891098" y="38856"/>
                    </a:cubicBezTo>
                    <a:lnTo>
                      <a:pt x="987939" y="80661"/>
                    </a:lnTo>
                    <a:cubicBezTo>
                      <a:pt x="1013708" y="91785"/>
                      <a:pt x="1025580" y="121692"/>
                      <a:pt x="1014455" y="147460"/>
                    </a:cubicBezTo>
                    <a:lnTo>
                      <a:pt x="963838" y="264716"/>
                    </a:lnTo>
                    <a:lnTo>
                      <a:pt x="1004698" y="303260"/>
                    </a:lnTo>
                    <a:lnTo>
                      <a:pt x="1096803" y="236512"/>
                    </a:lnTo>
                    <a:cubicBezTo>
                      <a:pt x="1119531" y="220043"/>
                      <a:pt x="1151305" y="225115"/>
                      <a:pt x="1167775" y="247842"/>
                    </a:cubicBezTo>
                    <a:lnTo>
                      <a:pt x="1229669" y="333252"/>
                    </a:lnTo>
                    <a:cubicBezTo>
                      <a:pt x="1246139" y="355979"/>
                      <a:pt x="1241067" y="387754"/>
                      <a:pt x="1218339" y="404223"/>
                    </a:cubicBezTo>
                    <a:lnTo>
                      <a:pt x="1114924" y="479166"/>
                    </a:lnTo>
                    <a:lnTo>
                      <a:pt x="1118015" y="489983"/>
                    </a:lnTo>
                    <a:lnTo>
                      <a:pt x="1128638" y="522191"/>
                    </a:lnTo>
                    <a:lnTo>
                      <a:pt x="1241513" y="519465"/>
                    </a:lnTo>
                    <a:cubicBezTo>
                      <a:pt x="1269572" y="518787"/>
                      <a:pt x="1292868" y="540983"/>
                      <a:pt x="1293546" y="569042"/>
                    </a:cubicBezTo>
                    <a:lnTo>
                      <a:pt x="1296094" y="674489"/>
                    </a:lnTo>
                    <a:cubicBezTo>
                      <a:pt x="1296773" y="702548"/>
                      <a:pt x="1274576" y="725844"/>
                      <a:pt x="1246516" y="726522"/>
                    </a:cubicBezTo>
                    <a:lnTo>
                      <a:pt x="1138094" y="729141"/>
                    </a:lnTo>
                    <a:lnTo>
                      <a:pt x="1133867" y="744886"/>
                    </a:lnTo>
                    <a:lnTo>
                      <a:pt x="1125064" y="784697"/>
                    </a:lnTo>
                    <a:lnTo>
                      <a:pt x="1223492" y="840017"/>
                    </a:lnTo>
                    <a:cubicBezTo>
                      <a:pt x="1247959" y="853768"/>
                      <a:pt x="1256647" y="884750"/>
                      <a:pt x="1242896" y="909218"/>
                    </a:cubicBezTo>
                    <a:lnTo>
                      <a:pt x="1191218" y="1001169"/>
                    </a:lnTo>
                    <a:cubicBezTo>
                      <a:pt x="1177467" y="1025637"/>
                      <a:pt x="1146484" y="1034324"/>
                      <a:pt x="1122016" y="1020573"/>
                    </a:cubicBezTo>
                    <a:lnTo>
                      <a:pt x="1027471" y="967436"/>
                    </a:lnTo>
                    <a:lnTo>
                      <a:pt x="987438" y="1006435"/>
                    </a:lnTo>
                    <a:lnTo>
                      <a:pt x="1034590" y="1119587"/>
                    </a:lnTo>
                    <a:cubicBezTo>
                      <a:pt x="1045387" y="1145494"/>
                      <a:pt x="1033136" y="1175248"/>
                      <a:pt x="1007228" y="1186045"/>
                    </a:cubicBezTo>
                    <a:lnTo>
                      <a:pt x="909865" y="1226616"/>
                    </a:lnTo>
                    <a:cubicBezTo>
                      <a:pt x="883957" y="1237411"/>
                      <a:pt x="854202" y="1225160"/>
                      <a:pt x="843407" y="1199253"/>
                    </a:cubicBezTo>
                    <a:lnTo>
                      <a:pt x="808203" y="1114771"/>
                    </a:lnTo>
                    <a:lnTo>
                      <a:pt x="756458" y="1127741"/>
                    </a:lnTo>
                    <a:lnTo>
                      <a:pt x="739030" y="1250213"/>
                    </a:lnTo>
                    <a:cubicBezTo>
                      <a:pt x="735077" y="1278000"/>
                      <a:pt x="709345" y="1297320"/>
                      <a:pt x="681557" y="1293366"/>
                    </a:cubicBezTo>
                    <a:lnTo>
                      <a:pt x="577132" y="1278505"/>
                    </a:lnTo>
                    <a:cubicBezTo>
                      <a:pt x="549345" y="1274550"/>
                      <a:pt x="530024" y="1248818"/>
                      <a:pt x="533979" y="1221032"/>
                    </a:cubicBezTo>
                    <a:lnTo>
                      <a:pt x="547230" y="1127913"/>
                    </a:lnTo>
                    <a:lnTo>
                      <a:pt x="475304" y="1105535"/>
                    </a:lnTo>
                    <a:lnTo>
                      <a:pt x="416016" y="1196081"/>
                    </a:lnTo>
                    <a:cubicBezTo>
                      <a:pt x="400640" y="1219563"/>
                      <a:pt x="369142" y="1226134"/>
                      <a:pt x="345660" y="1210759"/>
                    </a:cubicBezTo>
                    <a:lnTo>
                      <a:pt x="257416" y="1152979"/>
                    </a:lnTo>
                    <a:cubicBezTo>
                      <a:pt x="233934" y="1137603"/>
                      <a:pt x="227362" y="1106105"/>
                      <a:pt x="242738" y="1082622"/>
                    </a:cubicBezTo>
                    <a:lnTo>
                      <a:pt x="302953" y="990659"/>
                    </a:lnTo>
                    <a:lnTo>
                      <a:pt x="298482" y="985429"/>
                    </a:lnTo>
                    <a:lnTo>
                      <a:pt x="266931" y="951673"/>
                    </a:lnTo>
                    <a:lnTo>
                      <a:pt x="168186" y="999969"/>
                    </a:lnTo>
                    <a:cubicBezTo>
                      <a:pt x="142972" y="1012301"/>
                      <a:pt x="112537" y="1001858"/>
                      <a:pt x="100205" y="976645"/>
                    </a:cubicBezTo>
                    <a:lnTo>
                      <a:pt x="53862" y="881893"/>
                    </a:lnTo>
                    <a:cubicBezTo>
                      <a:pt x="41530" y="856679"/>
                      <a:pt x="51972" y="826244"/>
                      <a:pt x="77186" y="813912"/>
                    </a:cubicBezTo>
                    <a:lnTo>
                      <a:pt x="175931" y="765616"/>
                    </a:lnTo>
                    <a:lnTo>
                      <a:pt x="171615" y="740645"/>
                    </a:lnTo>
                    <a:lnTo>
                      <a:pt x="60401" y="747473"/>
                    </a:lnTo>
                    <a:cubicBezTo>
                      <a:pt x="32387" y="749193"/>
                      <a:pt x="8283" y="727878"/>
                      <a:pt x="6563" y="699863"/>
                    </a:cubicBezTo>
                    <a:lnTo>
                      <a:pt x="97" y="594583"/>
                    </a:lnTo>
                    <a:cubicBezTo>
                      <a:pt x="-1622" y="566569"/>
                      <a:pt x="19693" y="542465"/>
                      <a:pt x="47708" y="540745"/>
                    </a:cubicBezTo>
                    <a:lnTo>
                      <a:pt x="173063" y="533049"/>
                    </a:lnTo>
                    <a:lnTo>
                      <a:pt x="189336" y="482867"/>
                    </a:lnTo>
                    <a:lnTo>
                      <a:pt x="91651" y="432648"/>
                    </a:lnTo>
                    <a:cubicBezTo>
                      <a:pt x="66689" y="419815"/>
                      <a:pt x="56857" y="389177"/>
                      <a:pt x="69690" y="364215"/>
                    </a:cubicBezTo>
                    <a:lnTo>
                      <a:pt x="117915" y="270407"/>
                    </a:lnTo>
                    <a:cubicBezTo>
                      <a:pt x="130748" y="245445"/>
                      <a:pt x="161386" y="235613"/>
                      <a:pt x="186348" y="248446"/>
                    </a:cubicBezTo>
                    <a:lnTo>
                      <a:pt x="297575" y="305628"/>
                    </a:lnTo>
                    <a:lnTo>
                      <a:pt x="323036" y="280699"/>
                    </a:lnTo>
                    <a:lnTo>
                      <a:pt x="266956" y="178555"/>
                    </a:lnTo>
                    <a:cubicBezTo>
                      <a:pt x="260202" y="166253"/>
                      <a:pt x="259075" y="152379"/>
                      <a:pt x="262709" y="139892"/>
                    </a:cubicBezTo>
                    <a:cubicBezTo>
                      <a:pt x="266345" y="127404"/>
                      <a:pt x="274745" y="116303"/>
                      <a:pt x="287047" y="109549"/>
                    </a:cubicBezTo>
                    <a:close/>
                  </a:path>
                </a:pathLst>
              </a:custGeom>
              <a:grpFill/>
              <a:ln w="10795" cap="flat" cmpd="sng" algn="ctr">
                <a:noFill/>
                <a:prstDash val="solid"/>
              </a:ln>
              <a:effectLst/>
            </p:spPr>
            <p:txBody>
              <a:bodyPr wrap="square" rtlCol="0" anchor="ctr">
                <a:noAutofit/>
              </a:bodyPr>
              <a:lstStyle/>
              <a:p>
                <a:pPr algn="ctr" defTabSz="914224">
                  <a:defRPr/>
                </a:pPr>
                <a:endParaRPr lang="en-IN" sz="2000" kern="0" err="1">
                  <a:solidFill>
                    <a:srgbClr val="505050"/>
                  </a:solidFill>
                </a:endParaRPr>
              </a:p>
            </p:txBody>
          </p:sp>
          <p:sp>
            <p:nvSpPr>
              <p:cNvPr id="493" name="Freeform 492"/>
              <p:cNvSpPr/>
              <p:nvPr/>
            </p:nvSpPr>
            <p:spPr bwMode="auto">
              <a:xfrm rot="2952883">
                <a:off x="6784327" y="2329492"/>
                <a:ext cx="471427" cy="470617"/>
              </a:xfrm>
              <a:custGeom>
                <a:avLst/>
                <a:gdLst>
                  <a:gd name="connsiteX0" fmla="*/ 534897 w 1296109"/>
                  <a:gd name="connsiteY0" fmla="*/ 456519 h 1293879"/>
                  <a:gd name="connsiteX1" fmla="*/ 457634 w 1296109"/>
                  <a:gd name="connsiteY1" fmla="*/ 760098 h 1293879"/>
                  <a:gd name="connsiteX2" fmla="*/ 761213 w 1296109"/>
                  <a:gd name="connsiteY2" fmla="*/ 837361 h 1293879"/>
                  <a:gd name="connsiteX3" fmla="*/ 838476 w 1296109"/>
                  <a:gd name="connsiteY3" fmla="*/ 533782 h 1293879"/>
                  <a:gd name="connsiteX4" fmla="*/ 534897 w 1296109"/>
                  <a:gd name="connsiteY4" fmla="*/ 456519 h 1293879"/>
                  <a:gd name="connsiteX5" fmla="*/ 287047 w 1296109"/>
                  <a:gd name="connsiteY5" fmla="*/ 109549 h 1293879"/>
                  <a:gd name="connsiteX6" fmla="*/ 379506 w 1296109"/>
                  <a:gd name="connsiteY6" fmla="*/ 58788 h 1293879"/>
                  <a:gd name="connsiteX7" fmla="*/ 448512 w 1296109"/>
                  <a:gd name="connsiteY7" fmla="*/ 78879 h 1293879"/>
                  <a:gd name="connsiteX8" fmla="*/ 502583 w 1296109"/>
                  <a:gd name="connsiteY8" fmla="*/ 177363 h 1293879"/>
                  <a:gd name="connsiteX9" fmla="*/ 555952 w 1296109"/>
                  <a:gd name="connsiteY9" fmla="*/ 163545 h 1293879"/>
                  <a:gd name="connsiteX10" fmla="*/ 559855 w 1296109"/>
                  <a:gd name="connsiteY10" fmla="*/ 49089 h 1293879"/>
                  <a:gd name="connsiteX11" fmla="*/ 575956 w 1296109"/>
                  <a:gd name="connsiteY11" fmla="*/ 13682 h 1293879"/>
                  <a:gd name="connsiteX12" fmla="*/ 612379 w 1296109"/>
                  <a:gd name="connsiteY12" fmla="*/ 30 h 1293879"/>
                  <a:gd name="connsiteX13" fmla="*/ 717795 w 1296109"/>
                  <a:gd name="connsiteY13" fmla="*/ 3626 h 1293879"/>
                  <a:gd name="connsiteX14" fmla="*/ 766853 w 1296109"/>
                  <a:gd name="connsiteY14" fmla="*/ 56150 h 1293879"/>
                  <a:gd name="connsiteX15" fmla="*/ 763058 w 1296109"/>
                  <a:gd name="connsiteY15" fmla="*/ 167432 h 1293879"/>
                  <a:gd name="connsiteX16" fmla="*/ 778804 w 1296109"/>
                  <a:gd name="connsiteY16" fmla="*/ 170762 h 1293879"/>
                  <a:gd name="connsiteX17" fmla="*/ 824298 w 1296109"/>
                  <a:gd name="connsiteY17" fmla="*/ 65372 h 1293879"/>
                  <a:gd name="connsiteX18" fmla="*/ 891098 w 1296109"/>
                  <a:gd name="connsiteY18" fmla="*/ 38856 h 1293879"/>
                  <a:gd name="connsiteX19" fmla="*/ 987939 w 1296109"/>
                  <a:gd name="connsiteY19" fmla="*/ 80661 h 1293879"/>
                  <a:gd name="connsiteX20" fmla="*/ 1014455 w 1296109"/>
                  <a:gd name="connsiteY20" fmla="*/ 147460 h 1293879"/>
                  <a:gd name="connsiteX21" fmla="*/ 963838 w 1296109"/>
                  <a:gd name="connsiteY21" fmla="*/ 264716 h 1293879"/>
                  <a:gd name="connsiteX22" fmla="*/ 1004698 w 1296109"/>
                  <a:gd name="connsiteY22" fmla="*/ 303260 h 1293879"/>
                  <a:gd name="connsiteX23" fmla="*/ 1096803 w 1296109"/>
                  <a:gd name="connsiteY23" fmla="*/ 236512 h 1293879"/>
                  <a:gd name="connsiteX24" fmla="*/ 1167775 w 1296109"/>
                  <a:gd name="connsiteY24" fmla="*/ 247842 h 1293879"/>
                  <a:gd name="connsiteX25" fmla="*/ 1229669 w 1296109"/>
                  <a:gd name="connsiteY25" fmla="*/ 333252 h 1293879"/>
                  <a:gd name="connsiteX26" fmla="*/ 1218339 w 1296109"/>
                  <a:gd name="connsiteY26" fmla="*/ 404223 h 1293879"/>
                  <a:gd name="connsiteX27" fmla="*/ 1114924 w 1296109"/>
                  <a:gd name="connsiteY27" fmla="*/ 479166 h 1293879"/>
                  <a:gd name="connsiteX28" fmla="*/ 1118015 w 1296109"/>
                  <a:gd name="connsiteY28" fmla="*/ 489983 h 1293879"/>
                  <a:gd name="connsiteX29" fmla="*/ 1128638 w 1296109"/>
                  <a:gd name="connsiteY29" fmla="*/ 522191 h 1293879"/>
                  <a:gd name="connsiteX30" fmla="*/ 1241513 w 1296109"/>
                  <a:gd name="connsiteY30" fmla="*/ 519465 h 1293879"/>
                  <a:gd name="connsiteX31" fmla="*/ 1293546 w 1296109"/>
                  <a:gd name="connsiteY31" fmla="*/ 569042 h 1293879"/>
                  <a:gd name="connsiteX32" fmla="*/ 1296094 w 1296109"/>
                  <a:gd name="connsiteY32" fmla="*/ 674489 h 1293879"/>
                  <a:gd name="connsiteX33" fmla="*/ 1246516 w 1296109"/>
                  <a:gd name="connsiteY33" fmla="*/ 726522 h 1293879"/>
                  <a:gd name="connsiteX34" fmla="*/ 1138094 w 1296109"/>
                  <a:gd name="connsiteY34" fmla="*/ 729141 h 1293879"/>
                  <a:gd name="connsiteX35" fmla="*/ 1133867 w 1296109"/>
                  <a:gd name="connsiteY35" fmla="*/ 744886 h 1293879"/>
                  <a:gd name="connsiteX36" fmla="*/ 1125064 w 1296109"/>
                  <a:gd name="connsiteY36" fmla="*/ 784697 h 1293879"/>
                  <a:gd name="connsiteX37" fmla="*/ 1223492 w 1296109"/>
                  <a:gd name="connsiteY37" fmla="*/ 840017 h 1293879"/>
                  <a:gd name="connsiteX38" fmla="*/ 1242896 w 1296109"/>
                  <a:gd name="connsiteY38" fmla="*/ 909218 h 1293879"/>
                  <a:gd name="connsiteX39" fmla="*/ 1191218 w 1296109"/>
                  <a:gd name="connsiteY39" fmla="*/ 1001169 h 1293879"/>
                  <a:gd name="connsiteX40" fmla="*/ 1122016 w 1296109"/>
                  <a:gd name="connsiteY40" fmla="*/ 1020573 h 1293879"/>
                  <a:gd name="connsiteX41" fmla="*/ 1027471 w 1296109"/>
                  <a:gd name="connsiteY41" fmla="*/ 967436 h 1293879"/>
                  <a:gd name="connsiteX42" fmla="*/ 987438 w 1296109"/>
                  <a:gd name="connsiteY42" fmla="*/ 1006435 h 1293879"/>
                  <a:gd name="connsiteX43" fmla="*/ 1034590 w 1296109"/>
                  <a:gd name="connsiteY43" fmla="*/ 1119587 h 1293879"/>
                  <a:gd name="connsiteX44" fmla="*/ 1007228 w 1296109"/>
                  <a:gd name="connsiteY44" fmla="*/ 1186045 h 1293879"/>
                  <a:gd name="connsiteX45" fmla="*/ 909865 w 1296109"/>
                  <a:gd name="connsiteY45" fmla="*/ 1226616 h 1293879"/>
                  <a:gd name="connsiteX46" fmla="*/ 843407 w 1296109"/>
                  <a:gd name="connsiteY46" fmla="*/ 1199253 h 1293879"/>
                  <a:gd name="connsiteX47" fmla="*/ 808203 w 1296109"/>
                  <a:gd name="connsiteY47" fmla="*/ 1114771 h 1293879"/>
                  <a:gd name="connsiteX48" fmla="*/ 756458 w 1296109"/>
                  <a:gd name="connsiteY48" fmla="*/ 1127741 h 1293879"/>
                  <a:gd name="connsiteX49" fmla="*/ 739030 w 1296109"/>
                  <a:gd name="connsiteY49" fmla="*/ 1250213 h 1293879"/>
                  <a:gd name="connsiteX50" fmla="*/ 681557 w 1296109"/>
                  <a:gd name="connsiteY50" fmla="*/ 1293366 h 1293879"/>
                  <a:gd name="connsiteX51" fmla="*/ 577132 w 1296109"/>
                  <a:gd name="connsiteY51" fmla="*/ 1278505 h 1293879"/>
                  <a:gd name="connsiteX52" fmla="*/ 533979 w 1296109"/>
                  <a:gd name="connsiteY52" fmla="*/ 1221032 h 1293879"/>
                  <a:gd name="connsiteX53" fmla="*/ 547230 w 1296109"/>
                  <a:gd name="connsiteY53" fmla="*/ 1127913 h 1293879"/>
                  <a:gd name="connsiteX54" fmla="*/ 475304 w 1296109"/>
                  <a:gd name="connsiteY54" fmla="*/ 1105535 h 1293879"/>
                  <a:gd name="connsiteX55" fmla="*/ 416016 w 1296109"/>
                  <a:gd name="connsiteY55" fmla="*/ 1196081 h 1293879"/>
                  <a:gd name="connsiteX56" fmla="*/ 345660 w 1296109"/>
                  <a:gd name="connsiteY56" fmla="*/ 1210759 h 1293879"/>
                  <a:gd name="connsiteX57" fmla="*/ 257416 w 1296109"/>
                  <a:gd name="connsiteY57" fmla="*/ 1152979 h 1293879"/>
                  <a:gd name="connsiteX58" fmla="*/ 242738 w 1296109"/>
                  <a:gd name="connsiteY58" fmla="*/ 1082622 h 1293879"/>
                  <a:gd name="connsiteX59" fmla="*/ 302953 w 1296109"/>
                  <a:gd name="connsiteY59" fmla="*/ 990659 h 1293879"/>
                  <a:gd name="connsiteX60" fmla="*/ 298482 w 1296109"/>
                  <a:gd name="connsiteY60" fmla="*/ 985429 h 1293879"/>
                  <a:gd name="connsiteX61" fmla="*/ 266931 w 1296109"/>
                  <a:gd name="connsiteY61" fmla="*/ 951673 h 1293879"/>
                  <a:gd name="connsiteX62" fmla="*/ 168186 w 1296109"/>
                  <a:gd name="connsiteY62" fmla="*/ 999969 h 1293879"/>
                  <a:gd name="connsiteX63" fmla="*/ 100205 w 1296109"/>
                  <a:gd name="connsiteY63" fmla="*/ 976645 h 1293879"/>
                  <a:gd name="connsiteX64" fmla="*/ 53862 w 1296109"/>
                  <a:gd name="connsiteY64" fmla="*/ 881893 h 1293879"/>
                  <a:gd name="connsiteX65" fmla="*/ 77186 w 1296109"/>
                  <a:gd name="connsiteY65" fmla="*/ 813912 h 1293879"/>
                  <a:gd name="connsiteX66" fmla="*/ 175931 w 1296109"/>
                  <a:gd name="connsiteY66" fmla="*/ 765616 h 1293879"/>
                  <a:gd name="connsiteX67" fmla="*/ 171615 w 1296109"/>
                  <a:gd name="connsiteY67" fmla="*/ 740645 h 1293879"/>
                  <a:gd name="connsiteX68" fmla="*/ 60401 w 1296109"/>
                  <a:gd name="connsiteY68" fmla="*/ 747473 h 1293879"/>
                  <a:gd name="connsiteX69" fmla="*/ 6563 w 1296109"/>
                  <a:gd name="connsiteY69" fmla="*/ 699863 h 1293879"/>
                  <a:gd name="connsiteX70" fmla="*/ 97 w 1296109"/>
                  <a:gd name="connsiteY70" fmla="*/ 594583 h 1293879"/>
                  <a:gd name="connsiteX71" fmla="*/ 47708 w 1296109"/>
                  <a:gd name="connsiteY71" fmla="*/ 540745 h 1293879"/>
                  <a:gd name="connsiteX72" fmla="*/ 173063 w 1296109"/>
                  <a:gd name="connsiteY72" fmla="*/ 533049 h 1293879"/>
                  <a:gd name="connsiteX73" fmla="*/ 189336 w 1296109"/>
                  <a:gd name="connsiteY73" fmla="*/ 482867 h 1293879"/>
                  <a:gd name="connsiteX74" fmla="*/ 91651 w 1296109"/>
                  <a:gd name="connsiteY74" fmla="*/ 432648 h 1293879"/>
                  <a:gd name="connsiteX75" fmla="*/ 69690 w 1296109"/>
                  <a:gd name="connsiteY75" fmla="*/ 364215 h 1293879"/>
                  <a:gd name="connsiteX76" fmla="*/ 117915 w 1296109"/>
                  <a:gd name="connsiteY76" fmla="*/ 270407 h 1293879"/>
                  <a:gd name="connsiteX77" fmla="*/ 186348 w 1296109"/>
                  <a:gd name="connsiteY77" fmla="*/ 248446 h 1293879"/>
                  <a:gd name="connsiteX78" fmla="*/ 297575 w 1296109"/>
                  <a:gd name="connsiteY78" fmla="*/ 305628 h 1293879"/>
                  <a:gd name="connsiteX79" fmla="*/ 323036 w 1296109"/>
                  <a:gd name="connsiteY79" fmla="*/ 280699 h 1293879"/>
                  <a:gd name="connsiteX80" fmla="*/ 266956 w 1296109"/>
                  <a:gd name="connsiteY80" fmla="*/ 178555 h 1293879"/>
                  <a:gd name="connsiteX81" fmla="*/ 262709 w 1296109"/>
                  <a:gd name="connsiteY81" fmla="*/ 139892 h 1293879"/>
                  <a:gd name="connsiteX82" fmla="*/ 287047 w 1296109"/>
                  <a:gd name="connsiteY82" fmla="*/ 109549 h 12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96109" h="1293879">
                    <a:moveTo>
                      <a:pt x="534897" y="456519"/>
                    </a:moveTo>
                    <a:cubicBezTo>
                      <a:pt x="429731" y="519014"/>
                      <a:pt x="395139" y="654931"/>
                      <a:pt x="457634" y="760098"/>
                    </a:cubicBezTo>
                    <a:cubicBezTo>
                      <a:pt x="520129" y="865264"/>
                      <a:pt x="656047" y="899856"/>
                      <a:pt x="761213" y="837361"/>
                    </a:cubicBezTo>
                    <a:cubicBezTo>
                      <a:pt x="866380" y="774865"/>
                      <a:pt x="900972" y="638948"/>
                      <a:pt x="838476" y="533782"/>
                    </a:cubicBezTo>
                    <a:cubicBezTo>
                      <a:pt x="775981" y="428615"/>
                      <a:pt x="640063" y="394023"/>
                      <a:pt x="534897" y="456519"/>
                    </a:cubicBezTo>
                    <a:close/>
                    <a:moveTo>
                      <a:pt x="287047" y="109549"/>
                    </a:moveTo>
                    <a:lnTo>
                      <a:pt x="379506" y="58788"/>
                    </a:lnTo>
                    <a:cubicBezTo>
                      <a:pt x="404109" y="45281"/>
                      <a:pt x="435004" y="54275"/>
                      <a:pt x="448512" y="78879"/>
                    </a:cubicBezTo>
                    <a:lnTo>
                      <a:pt x="502583" y="177363"/>
                    </a:lnTo>
                    <a:lnTo>
                      <a:pt x="555952" y="163545"/>
                    </a:lnTo>
                    <a:lnTo>
                      <a:pt x="559855" y="49089"/>
                    </a:lnTo>
                    <a:cubicBezTo>
                      <a:pt x="560334" y="35063"/>
                      <a:pt x="566452" y="22560"/>
                      <a:pt x="575956" y="13682"/>
                    </a:cubicBezTo>
                    <a:cubicBezTo>
                      <a:pt x="585461" y="4804"/>
                      <a:pt x="598353" y="-448"/>
                      <a:pt x="612379" y="30"/>
                    </a:cubicBezTo>
                    <a:lnTo>
                      <a:pt x="717795" y="3626"/>
                    </a:lnTo>
                    <a:cubicBezTo>
                      <a:pt x="745845" y="4583"/>
                      <a:pt x="767810" y="28098"/>
                      <a:pt x="766853" y="56150"/>
                    </a:cubicBezTo>
                    <a:lnTo>
                      <a:pt x="763058" y="167432"/>
                    </a:lnTo>
                    <a:lnTo>
                      <a:pt x="778804" y="170762"/>
                    </a:lnTo>
                    <a:lnTo>
                      <a:pt x="824298" y="65372"/>
                    </a:lnTo>
                    <a:cubicBezTo>
                      <a:pt x="835423" y="39604"/>
                      <a:pt x="865329" y="27732"/>
                      <a:pt x="891098" y="38856"/>
                    </a:cubicBezTo>
                    <a:lnTo>
                      <a:pt x="987939" y="80661"/>
                    </a:lnTo>
                    <a:cubicBezTo>
                      <a:pt x="1013708" y="91785"/>
                      <a:pt x="1025580" y="121692"/>
                      <a:pt x="1014455" y="147460"/>
                    </a:cubicBezTo>
                    <a:lnTo>
                      <a:pt x="963838" y="264716"/>
                    </a:lnTo>
                    <a:lnTo>
                      <a:pt x="1004698" y="303260"/>
                    </a:lnTo>
                    <a:lnTo>
                      <a:pt x="1096803" y="236512"/>
                    </a:lnTo>
                    <a:cubicBezTo>
                      <a:pt x="1119531" y="220043"/>
                      <a:pt x="1151305" y="225115"/>
                      <a:pt x="1167775" y="247842"/>
                    </a:cubicBezTo>
                    <a:lnTo>
                      <a:pt x="1229669" y="333252"/>
                    </a:lnTo>
                    <a:cubicBezTo>
                      <a:pt x="1246139" y="355979"/>
                      <a:pt x="1241067" y="387754"/>
                      <a:pt x="1218339" y="404223"/>
                    </a:cubicBezTo>
                    <a:lnTo>
                      <a:pt x="1114924" y="479166"/>
                    </a:lnTo>
                    <a:lnTo>
                      <a:pt x="1118015" y="489983"/>
                    </a:lnTo>
                    <a:lnTo>
                      <a:pt x="1128638" y="522191"/>
                    </a:lnTo>
                    <a:lnTo>
                      <a:pt x="1241513" y="519465"/>
                    </a:lnTo>
                    <a:cubicBezTo>
                      <a:pt x="1269572" y="518787"/>
                      <a:pt x="1292868" y="540983"/>
                      <a:pt x="1293546" y="569042"/>
                    </a:cubicBezTo>
                    <a:lnTo>
                      <a:pt x="1296094" y="674489"/>
                    </a:lnTo>
                    <a:cubicBezTo>
                      <a:pt x="1296773" y="702548"/>
                      <a:pt x="1274576" y="725844"/>
                      <a:pt x="1246516" y="726522"/>
                    </a:cubicBezTo>
                    <a:lnTo>
                      <a:pt x="1138094" y="729141"/>
                    </a:lnTo>
                    <a:lnTo>
                      <a:pt x="1133867" y="744886"/>
                    </a:lnTo>
                    <a:lnTo>
                      <a:pt x="1125064" y="784697"/>
                    </a:lnTo>
                    <a:lnTo>
                      <a:pt x="1223492" y="840017"/>
                    </a:lnTo>
                    <a:cubicBezTo>
                      <a:pt x="1247959" y="853768"/>
                      <a:pt x="1256647" y="884750"/>
                      <a:pt x="1242896" y="909218"/>
                    </a:cubicBezTo>
                    <a:lnTo>
                      <a:pt x="1191218" y="1001169"/>
                    </a:lnTo>
                    <a:cubicBezTo>
                      <a:pt x="1177467" y="1025637"/>
                      <a:pt x="1146484" y="1034324"/>
                      <a:pt x="1122016" y="1020573"/>
                    </a:cubicBezTo>
                    <a:lnTo>
                      <a:pt x="1027471" y="967436"/>
                    </a:lnTo>
                    <a:lnTo>
                      <a:pt x="987438" y="1006435"/>
                    </a:lnTo>
                    <a:lnTo>
                      <a:pt x="1034590" y="1119587"/>
                    </a:lnTo>
                    <a:cubicBezTo>
                      <a:pt x="1045387" y="1145494"/>
                      <a:pt x="1033136" y="1175248"/>
                      <a:pt x="1007228" y="1186045"/>
                    </a:cubicBezTo>
                    <a:lnTo>
                      <a:pt x="909865" y="1226616"/>
                    </a:lnTo>
                    <a:cubicBezTo>
                      <a:pt x="883957" y="1237411"/>
                      <a:pt x="854202" y="1225160"/>
                      <a:pt x="843407" y="1199253"/>
                    </a:cubicBezTo>
                    <a:lnTo>
                      <a:pt x="808203" y="1114771"/>
                    </a:lnTo>
                    <a:lnTo>
                      <a:pt x="756458" y="1127741"/>
                    </a:lnTo>
                    <a:lnTo>
                      <a:pt x="739030" y="1250213"/>
                    </a:lnTo>
                    <a:cubicBezTo>
                      <a:pt x="735077" y="1278000"/>
                      <a:pt x="709345" y="1297320"/>
                      <a:pt x="681557" y="1293366"/>
                    </a:cubicBezTo>
                    <a:lnTo>
                      <a:pt x="577132" y="1278505"/>
                    </a:lnTo>
                    <a:cubicBezTo>
                      <a:pt x="549345" y="1274550"/>
                      <a:pt x="530024" y="1248818"/>
                      <a:pt x="533979" y="1221032"/>
                    </a:cubicBezTo>
                    <a:lnTo>
                      <a:pt x="547230" y="1127913"/>
                    </a:lnTo>
                    <a:lnTo>
                      <a:pt x="475304" y="1105535"/>
                    </a:lnTo>
                    <a:lnTo>
                      <a:pt x="416016" y="1196081"/>
                    </a:lnTo>
                    <a:cubicBezTo>
                      <a:pt x="400640" y="1219563"/>
                      <a:pt x="369142" y="1226134"/>
                      <a:pt x="345660" y="1210759"/>
                    </a:cubicBezTo>
                    <a:lnTo>
                      <a:pt x="257416" y="1152979"/>
                    </a:lnTo>
                    <a:cubicBezTo>
                      <a:pt x="233934" y="1137603"/>
                      <a:pt x="227362" y="1106105"/>
                      <a:pt x="242738" y="1082622"/>
                    </a:cubicBezTo>
                    <a:lnTo>
                      <a:pt x="302953" y="990659"/>
                    </a:lnTo>
                    <a:lnTo>
                      <a:pt x="298482" y="985429"/>
                    </a:lnTo>
                    <a:lnTo>
                      <a:pt x="266931" y="951673"/>
                    </a:lnTo>
                    <a:lnTo>
                      <a:pt x="168186" y="999969"/>
                    </a:lnTo>
                    <a:cubicBezTo>
                      <a:pt x="142972" y="1012301"/>
                      <a:pt x="112537" y="1001858"/>
                      <a:pt x="100205" y="976645"/>
                    </a:cubicBezTo>
                    <a:lnTo>
                      <a:pt x="53862" y="881893"/>
                    </a:lnTo>
                    <a:cubicBezTo>
                      <a:pt x="41530" y="856679"/>
                      <a:pt x="51972" y="826244"/>
                      <a:pt x="77186" y="813912"/>
                    </a:cubicBezTo>
                    <a:lnTo>
                      <a:pt x="175931" y="765616"/>
                    </a:lnTo>
                    <a:lnTo>
                      <a:pt x="171615" y="740645"/>
                    </a:lnTo>
                    <a:lnTo>
                      <a:pt x="60401" y="747473"/>
                    </a:lnTo>
                    <a:cubicBezTo>
                      <a:pt x="32387" y="749193"/>
                      <a:pt x="8283" y="727878"/>
                      <a:pt x="6563" y="699863"/>
                    </a:cubicBezTo>
                    <a:lnTo>
                      <a:pt x="97" y="594583"/>
                    </a:lnTo>
                    <a:cubicBezTo>
                      <a:pt x="-1622" y="566569"/>
                      <a:pt x="19693" y="542465"/>
                      <a:pt x="47708" y="540745"/>
                    </a:cubicBezTo>
                    <a:lnTo>
                      <a:pt x="173063" y="533049"/>
                    </a:lnTo>
                    <a:lnTo>
                      <a:pt x="189336" y="482867"/>
                    </a:lnTo>
                    <a:lnTo>
                      <a:pt x="91651" y="432648"/>
                    </a:lnTo>
                    <a:cubicBezTo>
                      <a:pt x="66689" y="419815"/>
                      <a:pt x="56857" y="389177"/>
                      <a:pt x="69690" y="364215"/>
                    </a:cubicBezTo>
                    <a:lnTo>
                      <a:pt x="117915" y="270407"/>
                    </a:lnTo>
                    <a:cubicBezTo>
                      <a:pt x="130748" y="245445"/>
                      <a:pt x="161386" y="235613"/>
                      <a:pt x="186348" y="248446"/>
                    </a:cubicBezTo>
                    <a:lnTo>
                      <a:pt x="297575" y="305628"/>
                    </a:lnTo>
                    <a:lnTo>
                      <a:pt x="323036" y="280699"/>
                    </a:lnTo>
                    <a:lnTo>
                      <a:pt x="266956" y="178555"/>
                    </a:lnTo>
                    <a:cubicBezTo>
                      <a:pt x="260202" y="166253"/>
                      <a:pt x="259075" y="152379"/>
                      <a:pt x="262709" y="139892"/>
                    </a:cubicBezTo>
                    <a:cubicBezTo>
                      <a:pt x="266345" y="127404"/>
                      <a:pt x="274745" y="116303"/>
                      <a:pt x="287047" y="109549"/>
                    </a:cubicBezTo>
                    <a:close/>
                  </a:path>
                </a:pathLst>
              </a:custGeom>
              <a:grpFill/>
              <a:ln w="10795" cap="flat" cmpd="sng" algn="ctr">
                <a:noFill/>
                <a:prstDash val="solid"/>
              </a:ln>
              <a:effectLst/>
            </p:spPr>
            <p:txBody>
              <a:bodyPr wrap="square" rtlCol="0" anchor="ctr">
                <a:noAutofit/>
              </a:bodyPr>
              <a:lstStyle/>
              <a:p>
                <a:pPr algn="ctr" defTabSz="914224">
                  <a:defRPr/>
                </a:pPr>
                <a:endParaRPr lang="en-IN" sz="2000" kern="0" err="1">
                  <a:solidFill>
                    <a:srgbClr val="505050"/>
                  </a:solidFill>
                </a:endParaRPr>
              </a:p>
            </p:txBody>
          </p:sp>
        </p:grpSp>
        <p:sp>
          <p:nvSpPr>
            <p:cNvPr id="295" name="Freeform 294"/>
            <p:cNvSpPr>
              <a:spLocks/>
            </p:cNvSpPr>
            <p:nvPr/>
          </p:nvSpPr>
          <p:spPr bwMode="auto">
            <a:xfrm>
              <a:off x="9822042" y="6219081"/>
              <a:ext cx="2628638" cy="775445"/>
            </a:xfrm>
            <a:custGeom>
              <a:avLst/>
              <a:gdLst>
                <a:gd name="connsiteX0" fmla="*/ 1908379 w 2628638"/>
                <a:gd name="connsiteY0" fmla="*/ 269 h 775445"/>
                <a:gd name="connsiteX1" fmla="*/ 2528786 w 2628638"/>
                <a:gd name="connsiteY1" fmla="*/ 82138 h 775445"/>
                <a:gd name="connsiteX2" fmla="*/ 2628638 w 2628638"/>
                <a:gd name="connsiteY2" fmla="*/ 113579 h 775445"/>
                <a:gd name="connsiteX3" fmla="*/ 2628638 w 2628638"/>
                <a:gd name="connsiteY3" fmla="*/ 775445 h 775445"/>
                <a:gd name="connsiteX4" fmla="*/ 2522392 w 2628638"/>
                <a:gd name="connsiteY4" fmla="*/ 775445 h 775445"/>
                <a:gd name="connsiteX5" fmla="*/ 0 w 2628638"/>
                <a:gd name="connsiteY5" fmla="*/ 775445 h 775445"/>
                <a:gd name="connsiteX6" fmla="*/ 1287972 w 2628638"/>
                <a:gd name="connsiteY6" fmla="*/ 64437 h 775445"/>
                <a:gd name="connsiteX7" fmla="*/ 1908379 w 2628638"/>
                <a:gd name="connsiteY7" fmla="*/ 269 h 775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8638" h="775445">
                  <a:moveTo>
                    <a:pt x="1908379" y="269"/>
                  </a:moveTo>
                  <a:cubicBezTo>
                    <a:pt x="2116901" y="3219"/>
                    <a:pt x="2325422" y="30509"/>
                    <a:pt x="2528786" y="82138"/>
                  </a:cubicBezTo>
                  <a:lnTo>
                    <a:pt x="2628638" y="113579"/>
                  </a:lnTo>
                  <a:lnTo>
                    <a:pt x="2628638" y="775445"/>
                  </a:lnTo>
                  <a:lnTo>
                    <a:pt x="2522392" y="775445"/>
                  </a:lnTo>
                  <a:cubicBezTo>
                    <a:pt x="2001861" y="775445"/>
                    <a:pt x="1208671" y="775445"/>
                    <a:pt x="0" y="775445"/>
                  </a:cubicBezTo>
                  <a:cubicBezTo>
                    <a:pt x="368413" y="409615"/>
                    <a:pt x="816403" y="173596"/>
                    <a:pt x="1287972" y="64437"/>
                  </a:cubicBezTo>
                  <a:cubicBezTo>
                    <a:pt x="1491336" y="18708"/>
                    <a:pt x="1699858" y="-2681"/>
                    <a:pt x="1908379" y="26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4224">
                <a:defRPr/>
              </a:pPr>
              <a:endParaRPr lang="en-US" sz="1800" kern="0">
                <a:solidFill>
                  <a:srgbClr val="505050"/>
                </a:solidFill>
              </a:endParaRPr>
            </a:p>
          </p:txBody>
        </p:sp>
        <p:sp>
          <p:nvSpPr>
            <p:cNvPr id="296" name="Freeform 17"/>
            <p:cNvSpPr>
              <a:spLocks/>
            </p:cNvSpPr>
            <p:nvPr/>
          </p:nvSpPr>
          <p:spPr bwMode="auto">
            <a:xfrm>
              <a:off x="10024742" y="6578748"/>
              <a:ext cx="1926601" cy="415777"/>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505050"/>
                </a:solidFill>
              </a:endParaRPr>
            </a:p>
          </p:txBody>
        </p:sp>
        <p:sp>
          <p:nvSpPr>
            <p:cNvPr id="297" name="Oval 296"/>
            <p:cNvSpPr/>
            <p:nvPr/>
          </p:nvSpPr>
          <p:spPr bwMode="auto">
            <a:xfrm>
              <a:off x="10248534" y="3452687"/>
              <a:ext cx="186698" cy="186698"/>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98" name="Freeform 5"/>
            <p:cNvSpPr>
              <a:spLocks/>
            </p:cNvSpPr>
            <p:nvPr/>
          </p:nvSpPr>
          <p:spPr bwMode="auto">
            <a:xfrm>
              <a:off x="10659323" y="202712"/>
              <a:ext cx="889391" cy="583663"/>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505050"/>
                </a:solidFill>
              </a:endParaRPr>
            </a:p>
          </p:txBody>
        </p:sp>
        <p:sp>
          <p:nvSpPr>
            <p:cNvPr id="299" name="Freeform 5"/>
            <p:cNvSpPr>
              <a:spLocks/>
            </p:cNvSpPr>
            <p:nvPr/>
          </p:nvSpPr>
          <p:spPr bwMode="auto">
            <a:xfrm>
              <a:off x="10156082" y="73035"/>
              <a:ext cx="889391" cy="583663"/>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505050"/>
                </a:solidFill>
              </a:endParaRPr>
            </a:p>
          </p:txBody>
        </p:sp>
        <p:sp>
          <p:nvSpPr>
            <p:cNvPr id="300" name="Freeform 5"/>
            <p:cNvSpPr>
              <a:spLocks/>
            </p:cNvSpPr>
            <p:nvPr/>
          </p:nvSpPr>
          <p:spPr bwMode="auto">
            <a:xfrm>
              <a:off x="9422958" y="161591"/>
              <a:ext cx="1204169" cy="79023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00BCF2">
                <a:lumMod val="20000"/>
                <a:lumOff val="80000"/>
              </a:srgbClr>
            </a:solidFill>
            <a:ln>
              <a:noFill/>
            </a:ln>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505050"/>
                </a:solidFill>
              </a:endParaRPr>
            </a:p>
          </p:txBody>
        </p:sp>
        <p:sp>
          <p:nvSpPr>
            <p:cNvPr id="301" name="Oval 300"/>
            <p:cNvSpPr/>
            <p:nvPr/>
          </p:nvSpPr>
          <p:spPr bwMode="auto">
            <a:xfrm>
              <a:off x="5156540" y="5147640"/>
              <a:ext cx="724988" cy="724988"/>
            </a:xfrm>
            <a:prstGeom prst="ellipse">
              <a:avLst/>
            </a:prstGeom>
            <a:solidFill>
              <a:srgbClr val="68217A"/>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2" name="Oval 301"/>
            <p:cNvSpPr/>
            <p:nvPr/>
          </p:nvSpPr>
          <p:spPr bwMode="auto">
            <a:xfrm>
              <a:off x="8719035" y="4102136"/>
              <a:ext cx="724988" cy="724988"/>
            </a:xfrm>
            <a:prstGeom prst="ellipse">
              <a:avLst/>
            </a:prstGeom>
            <a:solidFill>
              <a:srgbClr val="00BCF2"/>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3" name="Freeform 302"/>
            <p:cNvSpPr/>
            <p:nvPr/>
          </p:nvSpPr>
          <p:spPr>
            <a:xfrm flipH="1">
              <a:off x="5314375" y="5258780"/>
              <a:ext cx="352458" cy="488151"/>
            </a:xfrm>
            <a:custGeom>
              <a:avLst/>
              <a:gdLst/>
              <a:ahLst/>
              <a:cxnLst/>
              <a:rect l="l" t="t" r="r" b="b"/>
              <a:pathLst>
                <a:path w="4113311" h="5696905">
                  <a:moveTo>
                    <a:pt x="2085555" y="1762876"/>
                  </a:moveTo>
                  <a:cubicBezTo>
                    <a:pt x="2115521" y="1762876"/>
                    <a:pt x="2139813" y="1787167"/>
                    <a:pt x="2139813" y="1817133"/>
                  </a:cubicBezTo>
                  <a:cubicBezTo>
                    <a:pt x="2139813" y="1847098"/>
                    <a:pt x="2115521" y="1871390"/>
                    <a:pt x="2085555" y="1871390"/>
                  </a:cubicBezTo>
                  <a:cubicBezTo>
                    <a:pt x="2055590" y="1871390"/>
                    <a:pt x="2031298" y="1847098"/>
                    <a:pt x="2031298" y="1817133"/>
                  </a:cubicBezTo>
                  <a:cubicBezTo>
                    <a:pt x="2031298" y="1787167"/>
                    <a:pt x="2055590" y="1762876"/>
                    <a:pt x="2085555" y="1762876"/>
                  </a:cubicBezTo>
                  <a:close/>
                  <a:moveTo>
                    <a:pt x="2085555" y="1730434"/>
                  </a:moveTo>
                  <a:cubicBezTo>
                    <a:pt x="2037673" y="1730434"/>
                    <a:pt x="1998857" y="1769250"/>
                    <a:pt x="1998857" y="1817133"/>
                  </a:cubicBezTo>
                  <a:cubicBezTo>
                    <a:pt x="1998857" y="1865015"/>
                    <a:pt x="2037673" y="1903831"/>
                    <a:pt x="2085555" y="1903831"/>
                  </a:cubicBezTo>
                  <a:cubicBezTo>
                    <a:pt x="2133438" y="1903831"/>
                    <a:pt x="2172254" y="1865015"/>
                    <a:pt x="2172254" y="1817133"/>
                  </a:cubicBezTo>
                  <a:cubicBezTo>
                    <a:pt x="2172254" y="1769250"/>
                    <a:pt x="2133438" y="1730434"/>
                    <a:pt x="2085555" y="1730434"/>
                  </a:cubicBezTo>
                  <a:close/>
                  <a:moveTo>
                    <a:pt x="3113460" y="1725072"/>
                  </a:moveTo>
                  <a:cubicBezTo>
                    <a:pt x="3161959" y="1725072"/>
                    <a:pt x="3201276" y="1764388"/>
                    <a:pt x="3201276" y="1812887"/>
                  </a:cubicBezTo>
                  <a:cubicBezTo>
                    <a:pt x="3201276" y="1861386"/>
                    <a:pt x="3161959" y="1900703"/>
                    <a:pt x="3113460" y="1900703"/>
                  </a:cubicBezTo>
                  <a:cubicBezTo>
                    <a:pt x="3064961" y="1900703"/>
                    <a:pt x="3025645" y="1861386"/>
                    <a:pt x="3025645" y="1812887"/>
                  </a:cubicBezTo>
                  <a:cubicBezTo>
                    <a:pt x="3025645" y="1764388"/>
                    <a:pt x="3064961" y="1725072"/>
                    <a:pt x="3113460" y="1725072"/>
                  </a:cubicBezTo>
                  <a:close/>
                  <a:moveTo>
                    <a:pt x="2085555" y="1697344"/>
                  </a:moveTo>
                  <a:cubicBezTo>
                    <a:pt x="2151713" y="1697344"/>
                    <a:pt x="2205344" y="1750975"/>
                    <a:pt x="2205344" y="1817133"/>
                  </a:cubicBezTo>
                  <a:cubicBezTo>
                    <a:pt x="2205344" y="1883290"/>
                    <a:pt x="2151713" y="1936922"/>
                    <a:pt x="2085555" y="1936922"/>
                  </a:cubicBezTo>
                  <a:cubicBezTo>
                    <a:pt x="2019398" y="1936922"/>
                    <a:pt x="1965766" y="1883290"/>
                    <a:pt x="1965766" y="1817133"/>
                  </a:cubicBezTo>
                  <a:cubicBezTo>
                    <a:pt x="1965766" y="1750975"/>
                    <a:pt x="2019398" y="1697344"/>
                    <a:pt x="2085555" y="1697344"/>
                  </a:cubicBezTo>
                  <a:close/>
                  <a:moveTo>
                    <a:pt x="3113460" y="1672565"/>
                  </a:moveTo>
                  <a:cubicBezTo>
                    <a:pt x="3035962" y="1672565"/>
                    <a:pt x="2973138" y="1735389"/>
                    <a:pt x="2973138" y="1812887"/>
                  </a:cubicBezTo>
                  <a:cubicBezTo>
                    <a:pt x="2973138" y="1890385"/>
                    <a:pt x="3035962" y="1953209"/>
                    <a:pt x="3113460" y="1953209"/>
                  </a:cubicBezTo>
                  <a:cubicBezTo>
                    <a:pt x="3190958" y="1953209"/>
                    <a:pt x="3253782" y="1890385"/>
                    <a:pt x="3253782" y="1812887"/>
                  </a:cubicBezTo>
                  <a:cubicBezTo>
                    <a:pt x="3253782" y="1735389"/>
                    <a:pt x="3190958" y="1672565"/>
                    <a:pt x="3113460" y="1672565"/>
                  </a:cubicBezTo>
                  <a:close/>
                  <a:moveTo>
                    <a:pt x="3113460" y="1619008"/>
                  </a:moveTo>
                  <a:cubicBezTo>
                    <a:pt x="3220536" y="1619008"/>
                    <a:pt x="3307339" y="1705811"/>
                    <a:pt x="3307339" y="1812887"/>
                  </a:cubicBezTo>
                  <a:cubicBezTo>
                    <a:pt x="3307339" y="1919963"/>
                    <a:pt x="3220536" y="2006766"/>
                    <a:pt x="3113460" y="2006766"/>
                  </a:cubicBezTo>
                  <a:cubicBezTo>
                    <a:pt x="3006384" y="2006766"/>
                    <a:pt x="2919581" y="1919963"/>
                    <a:pt x="2919581" y="1812887"/>
                  </a:cubicBezTo>
                  <a:cubicBezTo>
                    <a:pt x="2919581" y="1705811"/>
                    <a:pt x="3006384" y="1619008"/>
                    <a:pt x="3113460" y="1619008"/>
                  </a:cubicBezTo>
                  <a:close/>
                  <a:moveTo>
                    <a:pt x="2032094" y="1611528"/>
                  </a:moveTo>
                  <a:cubicBezTo>
                    <a:pt x="2011771" y="1616567"/>
                    <a:pt x="1992743" y="1624869"/>
                    <a:pt x="1975466" y="1635758"/>
                  </a:cubicBezTo>
                  <a:cubicBezTo>
                    <a:pt x="1992885" y="1656424"/>
                    <a:pt x="1991680" y="1687250"/>
                    <a:pt x="1972334" y="1707168"/>
                  </a:cubicBezTo>
                  <a:cubicBezTo>
                    <a:pt x="1953107" y="1726963"/>
                    <a:pt x="1922590" y="1729162"/>
                    <a:pt x="1901460" y="1712647"/>
                  </a:cubicBezTo>
                  <a:cubicBezTo>
                    <a:pt x="1891894" y="1728283"/>
                    <a:pt x="1884959" y="1745550"/>
                    <a:pt x="1880397" y="1763770"/>
                  </a:cubicBezTo>
                  <a:cubicBezTo>
                    <a:pt x="1907202" y="1766530"/>
                    <a:pt x="1927717" y="1789439"/>
                    <a:pt x="1927717" y="1817140"/>
                  </a:cubicBezTo>
                  <a:cubicBezTo>
                    <a:pt x="1927717" y="1845019"/>
                    <a:pt x="1906937" y="1868044"/>
                    <a:pt x="1879895" y="1870611"/>
                  </a:cubicBezTo>
                  <a:cubicBezTo>
                    <a:pt x="1884447" y="1889071"/>
                    <a:pt x="1891687" y="1906474"/>
                    <a:pt x="1901042" y="1922506"/>
                  </a:cubicBezTo>
                  <a:cubicBezTo>
                    <a:pt x="1922187" y="1905467"/>
                    <a:pt x="1953130" y="1907435"/>
                    <a:pt x="1972598" y="1927382"/>
                  </a:cubicBezTo>
                  <a:cubicBezTo>
                    <a:pt x="1991917" y="1947178"/>
                    <a:pt x="1993260" y="1977842"/>
                    <a:pt x="1976073" y="1998533"/>
                  </a:cubicBezTo>
                  <a:cubicBezTo>
                    <a:pt x="1993132" y="2009339"/>
                    <a:pt x="2012079" y="2017264"/>
                    <a:pt x="2032186" y="2022298"/>
                  </a:cubicBezTo>
                  <a:cubicBezTo>
                    <a:pt x="2034946" y="1995493"/>
                    <a:pt x="2057854" y="1974978"/>
                    <a:pt x="2085555" y="1974978"/>
                  </a:cubicBezTo>
                  <a:cubicBezTo>
                    <a:pt x="2113412" y="1974978"/>
                    <a:pt x="2136423" y="1995724"/>
                    <a:pt x="2139014" y="2022737"/>
                  </a:cubicBezTo>
                  <a:cubicBezTo>
                    <a:pt x="2159316" y="2017685"/>
                    <a:pt x="2178319" y="2009355"/>
                    <a:pt x="2195560" y="1998398"/>
                  </a:cubicBezTo>
                  <a:cubicBezTo>
                    <a:pt x="2178231" y="1977740"/>
                    <a:pt x="2179468" y="1946991"/>
                    <a:pt x="2198777" y="1927110"/>
                  </a:cubicBezTo>
                  <a:cubicBezTo>
                    <a:pt x="2218037" y="1907282"/>
                    <a:pt x="2248625" y="1905109"/>
                    <a:pt x="2269765" y="1921706"/>
                  </a:cubicBezTo>
                  <a:cubicBezTo>
                    <a:pt x="2279283" y="1905972"/>
                    <a:pt x="2286570" y="1888821"/>
                    <a:pt x="2291179" y="1870603"/>
                  </a:cubicBezTo>
                  <a:cubicBezTo>
                    <a:pt x="2264154" y="1868021"/>
                    <a:pt x="2243393" y="1845005"/>
                    <a:pt x="2243393" y="1817140"/>
                  </a:cubicBezTo>
                  <a:cubicBezTo>
                    <a:pt x="2243393" y="1789261"/>
                    <a:pt x="2264174" y="1766235"/>
                    <a:pt x="2291216" y="1763668"/>
                  </a:cubicBezTo>
                  <a:cubicBezTo>
                    <a:pt x="2286664" y="1745207"/>
                    <a:pt x="2279423" y="1727804"/>
                    <a:pt x="2270068" y="1711773"/>
                  </a:cubicBezTo>
                  <a:cubicBezTo>
                    <a:pt x="2248923" y="1728812"/>
                    <a:pt x="2217980" y="1726844"/>
                    <a:pt x="2198513" y="1706897"/>
                  </a:cubicBezTo>
                  <a:cubicBezTo>
                    <a:pt x="2179194" y="1687102"/>
                    <a:pt x="2177850" y="1656438"/>
                    <a:pt x="2195037" y="1635747"/>
                  </a:cubicBezTo>
                  <a:cubicBezTo>
                    <a:pt x="2177979" y="1624941"/>
                    <a:pt x="2159032" y="1617016"/>
                    <a:pt x="2138925" y="1611982"/>
                  </a:cubicBezTo>
                  <a:cubicBezTo>
                    <a:pt x="2136165" y="1638787"/>
                    <a:pt x="2113256" y="1659302"/>
                    <a:pt x="2085555" y="1659302"/>
                  </a:cubicBezTo>
                  <a:cubicBezTo>
                    <a:pt x="2057694" y="1659302"/>
                    <a:pt x="2034680" y="1638547"/>
                    <a:pt x="2032094" y="1611528"/>
                  </a:cubicBezTo>
                  <a:close/>
                  <a:moveTo>
                    <a:pt x="2444733" y="1542732"/>
                  </a:moveTo>
                  <a:cubicBezTo>
                    <a:pt x="2474699" y="1542732"/>
                    <a:pt x="2498991" y="1567024"/>
                    <a:pt x="2498991" y="1596989"/>
                  </a:cubicBezTo>
                  <a:cubicBezTo>
                    <a:pt x="2498991" y="1626955"/>
                    <a:pt x="2474699" y="1651247"/>
                    <a:pt x="2444733" y="1651247"/>
                  </a:cubicBezTo>
                  <a:cubicBezTo>
                    <a:pt x="2414768" y="1651247"/>
                    <a:pt x="2390476" y="1626955"/>
                    <a:pt x="2390476" y="1596989"/>
                  </a:cubicBezTo>
                  <a:cubicBezTo>
                    <a:pt x="2390476" y="1567024"/>
                    <a:pt x="2414768" y="1542732"/>
                    <a:pt x="2444733" y="1542732"/>
                  </a:cubicBezTo>
                  <a:close/>
                  <a:moveTo>
                    <a:pt x="2444733" y="1510291"/>
                  </a:moveTo>
                  <a:cubicBezTo>
                    <a:pt x="2396851" y="1510291"/>
                    <a:pt x="2358035" y="1549107"/>
                    <a:pt x="2358035" y="1596989"/>
                  </a:cubicBezTo>
                  <a:cubicBezTo>
                    <a:pt x="2358035" y="1644872"/>
                    <a:pt x="2396851" y="1683688"/>
                    <a:pt x="2444733" y="1683688"/>
                  </a:cubicBezTo>
                  <a:cubicBezTo>
                    <a:pt x="2492616" y="1683688"/>
                    <a:pt x="2531432" y="1644872"/>
                    <a:pt x="2531432" y="1596989"/>
                  </a:cubicBezTo>
                  <a:cubicBezTo>
                    <a:pt x="2531432" y="1549107"/>
                    <a:pt x="2492616" y="1510291"/>
                    <a:pt x="2444733" y="1510291"/>
                  </a:cubicBezTo>
                  <a:close/>
                  <a:moveTo>
                    <a:pt x="3199983" y="1480116"/>
                  </a:moveTo>
                  <a:cubicBezTo>
                    <a:pt x="3195790" y="1523836"/>
                    <a:pt x="3158547" y="1557415"/>
                    <a:pt x="3113460" y="1557415"/>
                  </a:cubicBezTo>
                  <a:cubicBezTo>
                    <a:pt x="3068626" y="1557415"/>
                    <a:pt x="3031549" y="1524211"/>
                    <a:pt x="3027081" y="1480827"/>
                  </a:cubicBezTo>
                  <a:cubicBezTo>
                    <a:pt x="2994538" y="1488974"/>
                    <a:pt x="2963872" y="1501801"/>
                    <a:pt x="2936263" y="1519290"/>
                  </a:cubicBezTo>
                  <a:cubicBezTo>
                    <a:pt x="2964081" y="1552779"/>
                    <a:pt x="2961907" y="1602409"/>
                    <a:pt x="2930638" y="1634449"/>
                  </a:cubicBezTo>
                  <a:cubicBezTo>
                    <a:pt x="2899130" y="1666733"/>
                    <a:pt x="2849048" y="1669918"/>
                    <a:pt x="2814825" y="1642340"/>
                  </a:cubicBezTo>
                  <a:cubicBezTo>
                    <a:pt x="2799685" y="1668288"/>
                    <a:pt x="2787965" y="1696454"/>
                    <a:pt x="2780598" y="1726333"/>
                  </a:cubicBezTo>
                  <a:cubicBezTo>
                    <a:pt x="2824366" y="1730488"/>
                    <a:pt x="2857999" y="1767754"/>
                    <a:pt x="2857999" y="1812876"/>
                  </a:cubicBezTo>
                  <a:cubicBezTo>
                    <a:pt x="2857999" y="1857710"/>
                    <a:pt x="2824795" y="1894788"/>
                    <a:pt x="2781412" y="1899256"/>
                  </a:cubicBezTo>
                  <a:cubicBezTo>
                    <a:pt x="2788794" y="1928744"/>
                    <a:pt x="2800019" y="1956691"/>
                    <a:pt x="2815501" y="1981998"/>
                  </a:cubicBezTo>
                  <a:cubicBezTo>
                    <a:pt x="2849701" y="1955268"/>
                    <a:pt x="2899093" y="1958828"/>
                    <a:pt x="2930211" y="1990865"/>
                  </a:cubicBezTo>
                  <a:cubicBezTo>
                    <a:pt x="2961522" y="2023103"/>
                    <a:pt x="2963473" y="2072994"/>
                    <a:pt x="2935281" y="2106443"/>
                  </a:cubicBezTo>
                  <a:cubicBezTo>
                    <a:pt x="2963243" y="2124067"/>
                    <a:pt x="2994040" y="2137503"/>
                    <a:pt x="3026933" y="2145659"/>
                  </a:cubicBezTo>
                  <a:cubicBezTo>
                    <a:pt x="3031118" y="2101929"/>
                    <a:pt x="3068366" y="2068338"/>
                    <a:pt x="3113460" y="2068338"/>
                  </a:cubicBezTo>
                  <a:cubicBezTo>
                    <a:pt x="3158293" y="2068338"/>
                    <a:pt x="3195372" y="2101541"/>
                    <a:pt x="3199839" y="2144925"/>
                  </a:cubicBezTo>
                  <a:cubicBezTo>
                    <a:pt x="3232382" y="2136777"/>
                    <a:pt x="3263048" y="2123950"/>
                    <a:pt x="3290656" y="2106462"/>
                  </a:cubicBezTo>
                  <a:cubicBezTo>
                    <a:pt x="3262840" y="2072972"/>
                    <a:pt x="3265014" y="2023343"/>
                    <a:pt x="3296282" y="1991304"/>
                  </a:cubicBezTo>
                  <a:cubicBezTo>
                    <a:pt x="3327790" y="1959020"/>
                    <a:pt x="3377871" y="1955835"/>
                    <a:pt x="3412094" y="1983412"/>
                  </a:cubicBezTo>
                  <a:cubicBezTo>
                    <a:pt x="3427236" y="1957466"/>
                    <a:pt x="3438955" y="1929299"/>
                    <a:pt x="3446322" y="1899420"/>
                  </a:cubicBezTo>
                  <a:cubicBezTo>
                    <a:pt x="3402554" y="1895265"/>
                    <a:pt x="3368922" y="1857998"/>
                    <a:pt x="3368922" y="1812876"/>
                  </a:cubicBezTo>
                  <a:cubicBezTo>
                    <a:pt x="3368922" y="1767776"/>
                    <a:pt x="3402522" y="1730524"/>
                    <a:pt x="3446262" y="1726345"/>
                  </a:cubicBezTo>
                  <a:cubicBezTo>
                    <a:pt x="3438803" y="1696859"/>
                    <a:pt x="3427009" y="1669100"/>
                    <a:pt x="3411605" y="1643635"/>
                  </a:cubicBezTo>
                  <a:cubicBezTo>
                    <a:pt x="3377390" y="1670497"/>
                    <a:pt x="3327882" y="1666981"/>
                    <a:pt x="3296711" y="1634888"/>
                  </a:cubicBezTo>
                  <a:cubicBezTo>
                    <a:pt x="3265458" y="1602711"/>
                    <a:pt x="3263456" y="1552945"/>
                    <a:pt x="3291503" y="1519509"/>
                  </a:cubicBezTo>
                  <a:cubicBezTo>
                    <a:pt x="3263599" y="1501775"/>
                    <a:pt x="3232843" y="1488292"/>
                    <a:pt x="3199983" y="1480116"/>
                  </a:cubicBezTo>
                  <a:close/>
                  <a:moveTo>
                    <a:pt x="2444733" y="1477200"/>
                  </a:moveTo>
                  <a:cubicBezTo>
                    <a:pt x="2510891" y="1477200"/>
                    <a:pt x="2564522" y="1530832"/>
                    <a:pt x="2564522" y="1596989"/>
                  </a:cubicBezTo>
                  <a:cubicBezTo>
                    <a:pt x="2564522" y="1663147"/>
                    <a:pt x="2510891" y="1716778"/>
                    <a:pt x="2444733" y="1716778"/>
                  </a:cubicBezTo>
                  <a:cubicBezTo>
                    <a:pt x="2378576" y="1716778"/>
                    <a:pt x="2324944" y="1663147"/>
                    <a:pt x="2324944" y="1596989"/>
                  </a:cubicBezTo>
                  <a:cubicBezTo>
                    <a:pt x="2324944" y="1530832"/>
                    <a:pt x="2378576" y="1477200"/>
                    <a:pt x="2444733" y="1477200"/>
                  </a:cubicBezTo>
                  <a:close/>
                  <a:moveTo>
                    <a:pt x="1387290" y="1469477"/>
                  </a:moveTo>
                  <a:cubicBezTo>
                    <a:pt x="1435789" y="1469477"/>
                    <a:pt x="1475105" y="1508794"/>
                    <a:pt x="1475105" y="1557293"/>
                  </a:cubicBezTo>
                  <a:cubicBezTo>
                    <a:pt x="1475105" y="1605792"/>
                    <a:pt x="1435789" y="1645109"/>
                    <a:pt x="1387290" y="1645109"/>
                  </a:cubicBezTo>
                  <a:cubicBezTo>
                    <a:pt x="1338791" y="1645109"/>
                    <a:pt x="1299474" y="1605792"/>
                    <a:pt x="1299474" y="1557293"/>
                  </a:cubicBezTo>
                  <a:cubicBezTo>
                    <a:pt x="1299474" y="1508794"/>
                    <a:pt x="1338791" y="1469477"/>
                    <a:pt x="1387290" y="1469477"/>
                  </a:cubicBezTo>
                  <a:close/>
                  <a:moveTo>
                    <a:pt x="1387290" y="1416971"/>
                  </a:moveTo>
                  <a:cubicBezTo>
                    <a:pt x="1309792" y="1416971"/>
                    <a:pt x="1246968" y="1479795"/>
                    <a:pt x="1246968" y="1557293"/>
                  </a:cubicBezTo>
                  <a:cubicBezTo>
                    <a:pt x="1246968" y="1634791"/>
                    <a:pt x="1309792" y="1697615"/>
                    <a:pt x="1387290" y="1697615"/>
                  </a:cubicBezTo>
                  <a:cubicBezTo>
                    <a:pt x="1464788" y="1697615"/>
                    <a:pt x="1527612" y="1634791"/>
                    <a:pt x="1527612" y="1557293"/>
                  </a:cubicBezTo>
                  <a:cubicBezTo>
                    <a:pt x="1527612" y="1479795"/>
                    <a:pt x="1464788" y="1416971"/>
                    <a:pt x="1387290" y="1416971"/>
                  </a:cubicBezTo>
                  <a:close/>
                  <a:moveTo>
                    <a:pt x="2498192" y="1391385"/>
                  </a:moveTo>
                  <a:cubicBezTo>
                    <a:pt x="2495601" y="1418398"/>
                    <a:pt x="2472590" y="1439144"/>
                    <a:pt x="2444733" y="1439144"/>
                  </a:cubicBezTo>
                  <a:cubicBezTo>
                    <a:pt x="2417032" y="1439144"/>
                    <a:pt x="2394124" y="1418630"/>
                    <a:pt x="2391364" y="1391824"/>
                  </a:cubicBezTo>
                  <a:cubicBezTo>
                    <a:pt x="2371257" y="1396858"/>
                    <a:pt x="2352310" y="1404783"/>
                    <a:pt x="2335251" y="1415589"/>
                  </a:cubicBezTo>
                  <a:cubicBezTo>
                    <a:pt x="2352438" y="1436280"/>
                    <a:pt x="2351095" y="1466944"/>
                    <a:pt x="2331776" y="1486740"/>
                  </a:cubicBezTo>
                  <a:cubicBezTo>
                    <a:pt x="2312308" y="1506687"/>
                    <a:pt x="2281365" y="1508655"/>
                    <a:pt x="2260220" y="1491616"/>
                  </a:cubicBezTo>
                  <a:cubicBezTo>
                    <a:pt x="2250865" y="1507648"/>
                    <a:pt x="2243625" y="1525051"/>
                    <a:pt x="2239073" y="1543511"/>
                  </a:cubicBezTo>
                  <a:cubicBezTo>
                    <a:pt x="2266115" y="1546079"/>
                    <a:pt x="2286895" y="1569104"/>
                    <a:pt x="2286895" y="1596983"/>
                  </a:cubicBezTo>
                  <a:cubicBezTo>
                    <a:pt x="2286895" y="1624683"/>
                    <a:pt x="2266380" y="1647592"/>
                    <a:pt x="2239575" y="1650353"/>
                  </a:cubicBezTo>
                  <a:cubicBezTo>
                    <a:pt x="2244137" y="1668572"/>
                    <a:pt x="2251072" y="1685839"/>
                    <a:pt x="2260638" y="1701476"/>
                  </a:cubicBezTo>
                  <a:cubicBezTo>
                    <a:pt x="2281768" y="1684960"/>
                    <a:pt x="2312285" y="1687159"/>
                    <a:pt x="2331512" y="1706954"/>
                  </a:cubicBezTo>
                  <a:cubicBezTo>
                    <a:pt x="2350858" y="1726872"/>
                    <a:pt x="2352063" y="1757698"/>
                    <a:pt x="2334644" y="1778364"/>
                  </a:cubicBezTo>
                  <a:cubicBezTo>
                    <a:pt x="2351921" y="1789253"/>
                    <a:pt x="2370949" y="1797555"/>
                    <a:pt x="2391272" y="1802594"/>
                  </a:cubicBezTo>
                  <a:cubicBezTo>
                    <a:pt x="2393858" y="1775575"/>
                    <a:pt x="2416872" y="1754821"/>
                    <a:pt x="2444733" y="1754821"/>
                  </a:cubicBezTo>
                  <a:cubicBezTo>
                    <a:pt x="2472434" y="1754821"/>
                    <a:pt x="2495343" y="1775336"/>
                    <a:pt x="2498103" y="1802140"/>
                  </a:cubicBezTo>
                  <a:cubicBezTo>
                    <a:pt x="2518210" y="1797106"/>
                    <a:pt x="2537157" y="1789181"/>
                    <a:pt x="2554215" y="1778376"/>
                  </a:cubicBezTo>
                  <a:cubicBezTo>
                    <a:pt x="2537028" y="1757684"/>
                    <a:pt x="2538372" y="1727021"/>
                    <a:pt x="2557691" y="1707225"/>
                  </a:cubicBezTo>
                  <a:cubicBezTo>
                    <a:pt x="2577158" y="1687278"/>
                    <a:pt x="2608101" y="1685310"/>
                    <a:pt x="2629246" y="1702349"/>
                  </a:cubicBezTo>
                  <a:cubicBezTo>
                    <a:pt x="2638601" y="1686318"/>
                    <a:pt x="2645842" y="1668915"/>
                    <a:pt x="2650394" y="1650454"/>
                  </a:cubicBezTo>
                  <a:cubicBezTo>
                    <a:pt x="2623352" y="1647887"/>
                    <a:pt x="2602571" y="1624862"/>
                    <a:pt x="2602571" y="1596983"/>
                  </a:cubicBezTo>
                  <a:cubicBezTo>
                    <a:pt x="2602571" y="1569117"/>
                    <a:pt x="2623332" y="1546101"/>
                    <a:pt x="2650357" y="1543519"/>
                  </a:cubicBezTo>
                  <a:cubicBezTo>
                    <a:pt x="2645748" y="1525301"/>
                    <a:pt x="2638461" y="1508150"/>
                    <a:pt x="2628943" y="1492416"/>
                  </a:cubicBezTo>
                  <a:cubicBezTo>
                    <a:pt x="2607803" y="1509013"/>
                    <a:pt x="2577215" y="1506840"/>
                    <a:pt x="2557955" y="1487012"/>
                  </a:cubicBezTo>
                  <a:cubicBezTo>
                    <a:pt x="2538646" y="1467131"/>
                    <a:pt x="2537409" y="1436383"/>
                    <a:pt x="2554738" y="1415724"/>
                  </a:cubicBezTo>
                  <a:cubicBezTo>
                    <a:pt x="2537497" y="1404767"/>
                    <a:pt x="2518494" y="1396437"/>
                    <a:pt x="2498192" y="1391385"/>
                  </a:cubicBezTo>
                  <a:close/>
                  <a:moveTo>
                    <a:pt x="1387290" y="1363414"/>
                  </a:moveTo>
                  <a:cubicBezTo>
                    <a:pt x="1494366" y="1363414"/>
                    <a:pt x="1581169" y="1450217"/>
                    <a:pt x="1581169" y="1557293"/>
                  </a:cubicBezTo>
                  <a:cubicBezTo>
                    <a:pt x="1581169" y="1664369"/>
                    <a:pt x="1494366" y="1751172"/>
                    <a:pt x="1387290" y="1751172"/>
                  </a:cubicBezTo>
                  <a:cubicBezTo>
                    <a:pt x="1280214" y="1751172"/>
                    <a:pt x="1193411" y="1664369"/>
                    <a:pt x="1193411" y="1557293"/>
                  </a:cubicBezTo>
                  <a:cubicBezTo>
                    <a:pt x="1193411" y="1450217"/>
                    <a:pt x="1280214" y="1363414"/>
                    <a:pt x="1387290" y="1363414"/>
                  </a:cubicBezTo>
                  <a:close/>
                  <a:moveTo>
                    <a:pt x="2767883" y="1332598"/>
                  </a:moveTo>
                  <a:cubicBezTo>
                    <a:pt x="2797849" y="1332598"/>
                    <a:pt x="2822141" y="1356890"/>
                    <a:pt x="2822141" y="1386855"/>
                  </a:cubicBezTo>
                  <a:cubicBezTo>
                    <a:pt x="2822141" y="1416821"/>
                    <a:pt x="2797849" y="1441112"/>
                    <a:pt x="2767883" y="1441112"/>
                  </a:cubicBezTo>
                  <a:cubicBezTo>
                    <a:pt x="2737918" y="1441112"/>
                    <a:pt x="2713626" y="1416821"/>
                    <a:pt x="2713626" y="1386855"/>
                  </a:cubicBezTo>
                  <a:cubicBezTo>
                    <a:pt x="2713626" y="1356890"/>
                    <a:pt x="2737918" y="1332598"/>
                    <a:pt x="2767883" y="1332598"/>
                  </a:cubicBezTo>
                  <a:close/>
                  <a:moveTo>
                    <a:pt x="2085555" y="1315504"/>
                  </a:moveTo>
                  <a:cubicBezTo>
                    <a:pt x="2115521" y="1315504"/>
                    <a:pt x="2139813" y="1339796"/>
                    <a:pt x="2139813" y="1369762"/>
                  </a:cubicBezTo>
                  <a:cubicBezTo>
                    <a:pt x="2139813" y="1399727"/>
                    <a:pt x="2115521" y="1424019"/>
                    <a:pt x="2085555" y="1424019"/>
                  </a:cubicBezTo>
                  <a:cubicBezTo>
                    <a:pt x="2055590" y="1424019"/>
                    <a:pt x="2031298" y="1399727"/>
                    <a:pt x="2031298" y="1369762"/>
                  </a:cubicBezTo>
                  <a:cubicBezTo>
                    <a:pt x="2031298" y="1339796"/>
                    <a:pt x="2055590" y="1315504"/>
                    <a:pt x="2085555" y="1315504"/>
                  </a:cubicBezTo>
                  <a:close/>
                  <a:moveTo>
                    <a:pt x="2767883" y="1300157"/>
                  </a:moveTo>
                  <a:cubicBezTo>
                    <a:pt x="2720001" y="1300157"/>
                    <a:pt x="2681185" y="1338973"/>
                    <a:pt x="2681185" y="1386855"/>
                  </a:cubicBezTo>
                  <a:cubicBezTo>
                    <a:pt x="2681185" y="1434738"/>
                    <a:pt x="2720001" y="1473554"/>
                    <a:pt x="2767883" y="1473554"/>
                  </a:cubicBezTo>
                  <a:cubicBezTo>
                    <a:pt x="2815766" y="1473554"/>
                    <a:pt x="2854582" y="1434738"/>
                    <a:pt x="2854582" y="1386855"/>
                  </a:cubicBezTo>
                  <a:cubicBezTo>
                    <a:pt x="2854582" y="1338973"/>
                    <a:pt x="2815766" y="1300157"/>
                    <a:pt x="2767883" y="1300157"/>
                  </a:cubicBezTo>
                  <a:close/>
                  <a:moveTo>
                    <a:pt x="2085555" y="1283063"/>
                  </a:moveTo>
                  <a:cubicBezTo>
                    <a:pt x="2037673" y="1283063"/>
                    <a:pt x="1998857" y="1321879"/>
                    <a:pt x="1998857" y="1369762"/>
                  </a:cubicBezTo>
                  <a:cubicBezTo>
                    <a:pt x="1998857" y="1417644"/>
                    <a:pt x="2037673" y="1456460"/>
                    <a:pt x="2085555" y="1456460"/>
                  </a:cubicBezTo>
                  <a:cubicBezTo>
                    <a:pt x="2133438" y="1456460"/>
                    <a:pt x="2172254" y="1417644"/>
                    <a:pt x="2172254" y="1369762"/>
                  </a:cubicBezTo>
                  <a:cubicBezTo>
                    <a:pt x="2172254" y="1321879"/>
                    <a:pt x="2133438" y="1283063"/>
                    <a:pt x="2085555" y="1283063"/>
                  </a:cubicBezTo>
                  <a:close/>
                  <a:moveTo>
                    <a:pt x="2767883" y="1267066"/>
                  </a:moveTo>
                  <a:cubicBezTo>
                    <a:pt x="2834041" y="1267066"/>
                    <a:pt x="2887673" y="1320698"/>
                    <a:pt x="2887673" y="1386855"/>
                  </a:cubicBezTo>
                  <a:cubicBezTo>
                    <a:pt x="2887673" y="1453013"/>
                    <a:pt x="2834041" y="1506644"/>
                    <a:pt x="2767883" y="1506644"/>
                  </a:cubicBezTo>
                  <a:cubicBezTo>
                    <a:pt x="2701726" y="1506644"/>
                    <a:pt x="2648094" y="1453013"/>
                    <a:pt x="2648094" y="1386855"/>
                  </a:cubicBezTo>
                  <a:cubicBezTo>
                    <a:pt x="2648094" y="1320698"/>
                    <a:pt x="2701726" y="1267066"/>
                    <a:pt x="2767883" y="1267066"/>
                  </a:cubicBezTo>
                  <a:close/>
                  <a:moveTo>
                    <a:pt x="2085555" y="1249973"/>
                  </a:moveTo>
                  <a:cubicBezTo>
                    <a:pt x="2151713" y="1249973"/>
                    <a:pt x="2205344" y="1303604"/>
                    <a:pt x="2205344" y="1369762"/>
                  </a:cubicBezTo>
                  <a:cubicBezTo>
                    <a:pt x="2205344" y="1435919"/>
                    <a:pt x="2151713" y="1489551"/>
                    <a:pt x="2085555" y="1489551"/>
                  </a:cubicBezTo>
                  <a:cubicBezTo>
                    <a:pt x="2019398" y="1489551"/>
                    <a:pt x="1965766" y="1435919"/>
                    <a:pt x="1965766" y="1369762"/>
                  </a:cubicBezTo>
                  <a:cubicBezTo>
                    <a:pt x="1965766" y="1303604"/>
                    <a:pt x="2019398" y="1249973"/>
                    <a:pt x="2085555" y="1249973"/>
                  </a:cubicBezTo>
                  <a:close/>
                  <a:moveTo>
                    <a:pt x="1300767" y="1224522"/>
                  </a:moveTo>
                  <a:cubicBezTo>
                    <a:pt x="1267907" y="1232698"/>
                    <a:pt x="1237151" y="1246181"/>
                    <a:pt x="1209247" y="1263915"/>
                  </a:cubicBezTo>
                  <a:cubicBezTo>
                    <a:pt x="1237294" y="1297350"/>
                    <a:pt x="1235292" y="1347117"/>
                    <a:pt x="1204039" y="1379294"/>
                  </a:cubicBezTo>
                  <a:cubicBezTo>
                    <a:pt x="1172868" y="1411387"/>
                    <a:pt x="1123360" y="1414903"/>
                    <a:pt x="1089145" y="1388041"/>
                  </a:cubicBezTo>
                  <a:cubicBezTo>
                    <a:pt x="1073741" y="1413506"/>
                    <a:pt x="1061947" y="1441265"/>
                    <a:pt x="1054488" y="1470751"/>
                  </a:cubicBezTo>
                  <a:cubicBezTo>
                    <a:pt x="1098228" y="1474930"/>
                    <a:pt x="1131828" y="1512182"/>
                    <a:pt x="1131828" y="1557282"/>
                  </a:cubicBezTo>
                  <a:cubicBezTo>
                    <a:pt x="1131828" y="1602404"/>
                    <a:pt x="1098196" y="1639671"/>
                    <a:pt x="1054428" y="1643826"/>
                  </a:cubicBezTo>
                  <a:cubicBezTo>
                    <a:pt x="1061795" y="1673705"/>
                    <a:pt x="1073514" y="1701872"/>
                    <a:pt x="1088656" y="1727818"/>
                  </a:cubicBezTo>
                  <a:cubicBezTo>
                    <a:pt x="1122879" y="1700241"/>
                    <a:pt x="1172960" y="1703426"/>
                    <a:pt x="1204468" y="1735710"/>
                  </a:cubicBezTo>
                  <a:cubicBezTo>
                    <a:pt x="1235736" y="1767749"/>
                    <a:pt x="1237910" y="1817378"/>
                    <a:pt x="1210094" y="1850868"/>
                  </a:cubicBezTo>
                  <a:cubicBezTo>
                    <a:pt x="1237702" y="1868356"/>
                    <a:pt x="1268368" y="1881183"/>
                    <a:pt x="1300911" y="1889331"/>
                  </a:cubicBezTo>
                  <a:cubicBezTo>
                    <a:pt x="1305378" y="1845947"/>
                    <a:pt x="1342457" y="1812744"/>
                    <a:pt x="1387290" y="1812744"/>
                  </a:cubicBezTo>
                  <a:cubicBezTo>
                    <a:pt x="1432384" y="1812744"/>
                    <a:pt x="1469632" y="1846335"/>
                    <a:pt x="1473817" y="1890065"/>
                  </a:cubicBezTo>
                  <a:cubicBezTo>
                    <a:pt x="1506710" y="1881909"/>
                    <a:pt x="1537507" y="1868473"/>
                    <a:pt x="1565469" y="1850849"/>
                  </a:cubicBezTo>
                  <a:cubicBezTo>
                    <a:pt x="1537277" y="1817400"/>
                    <a:pt x="1539228" y="1767509"/>
                    <a:pt x="1570539" y="1735271"/>
                  </a:cubicBezTo>
                  <a:cubicBezTo>
                    <a:pt x="1601657" y="1703234"/>
                    <a:pt x="1651049" y="1699674"/>
                    <a:pt x="1685249" y="1726404"/>
                  </a:cubicBezTo>
                  <a:cubicBezTo>
                    <a:pt x="1700731" y="1701097"/>
                    <a:pt x="1711956" y="1673150"/>
                    <a:pt x="1719338" y="1643662"/>
                  </a:cubicBezTo>
                  <a:cubicBezTo>
                    <a:pt x="1675955" y="1639194"/>
                    <a:pt x="1642751" y="1602116"/>
                    <a:pt x="1642751" y="1557282"/>
                  </a:cubicBezTo>
                  <a:cubicBezTo>
                    <a:pt x="1642751" y="1512160"/>
                    <a:pt x="1676384" y="1474894"/>
                    <a:pt x="1720152" y="1470739"/>
                  </a:cubicBezTo>
                  <a:cubicBezTo>
                    <a:pt x="1712785" y="1440860"/>
                    <a:pt x="1701065" y="1412693"/>
                    <a:pt x="1685925" y="1386746"/>
                  </a:cubicBezTo>
                  <a:cubicBezTo>
                    <a:pt x="1651702" y="1414324"/>
                    <a:pt x="1601620" y="1411139"/>
                    <a:pt x="1570112" y="1378855"/>
                  </a:cubicBezTo>
                  <a:cubicBezTo>
                    <a:pt x="1538843" y="1346815"/>
                    <a:pt x="1536669" y="1297185"/>
                    <a:pt x="1564487" y="1263696"/>
                  </a:cubicBezTo>
                  <a:cubicBezTo>
                    <a:pt x="1536878" y="1246207"/>
                    <a:pt x="1506212" y="1233380"/>
                    <a:pt x="1473669" y="1225233"/>
                  </a:cubicBezTo>
                  <a:cubicBezTo>
                    <a:pt x="1469201" y="1268617"/>
                    <a:pt x="1432124" y="1301821"/>
                    <a:pt x="1387290" y="1301821"/>
                  </a:cubicBezTo>
                  <a:cubicBezTo>
                    <a:pt x="1342203" y="1301821"/>
                    <a:pt x="1304960" y="1268242"/>
                    <a:pt x="1300767" y="1224522"/>
                  </a:cubicBezTo>
                  <a:close/>
                  <a:moveTo>
                    <a:pt x="2821343" y="1181251"/>
                  </a:moveTo>
                  <a:cubicBezTo>
                    <a:pt x="2818751" y="1208264"/>
                    <a:pt x="2795741" y="1229010"/>
                    <a:pt x="2767883" y="1229010"/>
                  </a:cubicBezTo>
                  <a:cubicBezTo>
                    <a:pt x="2740182" y="1229010"/>
                    <a:pt x="2717274" y="1208495"/>
                    <a:pt x="2714514" y="1181690"/>
                  </a:cubicBezTo>
                  <a:cubicBezTo>
                    <a:pt x="2694407" y="1186724"/>
                    <a:pt x="2675460" y="1194649"/>
                    <a:pt x="2658401" y="1205455"/>
                  </a:cubicBezTo>
                  <a:cubicBezTo>
                    <a:pt x="2675588" y="1226146"/>
                    <a:pt x="2674245" y="1256810"/>
                    <a:pt x="2654926" y="1276606"/>
                  </a:cubicBezTo>
                  <a:cubicBezTo>
                    <a:pt x="2635458" y="1296553"/>
                    <a:pt x="2604515" y="1298521"/>
                    <a:pt x="2583370" y="1281482"/>
                  </a:cubicBezTo>
                  <a:cubicBezTo>
                    <a:pt x="2574015" y="1297514"/>
                    <a:pt x="2566775" y="1314917"/>
                    <a:pt x="2562223" y="1333377"/>
                  </a:cubicBezTo>
                  <a:cubicBezTo>
                    <a:pt x="2589265" y="1335945"/>
                    <a:pt x="2610045" y="1358969"/>
                    <a:pt x="2610045" y="1386848"/>
                  </a:cubicBezTo>
                  <a:cubicBezTo>
                    <a:pt x="2610045" y="1414549"/>
                    <a:pt x="2589530" y="1437458"/>
                    <a:pt x="2562725" y="1440219"/>
                  </a:cubicBezTo>
                  <a:cubicBezTo>
                    <a:pt x="2567287" y="1458438"/>
                    <a:pt x="2574222" y="1475705"/>
                    <a:pt x="2583788" y="1491342"/>
                  </a:cubicBezTo>
                  <a:cubicBezTo>
                    <a:pt x="2604918" y="1474826"/>
                    <a:pt x="2635435" y="1477025"/>
                    <a:pt x="2654662" y="1496820"/>
                  </a:cubicBezTo>
                  <a:cubicBezTo>
                    <a:pt x="2674008" y="1516738"/>
                    <a:pt x="2675213" y="1547564"/>
                    <a:pt x="2657794" y="1568230"/>
                  </a:cubicBezTo>
                  <a:cubicBezTo>
                    <a:pt x="2675071" y="1579119"/>
                    <a:pt x="2694099" y="1587421"/>
                    <a:pt x="2714422" y="1592460"/>
                  </a:cubicBezTo>
                  <a:cubicBezTo>
                    <a:pt x="2717008" y="1565441"/>
                    <a:pt x="2740022" y="1544687"/>
                    <a:pt x="2767883" y="1544687"/>
                  </a:cubicBezTo>
                  <a:cubicBezTo>
                    <a:pt x="2795584" y="1544687"/>
                    <a:pt x="2818493" y="1565202"/>
                    <a:pt x="2821253" y="1592006"/>
                  </a:cubicBezTo>
                  <a:cubicBezTo>
                    <a:pt x="2841360" y="1586972"/>
                    <a:pt x="2860307" y="1579047"/>
                    <a:pt x="2877365" y="1568242"/>
                  </a:cubicBezTo>
                  <a:cubicBezTo>
                    <a:pt x="2860179" y="1547550"/>
                    <a:pt x="2861522" y="1516887"/>
                    <a:pt x="2880841" y="1497091"/>
                  </a:cubicBezTo>
                  <a:cubicBezTo>
                    <a:pt x="2900309" y="1477144"/>
                    <a:pt x="2931252" y="1475176"/>
                    <a:pt x="2952396" y="1492215"/>
                  </a:cubicBezTo>
                  <a:cubicBezTo>
                    <a:pt x="2961751" y="1476184"/>
                    <a:pt x="2968992" y="1458781"/>
                    <a:pt x="2973544" y="1440320"/>
                  </a:cubicBezTo>
                  <a:cubicBezTo>
                    <a:pt x="2946502" y="1437753"/>
                    <a:pt x="2925722" y="1414727"/>
                    <a:pt x="2925722" y="1386848"/>
                  </a:cubicBezTo>
                  <a:cubicBezTo>
                    <a:pt x="2925722" y="1358983"/>
                    <a:pt x="2946482" y="1335967"/>
                    <a:pt x="2973507" y="1333385"/>
                  </a:cubicBezTo>
                  <a:cubicBezTo>
                    <a:pt x="2968899" y="1315167"/>
                    <a:pt x="2961612" y="1298016"/>
                    <a:pt x="2952094" y="1282282"/>
                  </a:cubicBezTo>
                  <a:cubicBezTo>
                    <a:pt x="2930954" y="1298879"/>
                    <a:pt x="2900365" y="1296706"/>
                    <a:pt x="2881106" y="1276878"/>
                  </a:cubicBezTo>
                  <a:cubicBezTo>
                    <a:pt x="2861796" y="1256997"/>
                    <a:pt x="2860559" y="1226248"/>
                    <a:pt x="2877889" y="1205590"/>
                  </a:cubicBezTo>
                  <a:cubicBezTo>
                    <a:pt x="2860647" y="1194633"/>
                    <a:pt x="2841645" y="1186303"/>
                    <a:pt x="2821343" y="1181251"/>
                  </a:cubicBezTo>
                  <a:close/>
                  <a:moveTo>
                    <a:pt x="2032094" y="1164157"/>
                  </a:moveTo>
                  <a:cubicBezTo>
                    <a:pt x="2011771" y="1169196"/>
                    <a:pt x="1992743" y="1177498"/>
                    <a:pt x="1975466" y="1188387"/>
                  </a:cubicBezTo>
                  <a:cubicBezTo>
                    <a:pt x="1992885" y="1209053"/>
                    <a:pt x="1991680" y="1239879"/>
                    <a:pt x="1972334" y="1259797"/>
                  </a:cubicBezTo>
                  <a:cubicBezTo>
                    <a:pt x="1953107" y="1279592"/>
                    <a:pt x="1922590" y="1281791"/>
                    <a:pt x="1901460" y="1265275"/>
                  </a:cubicBezTo>
                  <a:cubicBezTo>
                    <a:pt x="1891894" y="1280912"/>
                    <a:pt x="1884959" y="1298179"/>
                    <a:pt x="1880397" y="1316398"/>
                  </a:cubicBezTo>
                  <a:cubicBezTo>
                    <a:pt x="1907202" y="1319159"/>
                    <a:pt x="1927717" y="1342068"/>
                    <a:pt x="1927717" y="1369768"/>
                  </a:cubicBezTo>
                  <a:cubicBezTo>
                    <a:pt x="1927717" y="1397647"/>
                    <a:pt x="1906937" y="1420672"/>
                    <a:pt x="1879895" y="1423240"/>
                  </a:cubicBezTo>
                  <a:cubicBezTo>
                    <a:pt x="1884447" y="1441700"/>
                    <a:pt x="1891687" y="1459103"/>
                    <a:pt x="1901042" y="1475135"/>
                  </a:cubicBezTo>
                  <a:cubicBezTo>
                    <a:pt x="1922187" y="1458096"/>
                    <a:pt x="1953130" y="1460064"/>
                    <a:pt x="1972598" y="1480011"/>
                  </a:cubicBezTo>
                  <a:cubicBezTo>
                    <a:pt x="1991917" y="1499807"/>
                    <a:pt x="1993260" y="1530471"/>
                    <a:pt x="1976073" y="1551162"/>
                  </a:cubicBezTo>
                  <a:cubicBezTo>
                    <a:pt x="1993132" y="1561968"/>
                    <a:pt x="2012079" y="1569893"/>
                    <a:pt x="2032186" y="1574927"/>
                  </a:cubicBezTo>
                  <a:cubicBezTo>
                    <a:pt x="2034946" y="1548122"/>
                    <a:pt x="2057854" y="1527607"/>
                    <a:pt x="2085555" y="1527607"/>
                  </a:cubicBezTo>
                  <a:cubicBezTo>
                    <a:pt x="2113412" y="1527607"/>
                    <a:pt x="2136423" y="1548353"/>
                    <a:pt x="2139014" y="1575366"/>
                  </a:cubicBezTo>
                  <a:cubicBezTo>
                    <a:pt x="2159316" y="1570314"/>
                    <a:pt x="2178319" y="1561984"/>
                    <a:pt x="2195560" y="1551027"/>
                  </a:cubicBezTo>
                  <a:cubicBezTo>
                    <a:pt x="2178231" y="1530369"/>
                    <a:pt x="2179468" y="1499620"/>
                    <a:pt x="2198777" y="1479739"/>
                  </a:cubicBezTo>
                  <a:cubicBezTo>
                    <a:pt x="2218037" y="1459911"/>
                    <a:pt x="2248625" y="1457738"/>
                    <a:pt x="2269765" y="1474335"/>
                  </a:cubicBezTo>
                  <a:cubicBezTo>
                    <a:pt x="2279283" y="1458601"/>
                    <a:pt x="2286570" y="1441450"/>
                    <a:pt x="2291179" y="1423232"/>
                  </a:cubicBezTo>
                  <a:cubicBezTo>
                    <a:pt x="2264154" y="1420650"/>
                    <a:pt x="2243393" y="1397634"/>
                    <a:pt x="2243393" y="1369768"/>
                  </a:cubicBezTo>
                  <a:cubicBezTo>
                    <a:pt x="2243393" y="1341890"/>
                    <a:pt x="2264174" y="1318864"/>
                    <a:pt x="2291216" y="1316297"/>
                  </a:cubicBezTo>
                  <a:cubicBezTo>
                    <a:pt x="2286664" y="1297836"/>
                    <a:pt x="2279423" y="1280433"/>
                    <a:pt x="2270068" y="1264402"/>
                  </a:cubicBezTo>
                  <a:cubicBezTo>
                    <a:pt x="2248923" y="1281441"/>
                    <a:pt x="2217980" y="1279473"/>
                    <a:pt x="2198513" y="1259526"/>
                  </a:cubicBezTo>
                  <a:cubicBezTo>
                    <a:pt x="2179194" y="1239730"/>
                    <a:pt x="2177850" y="1209067"/>
                    <a:pt x="2195037" y="1188375"/>
                  </a:cubicBezTo>
                  <a:cubicBezTo>
                    <a:pt x="2177979" y="1177570"/>
                    <a:pt x="2159032" y="1169645"/>
                    <a:pt x="2138925" y="1164611"/>
                  </a:cubicBezTo>
                  <a:cubicBezTo>
                    <a:pt x="2136165" y="1191415"/>
                    <a:pt x="2113256" y="1211930"/>
                    <a:pt x="2085555" y="1211930"/>
                  </a:cubicBezTo>
                  <a:cubicBezTo>
                    <a:pt x="2057694" y="1211930"/>
                    <a:pt x="2034680" y="1191176"/>
                    <a:pt x="2032094" y="1164157"/>
                  </a:cubicBezTo>
                  <a:close/>
                  <a:moveTo>
                    <a:pt x="1732866" y="1077004"/>
                  </a:moveTo>
                  <a:cubicBezTo>
                    <a:pt x="1762832" y="1077004"/>
                    <a:pt x="1787124" y="1101296"/>
                    <a:pt x="1787124" y="1131261"/>
                  </a:cubicBezTo>
                  <a:cubicBezTo>
                    <a:pt x="1787124" y="1161227"/>
                    <a:pt x="1762832" y="1185518"/>
                    <a:pt x="1732866" y="1185518"/>
                  </a:cubicBezTo>
                  <a:cubicBezTo>
                    <a:pt x="1702901" y="1185518"/>
                    <a:pt x="1678609" y="1161227"/>
                    <a:pt x="1678609" y="1131261"/>
                  </a:cubicBezTo>
                  <a:cubicBezTo>
                    <a:pt x="1678609" y="1101296"/>
                    <a:pt x="1702901" y="1077004"/>
                    <a:pt x="1732866" y="1077004"/>
                  </a:cubicBezTo>
                  <a:close/>
                  <a:moveTo>
                    <a:pt x="1732866" y="1044563"/>
                  </a:moveTo>
                  <a:cubicBezTo>
                    <a:pt x="1684984" y="1044563"/>
                    <a:pt x="1646168" y="1083379"/>
                    <a:pt x="1646168" y="1131261"/>
                  </a:cubicBezTo>
                  <a:cubicBezTo>
                    <a:pt x="1646168" y="1179144"/>
                    <a:pt x="1684984" y="1217960"/>
                    <a:pt x="1732866" y="1217960"/>
                  </a:cubicBezTo>
                  <a:cubicBezTo>
                    <a:pt x="1780749" y="1217960"/>
                    <a:pt x="1819565" y="1179144"/>
                    <a:pt x="1819565" y="1131261"/>
                  </a:cubicBezTo>
                  <a:cubicBezTo>
                    <a:pt x="1819565" y="1083379"/>
                    <a:pt x="1780749" y="1044563"/>
                    <a:pt x="1732866" y="1044563"/>
                  </a:cubicBezTo>
                  <a:close/>
                  <a:moveTo>
                    <a:pt x="1732866" y="1011472"/>
                  </a:moveTo>
                  <a:cubicBezTo>
                    <a:pt x="1799024" y="1011472"/>
                    <a:pt x="1852655" y="1065104"/>
                    <a:pt x="1852655" y="1131261"/>
                  </a:cubicBezTo>
                  <a:cubicBezTo>
                    <a:pt x="1852655" y="1197419"/>
                    <a:pt x="1799024" y="1251050"/>
                    <a:pt x="1732866" y="1251050"/>
                  </a:cubicBezTo>
                  <a:cubicBezTo>
                    <a:pt x="1666709" y="1251050"/>
                    <a:pt x="1613077" y="1197419"/>
                    <a:pt x="1613077" y="1131261"/>
                  </a:cubicBezTo>
                  <a:cubicBezTo>
                    <a:pt x="1613077" y="1065104"/>
                    <a:pt x="1666709" y="1011472"/>
                    <a:pt x="1732866" y="1011472"/>
                  </a:cubicBezTo>
                  <a:close/>
                  <a:moveTo>
                    <a:pt x="1679407" y="925657"/>
                  </a:moveTo>
                  <a:cubicBezTo>
                    <a:pt x="1659105" y="930709"/>
                    <a:pt x="1640103" y="939039"/>
                    <a:pt x="1622861" y="949996"/>
                  </a:cubicBezTo>
                  <a:cubicBezTo>
                    <a:pt x="1640191" y="970654"/>
                    <a:pt x="1638954" y="1001403"/>
                    <a:pt x="1619644" y="1021284"/>
                  </a:cubicBezTo>
                  <a:cubicBezTo>
                    <a:pt x="1600385" y="1041112"/>
                    <a:pt x="1569796" y="1043285"/>
                    <a:pt x="1548656" y="1026688"/>
                  </a:cubicBezTo>
                  <a:cubicBezTo>
                    <a:pt x="1539138" y="1042422"/>
                    <a:pt x="1531851" y="1059573"/>
                    <a:pt x="1527243" y="1077791"/>
                  </a:cubicBezTo>
                  <a:cubicBezTo>
                    <a:pt x="1554268" y="1080373"/>
                    <a:pt x="1575028" y="1103389"/>
                    <a:pt x="1575028" y="1131254"/>
                  </a:cubicBezTo>
                  <a:cubicBezTo>
                    <a:pt x="1575028" y="1159133"/>
                    <a:pt x="1554248" y="1182159"/>
                    <a:pt x="1527206" y="1184726"/>
                  </a:cubicBezTo>
                  <a:cubicBezTo>
                    <a:pt x="1531758" y="1203187"/>
                    <a:pt x="1538999" y="1220590"/>
                    <a:pt x="1548354" y="1236621"/>
                  </a:cubicBezTo>
                  <a:cubicBezTo>
                    <a:pt x="1569498" y="1219582"/>
                    <a:pt x="1600441" y="1221550"/>
                    <a:pt x="1619909" y="1241497"/>
                  </a:cubicBezTo>
                  <a:cubicBezTo>
                    <a:pt x="1639228" y="1261293"/>
                    <a:pt x="1640571" y="1291956"/>
                    <a:pt x="1623385" y="1312647"/>
                  </a:cubicBezTo>
                  <a:cubicBezTo>
                    <a:pt x="1640443" y="1323453"/>
                    <a:pt x="1659390" y="1331378"/>
                    <a:pt x="1679497" y="1336412"/>
                  </a:cubicBezTo>
                  <a:cubicBezTo>
                    <a:pt x="1682257" y="1309607"/>
                    <a:pt x="1705166" y="1289092"/>
                    <a:pt x="1732866" y="1289092"/>
                  </a:cubicBezTo>
                  <a:cubicBezTo>
                    <a:pt x="1760728" y="1289092"/>
                    <a:pt x="1783742" y="1309847"/>
                    <a:pt x="1786328" y="1336866"/>
                  </a:cubicBezTo>
                  <a:cubicBezTo>
                    <a:pt x="1806651" y="1331827"/>
                    <a:pt x="1825679" y="1323525"/>
                    <a:pt x="1842955" y="1312636"/>
                  </a:cubicBezTo>
                  <a:cubicBezTo>
                    <a:pt x="1825537" y="1291970"/>
                    <a:pt x="1826742" y="1261144"/>
                    <a:pt x="1846088" y="1241226"/>
                  </a:cubicBezTo>
                  <a:cubicBezTo>
                    <a:pt x="1865314" y="1221431"/>
                    <a:pt x="1895831" y="1219232"/>
                    <a:pt x="1916962" y="1235747"/>
                  </a:cubicBezTo>
                  <a:cubicBezTo>
                    <a:pt x="1926528" y="1220111"/>
                    <a:pt x="1933463" y="1202844"/>
                    <a:pt x="1938024" y="1184625"/>
                  </a:cubicBezTo>
                  <a:cubicBezTo>
                    <a:pt x="1911219" y="1181864"/>
                    <a:pt x="1890704" y="1158955"/>
                    <a:pt x="1890704" y="1131254"/>
                  </a:cubicBezTo>
                  <a:cubicBezTo>
                    <a:pt x="1890704" y="1103375"/>
                    <a:pt x="1911485" y="1080351"/>
                    <a:pt x="1938527" y="1077783"/>
                  </a:cubicBezTo>
                  <a:cubicBezTo>
                    <a:pt x="1933975" y="1059323"/>
                    <a:pt x="1926734" y="1041920"/>
                    <a:pt x="1917379" y="1025888"/>
                  </a:cubicBezTo>
                  <a:cubicBezTo>
                    <a:pt x="1896235" y="1042927"/>
                    <a:pt x="1865291" y="1040959"/>
                    <a:pt x="1845824" y="1021012"/>
                  </a:cubicBezTo>
                  <a:cubicBezTo>
                    <a:pt x="1826504" y="1001216"/>
                    <a:pt x="1825161" y="970552"/>
                    <a:pt x="1842348" y="949861"/>
                  </a:cubicBezTo>
                  <a:cubicBezTo>
                    <a:pt x="1825290" y="939055"/>
                    <a:pt x="1806343" y="931130"/>
                    <a:pt x="1786236" y="926096"/>
                  </a:cubicBezTo>
                  <a:cubicBezTo>
                    <a:pt x="1783476" y="952901"/>
                    <a:pt x="1760567" y="973416"/>
                    <a:pt x="1732866" y="973416"/>
                  </a:cubicBezTo>
                  <a:cubicBezTo>
                    <a:pt x="1705009" y="973416"/>
                    <a:pt x="1681999" y="952670"/>
                    <a:pt x="1679407" y="925657"/>
                  </a:cubicBezTo>
                  <a:close/>
                  <a:moveTo>
                    <a:pt x="3142735" y="899575"/>
                  </a:moveTo>
                  <a:cubicBezTo>
                    <a:pt x="3191234" y="899575"/>
                    <a:pt x="3230551" y="938891"/>
                    <a:pt x="3230551" y="987390"/>
                  </a:cubicBezTo>
                  <a:cubicBezTo>
                    <a:pt x="3230551" y="1035889"/>
                    <a:pt x="3191234" y="1075206"/>
                    <a:pt x="3142735" y="1075206"/>
                  </a:cubicBezTo>
                  <a:cubicBezTo>
                    <a:pt x="3094236" y="1075206"/>
                    <a:pt x="3054920" y="1035889"/>
                    <a:pt x="3054920" y="987390"/>
                  </a:cubicBezTo>
                  <a:cubicBezTo>
                    <a:pt x="3054920" y="938891"/>
                    <a:pt x="3094236" y="899575"/>
                    <a:pt x="3142735" y="899575"/>
                  </a:cubicBezTo>
                  <a:close/>
                  <a:moveTo>
                    <a:pt x="2431132" y="855914"/>
                  </a:moveTo>
                  <a:cubicBezTo>
                    <a:pt x="2479631" y="855914"/>
                    <a:pt x="2518947" y="895231"/>
                    <a:pt x="2518947" y="943730"/>
                  </a:cubicBezTo>
                  <a:cubicBezTo>
                    <a:pt x="2518947" y="992229"/>
                    <a:pt x="2479631" y="1031545"/>
                    <a:pt x="2431132" y="1031545"/>
                  </a:cubicBezTo>
                  <a:cubicBezTo>
                    <a:pt x="2382633" y="1031545"/>
                    <a:pt x="2343316" y="992229"/>
                    <a:pt x="2343316" y="943730"/>
                  </a:cubicBezTo>
                  <a:cubicBezTo>
                    <a:pt x="2343316" y="895231"/>
                    <a:pt x="2382633" y="855914"/>
                    <a:pt x="2431132" y="855914"/>
                  </a:cubicBezTo>
                  <a:close/>
                  <a:moveTo>
                    <a:pt x="3142735" y="847068"/>
                  </a:moveTo>
                  <a:cubicBezTo>
                    <a:pt x="3065237" y="847068"/>
                    <a:pt x="3002413" y="909892"/>
                    <a:pt x="3002413" y="987390"/>
                  </a:cubicBezTo>
                  <a:cubicBezTo>
                    <a:pt x="3002413" y="1064888"/>
                    <a:pt x="3065237" y="1127712"/>
                    <a:pt x="3142735" y="1127712"/>
                  </a:cubicBezTo>
                  <a:cubicBezTo>
                    <a:pt x="3220233" y="1127712"/>
                    <a:pt x="3283057" y="1064888"/>
                    <a:pt x="3283057" y="987390"/>
                  </a:cubicBezTo>
                  <a:cubicBezTo>
                    <a:pt x="3283057" y="909892"/>
                    <a:pt x="3220233" y="847068"/>
                    <a:pt x="3142735" y="847068"/>
                  </a:cubicBezTo>
                  <a:close/>
                  <a:moveTo>
                    <a:pt x="2431132" y="803408"/>
                  </a:moveTo>
                  <a:cubicBezTo>
                    <a:pt x="2353634" y="803408"/>
                    <a:pt x="2290810" y="866232"/>
                    <a:pt x="2290810" y="943730"/>
                  </a:cubicBezTo>
                  <a:cubicBezTo>
                    <a:pt x="2290810" y="1021228"/>
                    <a:pt x="2353634" y="1084052"/>
                    <a:pt x="2431132" y="1084052"/>
                  </a:cubicBezTo>
                  <a:cubicBezTo>
                    <a:pt x="2508630" y="1084052"/>
                    <a:pt x="2571454" y="1021228"/>
                    <a:pt x="2571454" y="943730"/>
                  </a:cubicBezTo>
                  <a:cubicBezTo>
                    <a:pt x="2571454" y="866232"/>
                    <a:pt x="2508630" y="803408"/>
                    <a:pt x="2431132" y="803408"/>
                  </a:cubicBezTo>
                  <a:close/>
                  <a:moveTo>
                    <a:pt x="3142735" y="793511"/>
                  </a:moveTo>
                  <a:cubicBezTo>
                    <a:pt x="3249811" y="793511"/>
                    <a:pt x="3336614" y="880314"/>
                    <a:pt x="3336614" y="987390"/>
                  </a:cubicBezTo>
                  <a:cubicBezTo>
                    <a:pt x="3336614" y="1094466"/>
                    <a:pt x="3249811" y="1181269"/>
                    <a:pt x="3142735" y="1181269"/>
                  </a:cubicBezTo>
                  <a:cubicBezTo>
                    <a:pt x="3035659" y="1181269"/>
                    <a:pt x="2948856" y="1094466"/>
                    <a:pt x="2948856" y="987390"/>
                  </a:cubicBezTo>
                  <a:cubicBezTo>
                    <a:pt x="2948856" y="880314"/>
                    <a:pt x="3035659" y="793511"/>
                    <a:pt x="3142735" y="793511"/>
                  </a:cubicBezTo>
                  <a:close/>
                  <a:moveTo>
                    <a:pt x="2431132" y="749851"/>
                  </a:moveTo>
                  <a:cubicBezTo>
                    <a:pt x="2538208" y="749851"/>
                    <a:pt x="2625011" y="836654"/>
                    <a:pt x="2625011" y="943730"/>
                  </a:cubicBezTo>
                  <a:cubicBezTo>
                    <a:pt x="2625011" y="1050806"/>
                    <a:pt x="2538208" y="1137609"/>
                    <a:pt x="2431132" y="1137609"/>
                  </a:cubicBezTo>
                  <a:cubicBezTo>
                    <a:pt x="2324056" y="1137609"/>
                    <a:pt x="2237253" y="1050806"/>
                    <a:pt x="2237253" y="943730"/>
                  </a:cubicBezTo>
                  <a:cubicBezTo>
                    <a:pt x="2237253" y="836654"/>
                    <a:pt x="2324056" y="749851"/>
                    <a:pt x="2431132" y="749851"/>
                  </a:cubicBezTo>
                  <a:close/>
                  <a:moveTo>
                    <a:pt x="3229258" y="654619"/>
                  </a:moveTo>
                  <a:cubicBezTo>
                    <a:pt x="3225065" y="698339"/>
                    <a:pt x="3187822" y="731918"/>
                    <a:pt x="3142735" y="731918"/>
                  </a:cubicBezTo>
                  <a:cubicBezTo>
                    <a:pt x="3097901" y="731918"/>
                    <a:pt x="3060824" y="698714"/>
                    <a:pt x="3056356" y="655330"/>
                  </a:cubicBezTo>
                  <a:cubicBezTo>
                    <a:pt x="3023813" y="663477"/>
                    <a:pt x="2993147" y="676304"/>
                    <a:pt x="2965538" y="693793"/>
                  </a:cubicBezTo>
                  <a:cubicBezTo>
                    <a:pt x="2993356" y="727282"/>
                    <a:pt x="2991182" y="776912"/>
                    <a:pt x="2959913" y="808952"/>
                  </a:cubicBezTo>
                  <a:cubicBezTo>
                    <a:pt x="2928405" y="841236"/>
                    <a:pt x="2878323" y="844421"/>
                    <a:pt x="2844100" y="816843"/>
                  </a:cubicBezTo>
                  <a:cubicBezTo>
                    <a:pt x="2828960" y="842791"/>
                    <a:pt x="2817240" y="870957"/>
                    <a:pt x="2809873" y="900836"/>
                  </a:cubicBezTo>
                  <a:cubicBezTo>
                    <a:pt x="2853641" y="904991"/>
                    <a:pt x="2887274" y="942257"/>
                    <a:pt x="2887274" y="987379"/>
                  </a:cubicBezTo>
                  <a:cubicBezTo>
                    <a:pt x="2887274" y="1032213"/>
                    <a:pt x="2854070" y="1069290"/>
                    <a:pt x="2810687" y="1073759"/>
                  </a:cubicBezTo>
                  <a:cubicBezTo>
                    <a:pt x="2818069" y="1103247"/>
                    <a:pt x="2829294" y="1131194"/>
                    <a:pt x="2844776" y="1156501"/>
                  </a:cubicBezTo>
                  <a:cubicBezTo>
                    <a:pt x="2878976" y="1129771"/>
                    <a:pt x="2928368" y="1133331"/>
                    <a:pt x="2959486" y="1165368"/>
                  </a:cubicBezTo>
                  <a:cubicBezTo>
                    <a:pt x="2990797" y="1197605"/>
                    <a:pt x="2992748" y="1247497"/>
                    <a:pt x="2964556" y="1280946"/>
                  </a:cubicBezTo>
                  <a:cubicBezTo>
                    <a:pt x="2992518" y="1298569"/>
                    <a:pt x="3023315" y="1312006"/>
                    <a:pt x="3056208" y="1320162"/>
                  </a:cubicBezTo>
                  <a:cubicBezTo>
                    <a:pt x="3060393" y="1276432"/>
                    <a:pt x="3097641" y="1242840"/>
                    <a:pt x="3142735" y="1242840"/>
                  </a:cubicBezTo>
                  <a:cubicBezTo>
                    <a:pt x="3187568" y="1242840"/>
                    <a:pt x="3224647" y="1276044"/>
                    <a:pt x="3229114" y="1319428"/>
                  </a:cubicBezTo>
                  <a:cubicBezTo>
                    <a:pt x="3261657" y="1311280"/>
                    <a:pt x="3292323" y="1298453"/>
                    <a:pt x="3319931" y="1280964"/>
                  </a:cubicBezTo>
                  <a:cubicBezTo>
                    <a:pt x="3292115" y="1247475"/>
                    <a:pt x="3294289" y="1197846"/>
                    <a:pt x="3325557" y="1165807"/>
                  </a:cubicBezTo>
                  <a:cubicBezTo>
                    <a:pt x="3357065" y="1133523"/>
                    <a:pt x="3407146" y="1130338"/>
                    <a:pt x="3441369" y="1157915"/>
                  </a:cubicBezTo>
                  <a:cubicBezTo>
                    <a:pt x="3456511" y="1131969"/>
                    <a:pt x="3468230" y="1103802"/>
                    <a:pt x="3475597" y="1073923"/>
                  </a:cubicBezTo>
                  <a:cubicBezTo>
                    <a:pt x="3431829" y="1069768"/>
                    <a:pt x="3398197" y="1032501"/>
                    <a:pt x="3398197" y="987379"/>
                  </a:cubicBezTo>
                  <a:cubicBezTo>
                    <a:pt x="3398197" y="942279"/>
                    <a:pt x="3431797" y="905027"/>
                    <a:pt x="3475537" y="900848"/>
                  </a:cubicBezTo>
                  <a:cubicBezTo>
                    <a:pt x="3468078" y="871362"/>
                    <a:pt x="3456284" y="843603"/>
                    <a:pt x="3440880" y="818138"/>
                  </a:cubicBezTo>
                  <a:cubicBezTo>
                    <a:pt x="3406665" y="845000"/>
                    <a:pt x="3357157" y="841484"/>
                    <a:pt x="3325986" y="809391"/>
                  </a:cubicBezTo>
                  <a:cubicBezTo>
                    <a:pt x="3294733" y="777214"/>
                    <a:pt x="3292731" y="727448"/>
                    <a:pt x="3320778" y="694012"/>
                  </a:cubicBezTo>
                  <a:cubicBezTo>
                    <a:pt x="3292874" y="676278"/>
                    <a:pt x="3262118" y="662795"/>
                    <a:pt x="3229258" y="654619"/>
                  </a:cubicBezTo>
                  <a:close/>
                  <a:moveTo>
                    <a:pt x="2344604" y="610958"/>
                  </a:moveTo>
                  <a:cubicBezTo>
                    <a:pt x="2311711" y="619114"/>
                    <a:pt x="2280915" y="632551"/>
                    <a:pt x="2252952" y="650174"/>
                  </a:cubicBezTo>
                  <a:cubicBezTo>
                    <a:pt x="2281144" y="683623"/>
                    <a:pt x="2279194" y="733515"/>
                    <a:pt x="2247882" y="765752"/>
                  </a:cubicBezTo>
                  <a:cubicBezTo>
                    <a:pt x="2216764" y="797789"/>
                    <a:pt x="2167373" y="801349"/>
                    <a:pt x="2133173" y="774619"/>
                  </a:cubicBezTo>
                  <a:cubicBezTo>
                    <a:pt x="2117690" y="799926"/>
                    <a:pt x="2106465" y="827873"/>
                    <a:pt x="2099083" y="857361"/>
                  </a:cubicBezTo>
                  <a:cubicBezTo>
                    <a:pt x="2142467" y="861830"/>
                    <a:pt x="2175670" y="898907"/>
                    <a:pt x="2175670" y="943741"/>
                  </a:cubicBezTo>
                  <a:cubicBezTo>
                    <a:pt x="2175670" y="988863"/>
                    <a:pt x="2142038" y="1026129"/>
                    <a:pt x="2098270" y="1030284"/>
                  </a:cubicBezTo>
                  <a:cubicBezTo>
                    <a:pt x="2105637" y="1060163"/>
                    <a:pt x="2117356" y="1088329"/>
                    <a:pt x="2132497" y="1114277"/>
                  </a:cubicBezTo>
                  <a:cubicBezTo>
                    <a:pt x="2166720" y="1086699"/>
                    <a:pt x="2216802" y="1089884"/>
                    <a:pt x="2248310" y="1122168"/>
                  </a:cubicBezTo>
                  <a:cubicBezTo>
                    <a:pt x="2279579" y="1154208"/>
                    <a:pt x="2281752" y="1203838"/>
                    <a:pt x="2253935" y="1237327"/>
                  </a:cubicBezTo>
                  <a:cubicBezTo>
                    <a:pt x="2281544" y="1254816"/>
                    <a:pt x="2312210" y="1267643"/>
                    <a:pt x="2344753" y="1275790"/>
                  </a:cubicBezTo>
                  <a:cubicBezTo>
                    <a:pt x="2349220" y="1232406"/>
                    <a:pt x="2386298" y="1199202"/>
                    <a:pt x="2431132" y="1199202"/>
                  </a:cubicBezTo>
                  <a:cubicBezTo>
                    <a:pt x="2476218" y="1199202"/>
                    <a:pt x="2513461" y="1232781"/>
                    <a:pt x="2517655" y="1276501"/>
                  </a:cubicBezTo>
                  <a:cubicBezTo>
                    <a:pt x="2550514" y="1268325"/>
                    <a:pt x="2581270" y="1254842"/>
                    <a:pt x="2609175" y="1237108"/>
                  </a:cubicBezTo>
                  <a:cubicBezTo>
                    <a:pt x="2581128" y="1203672"/>
                    <a:pt x="2583129" y="1153906"/>
                    <a:pt x="2614382" y="1121729"/>
                  </a:cubicBezTo>
                  <a:cubicBezTo>
                    <a:pt x="2645554" y="1089636"/>
                    <a:pt x="2695061" y="1086120"/>
                    <a:pt x="2729276" y="1112982"/>
                  </a:cubicBezTo>
                  <a:cubicBezTo>
                    <a:pt x="2744681" y="1087517"/>
                    <a:pt x="2756475" y="1059758"/>
                    <a:pt x="2763934" y="1030272"/>
                  </a:cubicBezTo>
                  <a:cubicBezTo>
                    <a:pt x="2720194" y="1026093"/>
                    <a:pt x="2686593" y="988841"/>
                    <a:pt x="2686593" y="943741"/>
                  </a:cubicBezTo>
                  <a:cubicBezTo>
                    <a:pt x="2686593" y="898619"/>
                    <a:pt x="2720226" y="861352"/>
                    <a:pt x="2763994" y="857197"/>
                  </a:cubicBezTo>
                  <a:cubicBezTo>
                    <a:pt x="2756627" y="827318"/>
                    <a:pt x="2744907" y="799151"/>
                    <a:pt x="2729766" y="773205"/>
                  </a:cubicBezTo>
                  <a:cubicBezTo>
                    <a:pt x="2695543" y="800782"/>
                    <a:pt x="2645462" y="797597"/>
                    <a:pt x="2613954" y="765313"/>
                  </a:cubicBezTo>
                  <a:cubicBezTo>
                    <a:pt x="2582686" y="733274"/>
                    <a:pt x="2580511" y="683645"/>
                    <a:pt x="2608328" y="650156"/>
                  </a:cubicBezTo>
                  <a:cubicBezTo>
                    <a:pt x="2580720" y="632667"/>
                    <a:pt x="2550054" y="619840"/>
                    <a:pt x="2517511" y="611692"/>
                  </a:cubicBezTo>
                  <a:cubicBezTo>
                    <a:pt x="2513043" y="655076"/>
                    <a:pt x="2475965" y="688280"/>
                    <a:pt x="2431132" y="688280"/>
                  </a:cubicBezTo>
                  <a:cubicBezTo>
                    <a:pt x="2386038" y="688280"/>
                    <a:pt x="2348790" y="654688"/>
                    <a:pt x="2344604" y="610958"/>
                  </a:cubicBezTo>
                  <a:close/>
                  <a:moveTo>
                    <a:pt x="2311656" y="131"/>
                  </a:moveTo>
                  <a:cubicBezTo>
                    <a:pt x="3194306" y="-12569"/>
                    <a:pt x="4231473" y="906064"/>
                    <a:pt x="4102356" y="1968631"/>
                  </a:cubicBezTo>
                  <a:cubicBezTo>
                    <a:pt x="3973239" y="3031198"/>
                    <a:pt x="3448306" y="3547664"/>
                    <a:pt x="3441956" y="4165731"/>
                  </a:cubicBezTo>
                  <a:cubicBezTo>
                    <a:pt x="3435606" y="4783798"/>
                    <a:pt x="3916089" y="5221948"/>
                    <a:pt x="4064256" y="5677031"/>
                  </a:cubicBezTo>
                  <a:cubicBezTo>
                    <a:pt x="3450423" y="5725714"/>
                    <a:pt x="2047073" y="5668564"/>
                    <a:pt x="1321056" y="5677031"/>
                  </a:cubicBezTo>
                  <a:cubicBezTo>
                    <a:pt x="1826939" y="5050498"/>
                    <a:pt x="1687239" y="4673731"/>
                    <a:pt x="1575056" y="4457831"/>
                  </a:cubicBezTo>
                  <a:cubicBezTo>
                    <a:pt x="1462873" y="4241931"/>
                    <a:pt x="1001439" y="4514981"/>
                    <a:pt x="647956" y="4381631"/>
                  </a:cubicBezTo>
                  <a:cubicBezTo>
                    <a:pt x="294473" y="4248281"/>
                    <a:pt x="639489" y="3937131"/>
                    <a:pt x="597156" y="3810131"/>
                  </a:cubicBezTo>
                  <a:cubicBezTo>
                    <a:pt x="554823" y="3683131"/>
                    <a:pt x="421473" y="3661964"/>
                    <a:pt x="393956" y="3619631"/>
                  </a:cubicBezTo>
                  <a:cubicBezTo>
                    <a:pt x="366439" y="3577298"/>
                    <a:pt x="438406" y="3581531"/>
                    <a:pt x="432056" y="3556131"/>
                  </a:cubicBezTo>
                  <a:cubicBezTo>
                    <a:pt x="425706" y="3530731"/>
                    <a:pt x="366439" y="3532848"/>
                    <a:pt x="355856" y="3467231"/>
                  </a:cubicBezTo>
                  <a:cubicBezTo>
                    <a:pt x="345273" y="3401614"/>
                    <a:pt x="427823" y="3247098"/>
                    <a:pt x="368556" y="3162431"/>
                  </a:cubicBezTo>
                  <a:cubicBezTo>
                    <a:pt x="309289" y="3077764"/>
                    <a:pt x="-10327" y="3117981"/>
                    <a:pt x="256" y="2959231"/>
                  </a:cubicBezTo>
                  <a:cubicBezTo>
                    <a:pt x="10839" y="2800481"/>
                    <a:pt x="379139" y="2406781"/>
                    <a:pt x="432056" y="2209931"/>
                  </a:cubicBezTo>
                  <a:cubicBezTo>
                    <a:pt x="484973" y="2013081"/>
                    <a:pt x="288123" y="2051181"/>
                    <a:pt x="317756" y="1778131"/>
                  </a:cubicBezTo>
                  <a:cubicBezTo>
                    <a:pt x="563289" y="1136781"/>
                    <a:pt x="391839" y="1579164"/>
                    <a:pt x="559056" y="1054231"/>
                  </a:cubicBezTo>
                  <a:cubicBezTo>
                    <a:pt x="726273" y="529298"/>
                    <a:pt x="1429006" y="12831"/>
                    <a:pt x="2311656" y="131"/>
                  </a:cubicBezTo>
                  <a:close/>
                </a:path>
              </a:pathLst>
            </a:custGeom>
            <a:solidFill>
              <a:srgbClr val="FFFFFF"/>
            </a:solidFill>
            <a:ln w="9525">
              <a:noFill/>
              <a:round/>
              <a:headEnd/>
              <a:tailEnd/>
            </a:ln>
          </p:spPr>
          <p:txBody>
            <a:bodyPr/>
            <a:lstStyle/>
            <a:p>
              <a:pPr defTabSz="914224">
                <a:defRPr/>
              </a:pPr>
              <a:endParaRPr lang="en-US" sz="1800" kern="0" err="1">
                <a:ln>
                  <a:solidFill>
                    <a:srgbClr val="505050">
                      <a:alpha val="0"/>
                    </a:srgbClr>
                  </a:solidFill>
                </a:ln>
                <a:solidFill>
                  <a:srgbClr val="505050"/>
                </a:solidFill>
              </a:endParaRPr>
            </a:p>
          </p:txBody>
        </p:sp>
        <p:grpSp>
          <p:nvGrpSpPr>
            <p:cNvPr id="304" name="Group 303"/>
            <p:cNvGrpSpPr/>
            <p:nvPr/>
          </p:nvGrpSpPr>
          <p:grpSpPr>
            <a:xfrm>
              <a:off x="7853560" y="4509578"/>
              <a:ext cx="413128" cy="417594"/>
              <a:chOff x="6286844" y="2329087"/>
              <a:chExt cx="968505" cy="978974"/>
            </a:xfrm>
            <a:solidFill>
              <a:srgbClr val="B4009E"/>
            </a:solidFill>
          </p:grpSpPr>
          <p:sp>
            <p:nvSpPr>
              <p:cNvPr id="490" name="Freeform 489"/>
              <p:cNvSpPr/>
              <p:nvPr/>
            </p:nvSpPr>
            <p:spPr bwMode="auto">
              <a:xfrm rot="1196550">
                <a:off x="6286844" y="2673387"/>
                <a:ext cx="635768" cy="634674"/>
              </a:xfrm>
              <a:custGeom>
                <a:avLst/>
                <a:gdLst>
                  <a:gd name="connsiteX0" fmla="*/ 534897 w 1296109"/>
                  <a:gd name="connsiteY0" fmla="*/ 456519 h 1293879"/>
                  <a:gd name="connsiteX1" fmla="*/ 457634 w 1296109"/>
                  <a:gd name="connsiteY1" fmla="*/ 760098 h 1293879"/>
                  <a:gd name="connsiteX2" fmla="*/ 761213 w 1296109"/>
                  <a:gd name="connsiteY2" fmla="*/ 837361 h 1293879"/>
                  <a:gd name="connsiteX3" fmla="*/ 838476 w 1296109"/>
                  <a:gd name="connsiteY3" fmla="*/ 533782 h 1293879"/>
                  <a:gd name="connsiteX4" fmla="*/ 534897 w 1296109"/>
                  <a:gd name="connsiteY4" fmla="*/ 456519 h 1293879"/>
                  <a:gd name="connsiteX5" fmla="*/ 287047 w 1296109"/>
                  <a:gd name="connsiteY5" fmla="*/ 109549 h 1293879"/>
                  <a:gd name="connsiteX6" fmla="*/ 379506 w 1296109"/>
                  <a:gd name="connsiteY6" fmla="*/ 58788 h 1293879"/>
                  <a:gd name="connsiteX7" fmla="*/ 448512 w 1296109"/>
                  <a:gd name="connsiteY7" fmla="*/ 78879 h 1293879"/>
                  <a:gd name="connsiteX8" fmla="*/ 502583 w 1296109"/>
                  <a:gd name="connsiteY8" fmla="*/ 177363 h 1293879"/>
                  <a:gd name="connsiteX9" fmla="*/ 555952 w 1296109"/>
                  <a:gd name="connsiteY9" fmla="*/ 163545 h 1293879"/>
                  <a:gd name="connsiteX10" fmla="*/ 559855 w 1296109"/>
                  <a:gd name="connsiteY10" fmla="*/ 49089 h 1293879"/>
                  <a:gd name="connsiteX11" fmla="*/ 575956 w 1296109"/>
                  <a:gd name="connsiteY11" fmla="*/ 13682 h 1293879"/>
                  <a:gd name="connsiteX12" fmla="*/ 612379 w 1296109"/>
                  <a:gd name="connsiteY12" fmla="*/ 30 h 1293879"/>
                  <a:gd name="connsiteX13" fmla="*/ 717795 w 1296109"/>
                  <a:gd name="connsiteY13" fmla="*/ 3626 h 1293879"/>
                  <a:gd name="connsiteX14" fmla="*/ 766853 w 1296109"/>
                  <a:gd name="connsiteY14" fmla="*/ 56150 h 1293879"/>
                  <a:gd name="connsiteX15" fmla="*/ 763058 w 1296109"/>
                  <a:gd name="connsiteY15" fmla="*/ 167432 h 1293879"/>
                  <a:gd name="connsiteX16" fmla="*/ 778804 w 1296109"/>
                  <a:gd name="connsiteY16" fmla="*/ 170762 h 1293879"/>
                  <a:gd name="connsiteX17" fmla="*/ 824298 w 1296109"/>
                  <a:gd name="connsiteY17" fmla="*/ 65372 h 1293879"/>
                  <a:gd name="connsiteX18" fmla="*/ 891098 w 1296109"/>
                  <a:gd name="connsiteY18" fmla="*/ 38856 h 1293879"/>
                  <a:gd name="connsiteX19" fmla="*/ 987939 w 1296109"/>
                  <a:gd name="connsiteY19" fmla="*/ 80661 h 1293879"/>
                  <a:gd name="connsiteX20" fmla="*/ 1014455 w 1296109"/>
                  <a:gd name="connsiteY20" fmla="*/ 147460 h 1293879"/>
                  <a:gd name="connsiteX21" fmla="*/ 963838 w 1296109"/>
                  <a:gd name="connsiteY21" fmla="*/ 264716 h 1293879"/>
                  <a:gd name="connsiteX22" fmla="*/ 1004698 w 1296109"/>
                  <a:gd name="connsiteY22" fmla="*/ 303260 h 1293879"/>
                  <a:gd name="connsiteX23" fmla="*/ 1096803 w 1296109"/>
                  <a:gd name="connsiteY23" fmla="*/ 236512 h 1293879"/>
                  <a:gd name="connsiteX24" fmla="*/ 1167775 w 1296109"/>
                  <a:gd name="connsiteY24" fmla="*/ 247842 h 1293879"/>
                  <a:gd name="connsiteX25" fmla="*/ 1229669 w 1296109"/>
                  <a:gd name="connsiteY25" fmla="*/ 333252 h 1293879"/>
                  <a:gd name="connsiteX26" fmla="*/ 1218339 w 1296109"/>
                  <a:gd name="connsiteY26" fmla="*/ 404223 h 1293879"/>
                  <a:gd name="connsiteX27" fmla="*/ 1114924 w 1296109"/>
                  <a:gd name="connsiteY27" fmla="*/ 479166 h 1293879"/>
                  <a:gd name="connsiteX28" fmla="*/ 1118015 w 1296109"/>
                  <a:gd name="connsiteY28" fmla="*/ 489983 h 1293879"/>
                  <a:gd name="connsiteX29" fmla="*/ 1128638 w 1296109"/>
                  <a:gd name="connsiteY29" fmla="*/ 522191 h 1293879"/>
                  <a:gd name="connsiteX30" fmla="*/ 1241513 w 1296109"/>
                  <a:gd name="connsiteY30" fmla="*/ 519465 h 1293879"/>
                  <a:gd name="connsiteX31" fmla="*/ 1293546 w 1296109"/>
                  <a:gd name="connsiteY31" fmla="*/ 569042 h 1293879"/>
                  <a:gd name="connsiteX32" fmla="*/ 1296094 w 1296109"/>
                  <a:gd name="connsiteY32" fmla="*/ 674489 h 1293879"/>
                  <a:gd name="connsiteX33" fmla="*/ 1246516 w 1296109"/>
                  <a:gd name="connsiteY33" fmla="*/ 726522 h 1293879"/>
                  <a:gd name="connsiteX34" fmla="*/ 1138094 w 1296109"/>
                  <a:gd name="connsiteY34" fmla="*/ 729141 h 1293879"/>
                  <a:gd name="connsiteX35" fmla="*/ 1133867 w 1296109"/>
                  <a:gd name="connsiteY35" fmla="*/ 744886 h 1293879"/>
                  <a:gd name="connsiteX36" fmla="*/ 1125064 w 1296109"/>
                  <a:gd name="connsiteY36" fmla="*/ 784697 h 1293879"/>
                  <a:gd name="connsiteX37" fmla="*/ 1223492 w 1296109"/>
                  <a:gd name="connsiteY37" fmla="*/ 840017 h 1293879"/>
                  <a:gd name="connsiteX38" fmla="*/ 1242896 w 1296109"/>
                  <a:gd name="connsiteY38" fmla="*/ 909218 h 1293879"/>
                  <a:gd name="connsiteX39" fmla="*/ 1191218 w 1296109"/>
                  <a:gd name="connsiteY39" fmla="*/ 1001169 h 1293879"/>
                  <a:gd name="connsiteX40" fmla="*/ 1122016 w 1296109"/>
                  <a:gd name="connsiteY40" fmla="*/ 1020573 h 1293879"/>
                  <a:gd name="connsiteX41" fmla="*/ 1027471 w 1296109"/>
                  <a:gd name="connsiteY41" fmla="*/ 967436 h 1293879"/>
                  <a:gd name="connsiteX42" fmla="*/ 987438 w 1296109"/>
                  <a:gd name="connsiteY42" fmla="*/ 1006435 h 1293879"/>
                  <a:gd name="connsiteX43" fmla="*/ 1034590 w 1296109"/>
                  <a:gd name="connsiteY43" fmla="*/ 1119587 h 1293879"/>
                  <a:gd name="connsiteX44" fmla="*/ 1007228 w 1296109"/>
                  <a:gd name="connsiteY44" fmla="*/ 1186045 h 1293879"/>
                  <a:gd name="connsiteX45" fmla="*/ 909865 w 1296109"/>
                  <a:gd name="connsiteY45" fmla="*/ 1226616 h 1293879"/>
                  <a:gd name="connsiteX46" fmla="*/ 843407 w 1296109"/>
                  <a:gd name="connsiteY46" fmla="*/ 1199253 h 1293879"/>
                  <a:gd name="connsiteX47" fmla="*/ 808203 w 1296109"/>
                  <a:gd name="connsiteY47" fmla="*/ 1114771 h 1293879"/>
                  <a:gd name="connsiteX48" fmla="*/ 756458 w 1296109"/>
                  <a:gd name="connsiteY48" fmla="*/ 1127741 h 1293879"/>
                  <a:gd name="connsiteX49" fmla="*/ 739030 w 1296109"/>
                  <a:gd name="connsiteY49" fmla="*/ 1250213 h 1293879"/>
                  <a:gd name="connsiteX50" fmla="*/ 681557 w 1296109"/>
                  <a:gd name="connsiteY50" fmla="*/ 1293366 h 1293879"/>
                  <a:gd name="connsiteX51" fmla="*/ 577132 w 1296109"/>
                  <a:gd name="connsiteY51" fmla="*/ 1278505 h 1293879"/>
                  <a:gd name="connsiteX52" fmla="*/ 533979 w 1296109"/>
                  <a:gd name="connsiteY52" fmla="*/ 1221032 h 1293879"/>
                  <a:gd name="connsiteX53" fmla="*/ 547230 w 1296109"/>
                  <a:gd name="connsiteY53" fmla="*/ 1127913 h 1293879"/>
                  <a:gd name="connsiteX54" fmla="*/ 475304 w 1296109"/>
                  <a:gd name="connsiteY54" fmla="*/ 1105535 h 1293879"/>
                  <a:gd name="connsiteX55" fmla="*/ 416016 w 1296109"/>
                  <a:gd name="connsiteY55" fmla="*/ 1196081 h 1293879"/>
                  <a:gd name="connsiteX56" fmla="*/ 345660 w 1296109"/>
                  <a:gd name="connsiteY56" fmla="*/ 1210759 h 1293879"/>
                  <a:gd name="connsiteX57" fmla="*/ 257416 w 1296109"/>
                  <a:gd name="connsiteY57" fmla="*/ 1152979 h 1293879"/>
                  <a:gd name="connsiteX58" fmla="*/ 242738 w 1296109"/>
                  <a:gd name="connsiteY58" fmla="*/ 1082622 h 1293879"/>
                  <a:gd name="connsiteX59" fmla="*/ 302953 w 1296109"/>
                  <a:gd name="connsiteY59" fmla="*/ 990659 h 1293879"/>
                  <a:gd name="connsiteX60" fmla="*/ 298482 w 1296109"/>
                  <a:gd name="connsiteY60" fmla="*/ 985429 h 1293879"/>
                  <a:gd name="connsiteX61" fmla="*/ 266931 w 1296109"/>
                  <a:gd name="connsiteY61" fmla="*/ 951673 h 1293879"/>
                  <a:gd name="connsiteX62" fmla="*/ 168186 w 1296109"/>
                  <a:gd name="connsiteY62" fmla="*/ 999969 h 1293879"/>
                  <a:gd name="connsiteX63" fmla="*/ 100205 w 1296109"/>
                  <a:gd name="connsiteY63" fmla="*/ 976645 h 1293879"/>
                  <a:gd name="connsiteX64" fmla="*/ 53862 w 1296109"/>
                  <a:gd name="connsiteY64" fmla="*/ 881893 h 1293879"/>
                  <a:gd name="connsiteX65" fmla="*/ 77186 w 1296109"/>
                  <a:gd name="connsiteY65" fmla="*/ 813912 h 1293879"/>
                  <a:gd name="connsiteX66" fmla="*/ 175931 w 1296109"/>
                  <a:gd name="connsiteY66" fmla="*/ 765616 h 1293879"/>
                  <a:gd name="connsiteX67" fmla="*/ 171615 w 1296109"/>
                  <a:gd name="connsiteY67" fmla="*/ 740645 h 1293879"/>
                  <a:gd name="connsiteX68" fmla="*/ 60401 w 1296109"/>
                  <a:gd name="connsiteY68" fmla="*/ 747473 h 1293879"/>
                  <a:gd name="connsiteX69" fmla="*/ 6563 w 1296109"/>
                  <a:gd name="connsiteY69" fmla="*/ 699863 h 1293879"/>
                  <a:gd name="connsiteX70" fmla="*/ 97 w 1296109"/>
                  <a:gd name="connsiteY70" fmla="*/ 594583 h 1293879"/>
                  <a:gd name="connsiteX71" fmla="*/ 47708 w 1296109"/>
                  <a:gd name="connsiteY71" fmla="*/ 540745 h 1293879"/>
                  <a:gd name="connsiteX72" fmla="*/ 173063 w 1296109"/>
                  <a:gd name="connsiteY72" fmla="*/ 533049 h 1293879"/>
                  <a:gd name="connsiteX73" fmla="*/ 189336 w 1296109"/>
                  <a:gd name="connsiteY73" fmla="*/ 482867 h 1293879"/>
                  <a:gd name="connsiteX74" fmla="*/ 91651 w 1296109"/>
                  <a:gd name="connsiteY74" fmla="*/ 432648 h 1293879"/>
                  <a:gd name="connsiteX75" fmla="*/ 69690 w 1296109"/>
                  <a:gd name="connsiteY75" fmla="*/ 364215 h 1293879"/>
                  <a:gd name="connsiteX76" fmla="*/ 117915 w 1296109"/>
                  <a:gd name="connsiteY76" fmla="*/ 270407 h 1293879"/>
                  <a:gd name="connsiteX77" fmla="*/ 186348 w 1296109"/>
                  <a:gd name="connsiteY77" fmla="*/ 248446 h 1293879"/>
                  <a:gd name="connsiteX78" fmla="*/ 297575 w 1296109"/>
                  <a:gd name="connsiteY78" fmla="*/ 305628 h 1293879"/>
                  <a:gd name="connsiteX79" fmla="*/ 323036 w 1296109"/>
                  <a:gd name="connsiteY79" fmla="*/ 280699 h 1293879"/>
                  <a:gd name="connsiteX80" fmla="*/ 266956 w 1296109"/>
                  <a:gd name="connsiteY80" fmla="*/ 178555 h 1293879"/>
                  <a:gd name="connsiteX81" fmla="*/ 262709 w 1296109"/>
                  <a:gd name="connsiteY81" fmla="*/ 139892 h 1293879"/>
                  <a:gd name="connsiteX82" fmla="*/ 287047 w 1296109"/>
                  <a:gd name="connsiteY82" fmla="*/ 109549 h 12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96109" h="1293879">
                    <a:moveTo>
                      <a:pt x="534897" y="456519"/>
                    </a:moveTo>
                    <a:cubicBezTo>
                      <a:pt x="429731" y="519014"/>
                      <a:pt x="395139" y="654931"/>
                      <a:pt x="457634" y="760098"/>
                    </a:cubicBezTo>
                    <a:cubicBezTo>
                      <a:pt x="520129" y="865264"/>
                      <a:pt x="656047" y="899856"/>
                      <a:pt x="761213" y="837361"/>
                    </a:cubicBezTo>
                    <a:cubicBezTo>
                      <a:pt x="866380" y="774865"/>
                      <a:pt x="900972" y="638948"/>
                      <a:pt x="838476" y="533782"/>
                    </a:cubicBezTo>
                    <a:cubicBezTo>
                      <a:pt x="775981" y="428615"/>
                      <a:pt x="640063" y="394023"/>
                      <a:pt x="534897" y="456519"/>
                    </a:cubicBezTo>
                    <a:close/>
                    <a:moveTo>
                      <a:pt x="287047" y="109549"/>
                    </a:moveTo>
                    <a:lnTo>
                      <a:pt x="379506" y="58788"/>
                    </a:lnTo>
                    <a:cubicBezTo>
                      <a:pt x="404109" y="45281"/>
                      <a:pt x="435004" y="54275"/>
                      <a:pt x="448512" y="78879"/>
                    </a:cubicBezTo>
                    <a:lnTo>
                      <a:pt x="502583" y="177363"/>
                    </a:lnTo>
                    <a:lnTo>
                      <a:pt x="555952" y="163545"/>
                    </a:lnTo>
                    <a:lnTo>
                      <a:pt x="559855" y="49089"/>
                    </a:lnTo>
                    <a:cubicBezTo>
                      <a:pt x="560334" y="35063"/>
                      <a:pt x="566452" y="22560"/>
                      <a:pt x="575956" y="13682"/>
                    </a:cubicBezTo>
                    <a:cubicBezTo>
                      <a:pt x="585461" y="4804"/>
                      <a:pt x="598353" y="-448"/>
                      <a:pt x="612379" y="30"/>
                    </a:cubicBezTo>
                    <a:lnTo>
                      <a:pt x="717795" y="3626"/>
                    </a:lnTo>
                    <a:cubicBezTo>
                      <a:pt x="745845" y="4583"/>
                      <a:pt x="767810" y="28098"/>
                      <a:pt x="766853" y="56150"/>
                    </a:cubicBezTo>
                    <a:lnTo>
                      <a:pt x="763058" y="167432"/>
                    </a:lnTo>
                    <a:lnTo>
                      <a:pt x="778804" y="170762"/>
                    </a:lnTo>
                    <a:lnTo>
                      <a:pt x="824298" y="65372"/>
                    </a:lnTo>
                    <a:cubicBezTo>
                      <a:pt x="835423" y="39604"/>
                      <a:pt x="865329" y="27732"/>
                      <a:pt x="891098" y="38856"/>
                    </a:cubicBezTo>
                    <a:lnTo>
                      <a:pt x="987939" y="80661"/>
                    </a:lnTo>
                    <a:cubicBezTo>
                      <a:pt x="1013708" y="91785"/>
                      <a:pt x="1025580" y="121692"/>
                      <a:pt x="1014455" y="147460"/>
                    </a:cubicBezTo>
                    <a:lnTo>
                      <a:pt x="963838" y="264716"/>
                    </a:lnTo>
                    <a:lnTo>
                      <a:pt x="1004698" y="303260"/>
                    </a:lnTo>
                    <a:lnTo>
                      <a:pt x="1096803" y="236512"/>
                    </a:lnTo>
                    <a:cubicBezTo>
                      <a:pt x="1119531" y="220043"/>
                      <a:pt x="1151305" y="225115"/>
                      <a:pt x="1167775" y="247842"/>
                    </a:cubicBezTo>
                    <a:lnTo>
                      <a:pt x="1229669" y="333252"/>
                    </a:lnTo>
                    <a:cubicBezTo>
                      <a:pt x="1246139" y="355979"/>
                      <a:pt x="1241067" y="387754"/>
                      <a:pt x="1218339" y="404223"/>
                    </a:cubicBezTo>
                    <a:lnTo>
                      <a:pt x="1114924" y="479166"/>
                    </a:lnTo>
                    <a:lnTo>
                      <a:pt x="1118015" y="489983"/>
                    </a:lnTo>
                    <a:lnTo>
                      <a:pt x="1128638" y="522191"/>
                    </a:lnTo>
                    <a:lnTo>
                      <a:pt x="1241513" y="519465"/>
                    </a:lnTo>
                    <a:cubicBezTo>
                      <a:pt x="1269572" y="518787"/>
                      <a:pt x="1292868" y="540983"/>
                      <a:pt x="1293546" y="569042"/>
                    </a:cubicBezTo>
                    <a:lnTo>
                      <a:pt x="1296094" y="674489"/>
                    </a:lnTo>
                    <a:cubicBezTo>
                      <a:pt x="1296773" y="702548"/>
                      <a:pt x="1274576" y="725844"/>
                      <a:pt x="1246516" y="726522"/>
                    </a:cubicBezTo>
                    <a:lnTo>
                      <a:pt x="1138094" y="729141"/>
                    </a:lnTo>
                    <a:lnTo>
                      <a:pt x="1133867" y="744886"/>
                    </a:lnTo>
                    <a:lnTo>
                      <a:pt x="1125064" y="784697"/>
                    </a:lnTo>
                    <a:lnTo>
                      <a:pt x="1223492" y="840017"/>
                    </a:lnTo>
                    <a:cubicBezTo>
                      <a:pt x="1247959" y="853768"/>
                      <a:pt x="1256647" y="884750"/>
                      <a:pt x="1242896" y="909218"/>
                    </a:cubicBezTo>
                    <a:lnTo>
                      <a:pt x="1191218" y="1001169"/>
                    </a:lnTo>
                    <a:cubicBezTo>
                      <a:pt x="1177467" y="1025637"/>
                      <a:pt x="1146484" y="1034324"/>
                      <a:pt x="1122016" y="1020573"/>
                    </a:cubicBezTo>
                    <a:lnTo>
                      <a:pt x="1027471" y="967436"/>
                    </a:lnTo>
                    <a:lnTo>
                      <a:pt x="987438" y="1006435"/>
                    </a:lnTo>
                    <a:lnTo>
                      <a:pt x="1034590" y="1119587"/>
                    </a:lnTo>
                    <a:cubicBezTo>
                      <a:pt x="1045387" y="1145494"/>
                      <a:pt x="1033136" y="1175248"/>
                      <a:pt x="1007228" y="1186045"/>
                    </a:cubicBezTo>
                    <a:lnTo>
                      <a:pt x="909865" y="1226616"/>
                    </a:lnTo>
                    <a:cubicBezTo>
                      <a:pt x="883957" y="1237411"/>
                      <a:pt x="854202" y="1225160"/>
                      <a:pt x="843407" y="1199253"/>
                    </a:cubicBezTo>
                    <a:lnTo>
                      <a:pt x="808203" y="1114771"/>
                    </a:lnTo>
                    <a:lnTo>
                      <a:pt x="756458" y="1127741"/>
                    </a:lnTo>
                    <a:lnTo>
                      <a:pt x="739030" y="1250213"/>
                    </a:lnTo>
                    <a:cubicBezTo>
                      <a:pt x="735077" y="1278000"/>
                      <a:pt x="709345" y="1297320"/>
                      <a:pt x="681557" y="1293366"/>
                    </a:cubicBezTo>
                    <a:lnTo>
                      <a:pt x="577132" y="1278505"/>
                    </a:lnTo>
                    <a:cubicBezTo>
                      <a:pt x="549345" y="1274550"/>
                      <a:pt x="530024" y="1248818"/>
                      <a:pt x="533979" y="1221032"/>
                    </a:cubicBezTo>
                    <a:lnTo>
                      <a:pt x="547230" y="1127913"/>
                    </a:lnTo>
                    <a:lnTo>
                      <a:pt x="475304" y="1105535"/>
                    </a:lnTo>
                    <a:lnTo>
                      <a:pt x="416016" y="1196081"/>
                    </a:lnTo>
                    <a:cubicBezTo>
                      <a:pt x="400640" y="1219563"/>
                      <a:pt x="369142" y="1226134"/>
                      <a:pt x="345660" y="1210759"/>
                    </a:cubicBezTo>
                    <a:lnTo>
                      <a:pt x="257416" y="1152979"/>
                    </a:lnTo>
                    <a:cubicBezTo>
                      <a:pt x="233934" y="1137603"/>
                      <a:pt x="227362" y="1106105"/>
                      <a:pt x="242738" y="1082622"/>
                    </a:cubicBezTo>
                    <a:lnTo>
                      <a:pt x="302953" y="990659"/>
                    </a:lnTo>
                    <a:lnTo>
                      <a:pt x="298482" y="985429"/>
                    </a:lnTo>
                    <a:lnTo>
                      <a:pt x="266931" y="951673"/>
                    </a:lnTo>
                    <a:lnTo>
                      <a:pt x="168186" y="999969"/>
                    </a:lnTo>
                    <a:cubicBezTo>
                      <a:pt x="142972" y="1012301"/>
                      <a:pt x="112537" y="1001858"/>
                      <a:pt x="100205" y="976645"/>
                    </a:cubicBezTo>
                    <a:lnTo>
                      <a:pt x="53862" y="881893"/>
                    </a:lnTo>
                    <a:cubicBezTo>
                      <a:pt x="41530" y="856679"/>
                      <a:pt x="51972" y="826244"/>
                      <a:pt x="77186" y="813912"/>
                    </a:cubicBezTo>
                    <a:lnTo>
                      <a:pt x="175931" y="765616"/>
                    </a:lnTo>
                    <a:lnTo>
                      <a:pt x="171615" y="740645"/>
                    </a:lnTo>
                    <a:lnTo>
                      <a:pt x="60401" y="747473"/>
                    </a:lnTo>
                    <a:cubicBezTo>
                      <a:pt x="32387" y="749193"/>
                      <a:pt x="8283" y="727878"/>
                      <a:pt x="6563" y="699863"/>
                    </a:cubicBezTo>
                    <a:lnTo>
                      <a:pt x="97" y="594583"/>
                    </a:lnTo>
                    <a:cubicBezTo>
                      <a:pt x="-1622" y="566569"/>
                      <a:pt x="19693" y="542465"/>
                      <a:pt x="47708" y="540745"/>
                    </a:cubicBezTo>
                    <a:lnTo>
                      <a:pt x="173063" y="533049"/>
                    </a:lnTo>
                    <a:lnTo>
                      <a:pt x="189336" y="482867"/>
                    </a:lnTo>
                    <a:lnTo>
                      <a:pt x="91651" y="432648"/>
                    </a:lnTo>
                    <a:cubicBezTo>
                      <a:pt x="66689" y="419815"/>
                      <a:pt x="56857" y="389177"/>
                      <a:pt x="69690" y="364215"/>
                    </a:cubicBezTo>
                    <a:lnTo>
                      <a:pt x="117915" y="270407"/>
                    </a:lnTo>
                    <a:cubicBezTo>
                      <a:pt x="130748" y="245445"/>
                      <a:pt x="161386" y="235613"/>
                      <a:pt x="186348" y="248446"/>
                    </a:cubicBezTo>
                    <a:lnTo>
                      <a:pt x="297575" y="305628"/>
                    </a:lnTo>
                    <a:lnTo>
                      <a:pt x="323036" y="280699"/>
                    </a:lnTo>
                    <a:lnTo>
                      <a:pt x="266956" y="178555"/>
                    </a:lnTo>
                    <a:cubicBezTo>
                      <a:pt x="260202" y="166253"/>
                      <a:pt x="259075" y="152379"/>
                      <a:pt x="262709" y="139892"/>
                    </a:cubicBezTo>
                    <a:cubicBezTo>
                      <a:pt x="266345" y="127404"/>
                      <a:pt x="274745" y="116303"/>
                      <a:pt x="287047" y="109549"/>
                    </a:cubicBezTo>
                    <a:close/>
                  </a:path>
                </a:pathLst>
              </a:custGeom>
              <a:grpFill/>
              <a:ln w="10795" cap="flat" cmpd="sng" algn="ctr">
                <a:noFill/>
                <a:prstDash val="solid"/>
              </a:ln>
              <a:effectLst/>
            </p:spPr>
            <p:txBody>
              <a:bodyPr wrap="square" rtlCol="0" anchor="ctr">
                <a:noAutofit/>
              </a:bodyPr>
              <a:lstStyle/>
              <a:p>
                <a:pPr algn="ctr" defTabSz="914224">
                  <a:defRPr/>
                </a:pPr>
                <a:endParaRPr lang="en-IN" sz="2000" kern="0" err="1">
                  <a:solidFill>
                    <a:srgbClr val="505050"/>
                  </a:solidFill>
                </a:endParaRPr>
              </a:p>
            </p:txBody>
          </p:sp>
          <p:sp>
            <p:nvSpPr>
              <p:cNvPr id="491" name="Freeform 490"/>
              <p:cNvSpPr/>
              <p:nvPr/>
            </p:nvSpPr>
            <p:spPr bwMode="auto">
              <a:xfrm rot="2952883">
                <a:off x="6784327" y="2329492"/>
                <a:ext cx="471427" cy="470617"/>
              </a:xfrm>
              <a:custGeom>
                <a:avLst/>
                <a:gdLst>
                  <a:gd name="connsiteX0" fmla="*/ 534897 w 1296109"/>
                  <a:gd name="connsiteY0" fmla="*/ 456519 h 1293879"/>
                  <a:gd name="connsiteX1" fmla="*/ 457634 w 1296109"/>
                  <a:gd name="connsiteY1" fmla="*/ 760098 h 1293879"/>
                  <a:gd name="connsiteX2" fmla="*/ 761213 w 1296109"/>
                  <a:gd name="connsiteY2" fmla="*/ 837361 h 1293879"/>
                  <a:gd name="connsiteX3" fmla="*/ 838476 w 1296109"/>
                  <a:gd name="connsiteY3" fmla="*/ 533782 h 1293879"/>
                  <a:gd name="connsiteX4" fmla="*/ 534897 w 1296109"/>
                  <a:gd name="connsiteY4" fmla="*/ 456519 h 1293879"/>
                  <a:gd name="connsiteX5" fmla="*/ 287047 w 1296109"/>
                  <a:gd name="connsiteY5" fmla="*/ 109549 h 1293879"/>
                  <a:gd name="connsiteX6" fmla="*/ 379506 w 1296109"/>
                  <a:gd name="connsiteY6" fmla="*/ 58788 h 1293879"/>
                  <a:gd name="connsiteX7" fmla="*/ 448512 w 1296109"/>
                  <a:gd name="connsiteY7" fmla="*/ 78879 h 1293879"/>
                  <a:gd name="connsiteX8" fmla="*/ 502583 w 1296109"/>
                  <a:gd name="connsiteY8" fmla="*/ 177363 h 1293879"/>
                  <a:gd name="connsiteX9" fmla="*/ 555952 w 1296109"/>
                  <a:gd name="connsiteY9" fmla="*/ 163545 h 1293879"/>
                  <a:gd name="connsiteX10" fmla="*/ 559855 w 1296109"/>
                  <a:gd name="connsiteY10" fmla="*/ 49089 h 1293879"/>
                  <a:gd name="connsiteX11" fmla="*/ 575956 w 1296109"/>
                  <a:gd name="connsiteY11" fmla="*/ 13682 h 1293879"/>
                  <a:gd name="connsiteX12" fmla="*/ 612379 w 1296109"/>
                  <a:gd name="connsiteY12" fmla="*/ 30 h 1293879"/>
                  <a:gd name="connsiteX13" fmla="*/ 717795 w 1296109"/>
                  <a:gd name="connsiteY13" fmla="*/ 3626 h 1293879"/>
                  <a:gd name="connsiteX14" fmla="*/ 766853 w 1296109"/>
                  <a:gd name="connsiteY14" fmla="*/ 56150 h 1293879"/>
                  <a:gd name="connsiteX15" fmla="*/ 763058 w 1296109"/>
                  <a:gd name="connsiteY15" fmla="*/ 167432 h 1293879"/>
                  <a:gd name="connsiteX16" fmla="*/ 778804 w 1296109"/>
                  <a:gd name="connsiteY16" fmla="*/ 170762 h 1293879"/>
                  <a:gd name="connsiteX17" fmla="*/ 824298 w 1296109"/>
                  <a:gd name="connsiteY17" fmla="*/ 65372 h 1293879"/>
                  <a:gd name="connsiteX18" fmla="*/ 891098 w 1296109"/>
                  <a:gd name="connsiteY18" fmla="*/ 38856 h 1293879"/>
                  <a:gd name="connsiteX19" fmla="*/ 987939 w 1296109"/>
                  <a:gd name="connsiteY19" fmla="*/ 80661 h 1293879"/>
                  <a:gd name="connsiteX20" fmla="*/ 1014455 w 1296109"/>
                  <a:gd name="connsiteY20" fmla="*/ 147460 h 1293879"/>
                  <a:gd name="connsiteX21" fmla="*/ 963838 w 1296109"/>
                  <a:gd name="connsiteY21" fmla="*/ 264716 h 1293879"/>
                  <a:gd name="connsiteX22" fmla="*/ 1004698 w 1296109"/>
                  <a:gd name="connsiteY22" fmla="*/ 303260 h 1293879"/>
                  <a:gd name="connsiteX23" fmla="*/ 1096803 w 1296109"/>
                  <a:gd name="connsiteY23" fmla="*/ 236512 h 1293879"/>
                  <a:gd name="connsiteX24" fmla="*/ 1167775 w 1296109"/>
                  <a:gd name="connsiteY24" fmla="*/ 247842 h 1293879"/>
                  <a:gd name="connsiteX25" fmla="*/ 1229669 w 1296109"/>
                  <a:gd name="connsiteY25" fmla="*/ 333252 h 1293879"/>
                  <a:gd name="connsiteX26" fmla="*/ 1218339 w 1296109"/>
                  <a:gd name="connsiteY26" fmla="*/ 404223 h 1293879"/>
                  <a:gd name="connsiteX27" fmla="*/ 1114924 w 1296109"/>
                  <a:gd name="connsiteY27" fmla="*/ 479166 h 1293879"/>
                  <a:gd name="connsiteX28" fmla="*/ 1118015 w 1296109"/>
                  <a:gd name="connsiteY28" fmla="*/ 489983 h 1293879"/>
                  <a:gd name="connsiteX29" fmla="*/ 1128638 w 1296109"/>
                  <a:gd name="connsiteY29" fmla="*/ 522191 h 1293879"/>
                  <a:gd name="connsiteX30" fmla="*/ 1241513 w 1296109"/>
                  <a:gd name="connsiteY30" fmla="*/ 519465 h 1293879"/>
                  <a:gd name="connsiteX31" fmla="*/ 1293546 w 1296109"/>
                  <a:gd name="connsiteY31" fmla="*/ 569042 h 1293879"/>
                  <a:gd name="connsiteX32" fmla="*/ 1296094 w 1296109"/>
                  <a:gd name="connsiteY32" fmla="*/ 674489 h 1293879"/>
                  <a:gd name="connsiteX33" fmla="*/ 1246516 w 1296109"/>
                  <a:gd name="connsiteY33" fmla="*/ 726522 h 1293879"/>
                  <a:gd name="connsiteX34" fmla="*/ 1138094 w 1296109"/>
                  <a:gd name="connsiteY34" fmla="*/ 729141 h 1293879"/>
                  <a:gd name="connsiteX35" fmla="*/ 1133867 w 1296109"/>
                  <a:gd name="connsiteY35" fmla="*/ 744886 h 1293879"/>
                  <a:gd name="connsiteX36" fmla="*/ 1125064 w 1296109"/>
                  <a:gd name="connsiteY36" fmla="*/ 784697 h 1293879"/>
                  <a:gd name="connsiteX37" fmla="*/ 1223492 w 1296109"/>
                  <a:gd name="connsiteY37" fmla="*/ 840017 h 1293879"/>
                  <a:gd name="connsiteX38" fmla="*/ 1242896 w 1296109"/>
                  <a:gd name="connsiteY38" fmla="*/ 909218 h 1293879"/>
                  <a:gd name="connsiteX39" fmla="*/ 1191218 w 1296109"/>
                  <a:gd name="connsiteY39" fmla="*/ 1001169 h 1293879"/>
                  <a:gd name="connsiteX40" fmla="*/ 1122016 w 1296109"/>
                  <a:gd name="connsiteY40" fmla="*/ 1020573 h 1293879"/>
                  <a:gd name="connsiteX41" fmla="*/ 1027471 w 1296109"/>
                  <a:gd name="connsiteY41" fmla="*/ 967436 h 1293879"/>
                  <a:gd name="connsiteX42" fmla="*/ 987438 w 1296109"/>
                  <a:gd name="connsiteY42" fmla="*/ 1006435 h 1293879"/>
                  <a:gd name="connsiteX43" fmla="*/ 1034590 w 1296109"/>
                  <a:gd name="connsiteY43" fmla="*/ 1119587 h 1293879"/>
                  <a:gd name="connsiteX44" fmla="*/ 1007228 w 1296109"/>
                  <a:gd name="connsiteY44" fmla="*/ 1186045 h 1293879"/>
                  <a:gd name="connsiteX45" fmla="*/ 909865 w 1296109"/>
                  <a:gd name="connsiteY45" fmla="*/ 1226616 h 1293879"/>
                  <a:gd name="connsiteX46" fmla="*/ 843407 w 1296109"/>
                  <a:gd name="connsiteY46" fmla="*/ 1199253 h 1293879"/>
                  <a:gd name="connsiteX47" fmla="*/ 808203 w 1296109"/>
                  <a:gd name="connsiteY47" fmla="*/ 1114771 h 1293879"/>
                  <a:gd name="connsiteX48" fmla="*/ 756458 w 1296109"/>
                  <a:gd name="connsiteY48" fmla="*/ 1127741 h 1293879"/>
                  <a:gd name="connsiteX49" fmla="*/ 739030 w 1296109"/>
                  <a:gd name="connsiteY49" fmla="*/ 1250213 h 1293879"/>
                  <a:gd name="connsiteX50" fmla="*/ 681557 w 1296109"/>
                  <a:gd name="connsiteY50" fmla="*/ 1293366 h 1293879"/>
                  <a:gd name="connsiteX51" fmla="*/ 577132 w 1296109"/>
                  <a:gd name="connsiteY51" fmla="*/ 1278505 h 1293879"/>
                  <a:gd name="connsiteX52" fmla="*/ 533979 w 1296109"/>
                  <a:gd name="connsiteY52" fmla="*/ 1221032 h 1293879"/>
                  <a:gd name="connsiteX53" fmla="*/ 547230 w 1296109"/>
                  <a:gd name="connsiteY53" fmla="*/ 1127913 h 1293879"/>
                  <a:gd name="connsiteX54" fmla="*/ 475304 w 1296109"/>
                  <a:gd name="connsiteY54" fmla="*/ 1105535 h 1293879"/>
                  <a:gd name="connsiteX55" fmla="*/ 416016 w 1296109"/>
                  <a:gd name="connsiteY55" fmla="*/ 1196081 h 1293879"/>
                  <a:gd name="connsiteX56" fmla="*/ 345660 w 1296109"/>
                  <a:gd name="connsiteY56" fmla="*/ 1210759 h 1293879"/>
                  <a:gd name="connsiteX57" fmla="*/ 257416 w 1296109"/>
                  <a:gd name="connsiteY57" fmla="*/ 1152979 h 1293879"/>
                  <a:gd name="connsiteX58" fmla="*/ 242738 w 1296109"/>
                  <a:gd name="connsiteY58" fmla="*/ 1082622 h 1293879"/>
                  <a:gd name="connsiteX59" fmla="*/ 302953 w 1296109"/>
                  <a:gd name="connsiteY59" fmla="*/ 990659 h 1293879"/>
                  <a:gd name="connsiteX60" fmla="*/ 298482 w 1296109"/>
                  <a:gd name="connsiteY60" fmla="*/ 985429 h 1293879"/>
                  <a:gd name="connsiteX61" fmla="*/ 266931 w 1296109"/>
                  <a:gd name="connsiteY61" fmla="*/ 951673 h 1293879"/>
                  <a:gd name="connsiteX62" fmla="*/ 168186 w 1296109"/>
                  <a:gd name="connsiteY62" fmla="*/ 999969 h 1293879"/>
                  <a:gd name="connsiteX63" fmla="*/ 100205 w 1296109"/>
                  <a:gd name="connsiteY63" fmla="*/ 976645 h 1293879"/>
                  <a:gd name="connsiteX64" fmla="*/ 53862 w 1296109"/>
                  <a:gd name="connsiteY64" fmla="*/ 881893 h 1293879"/>
                  <a:gd name="connsiteX65" fmla="*/ 77186 w 1296109"/>
                  <a:gd name="connsiteY65" fmla="*/ 813912 h 1293879"/>
                  <a:gd name="connsiteX66" fmla="*/ 175931 w 1296109"/>
                  <a:gd name="connsiteY66" fmla="*/ 765616 h 1293879"/>
                  <a:gd name="connsiteX67" fmla="*/ 171615 w 1296109"/>
                  <a:gd name="connsiteY67" fmla="*/ 740645 h 1293879"/>
                  <a:gd name="connsiteX68" fmla="*/ 60401 w 1296109"/>
                  <a:gd name="connsiteY68" fmla="*/ 747473 h 1293879"/>
                  <a:gd name="connsiteX69" fmla="*/ 6563 w 1296109"/>
                  <a:gd name="connsiteY69" fmla="*/ 699863 h 1293879"/>
                  <a:gd name="connsiteX70" fmla="*/ 97 w 1296109"/>
                  <a:gd name="connsiteY70" fmla="*/ 594583 h 1293879"/>
                  <a:gd name="connsiteX71" fmla="*/ 47708 w 1296109"/>
                  <a:gd name="connsiteY71" fmla="*/ 540745 h 1293879"/>
                  <a:gd name="connsiteX72" fmla="*/ 173063 w 1296109"/>
                  <a:gd name="connsiteY72" fmla="*/ 533049 h 1293879"/>
                  <a:gd name="connsiteX73" fmla="*/ 189336 w 1296109"/>
                  <a:gd name="connsiteY73" fmla="*/ 482867 h 1293879"/>
                  <a:gd name="connsiteX74" fmla="*/ 91651 w 1296109"/>
                  <a:gd name="connsiteY74" fmla="*/ 432648 h 1293879"/>
                  <a:gd name="connsiteX75" fmla="*/ 69690 w 1296109"/>
                  <a:gd name="connsiteY75" fmla="*/ 364215 h 1293879"/>
                  <a:gd name="connsiteX76" fmla="*/ 117915 w 1296109"/>
                  <a:gd name="connsiteY76" fmla="*/ 270407 h 1293879"/>
                  <a:gd name="connsiteX77" fmla="*/ 186348 w 1296109"/>
                  <a:gd name="connsiteY77" fmla="*/ 248446 h 1293879"/>
                  <a:gd name="connsiteX78" fmla="*/ 297575 w 1296109"/>
                  <a:gd name="connsiteY78" fmla="*/ 305628 h 1293879"/>
                  <a:gd name="connsiteX79" fmla="*/ 323036 w 1296109"/>
                  <a:gd name="connsiteY79" fmla="*/ 280699 h 1293879"/>
                  <a:gd name="connsiteX80" fmla="*/ 266956 w 1296109"/>
                  <a:gd name="connsiteY80" fmla="*/ 178555 h 1293879"/>
                  <a:gd name="connsiteX81" fmla="*/ 262709 w 1296109"/>
                  <a:gd name="connsiteY81" fmla="*/ 139892 h 1293879"/>
                  <a:gd name="connsiteX82" fmla="*/ 287047 w 1296109"/>
                  <a:gd name="connsiteY82" fmla="*/ 109549 h 12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96109" h="1293879">
                    <a:moveTo>
                      <a:pt x="534897" y="456519"/>
                    </a:moveTo>
                    <a:cubicBezTo>
                      <a:pt x="429731" y="519014"/>
                      <a:pt x="395139" y="654931"/>
                      <a:pt x="457634" y="760098"/>
                    </a:cubicBezTo>
                    <a:cubicBezTo>
                      <a:pt x="520129" y="865264"/>
                      <a:pt x="656047" y="899856"/>
                      <a:pt x="761213" y="837361"/>
                    </a:cubicBezTo>
                    <a:cubicBezTo>
                      <a:pt x="866380" y="774865"/>
                      <a:pt x="900972" y="638948"/>
                      <a:pt x="838476" y="533782"/>
                    </a:cubicBezTo>
                    <a:cubicBezTo>
                      <a:pt x="775981" y="428615"/>
                      <a:pt x="640063" y="394023"/>
                      <a:pt x="534897" y="456519"/>
                    </a:cubicBezTo>
                    <a:close/>
                    <a:moveTo>
                      <a:pt x="287047" y="109549"/>
                    </a:moveTo>
                    <a:lnTo>
                      <a:pt x="379506" y="58788"/>
                    </a:lnTo>
                    <a:cubicBezTo>
                      <a:pt x="404109" y="45281"/>
                      <a:pt x="435004" y="54275"/>
                      <a:pt x="448512" y="78879"/>
                    </a:cubicBezTo>
                    <a:lnTo>
                      <a:pt x="502583" y="177363"/>
                    </a:lnTo>
                    <a:lnTo>
                      <a:pt x="555952" y="163545"/>
                    </a:lnTo>
                    <a:lnTo>
                      <a:pt x="559855" y="49089"/>
                    </a:lnTo>
                    <a:cubicBezTo>
                      <a:pt x="560334" y="35063"/>
                      <a:pt x="566452" y="22560"/>
                      <a:pt x="575956" y="13682"/>
                    </a:cubicBezTo>
                    <a:cubicBezTo>
                      <a:pt x="585461" y="4804"/>
                      <a:pt x="598353" y="-448"/>
                      <a:pt x="612379" y="30"/>
                    </a:cubicBezTo>
                    <a:lnTo>
                      <a:pt x="717795" y="3626"/>
                    </a:lnTo>
                    <a:cubicBezTo>
                      <a:pt x="745845" y="4583"/>
                      <a:pt x="767810" y="28098"/>
                      <a:pt x="766853" y="56150"/>
                    </a:cubicBezTo>
                    <a:lnTo>
                      <a:pt x="763058" y="167432"/>
                    </a:lnTo>
                    <a:lnTo>
                      <a:pt x="778804" y="170762"/>
                    </a:lnTo>
                    <a:lnTo>
                      <a:pt x="824298" y="65372"/>
                    </a:lnTo>
                    <a:cubicBezTo>
                      <a:pt x="835423" y="39604"/>
                      <a:pt x="865329" y="27732"/>
                      <a:pt x="891098" y="38856"/>
                    </a:cubicBezTo>
                    <a:lnTo>
                      <a:pt x="987939" y="80661"/>
                    </a:lnTo>
                    <a:cubicBezTo>
                      <a:pt x="1013708" y="91785"/>
                      <a:pt x="1025580" y="121692"/>
                      <a:pt x="1014455" y="147460"/>
                    </a:cubicBezTo>
                    <a:lnTo>
                      <a:pt x="963838" y="264716"/>
                    </a:lnTo>
                    <a:lnTo>
                      <a:pt x="1004698" y="303260"/>
                    </a:lnTo>
                    <a:lnTo>
                      <a:pt x="1096803" y="236512"/>
                    </a:lnTo>
                    <a:cubicBezTo>
                      <a:pt x="1119531" y="220043"/>
                      <a:pt x="1151305" y="225115"/>
                      <a:pt x="1167775" y="247842"/>
                    </a:cubicBezTo>
                    <a:lnTo>
                      <a:pt x="1229669" y="333252"/>
                    </a:lnTo>
                    <a:cubicBezTo>
                      <a:pt x="1246139" y="355979"/>
                      <a:pt x="1241067" y="387754"/>
                      <a:pt x="1218339" y="404223"/>
                    </a:cubicBezTo>
                    <a:lnTo>
                      <a:pt x="1114924" y="479166"/>
                    </a:lnTo>
                    <a:lnTo>
                      <a:pt x="1118015" y="489983"/>
                    </a:lnTo>
                    <a:lnTo>
                      <a:pt x="1128638" y="522191"/>
                    </a:lnTo>
                    <a:lnTo>
                      <a:pt x="1241513" y="519465"/>
                    </a:lnTo>
                    <a:cubicBezTo>
                      <a:pt x="1269572" y="518787"/>
                      <a:pt x="1292868" y="540983"/>
                      <a:pt x="1293546" y="569042"/>
                    </a:cubicBezTo>
                    <a:lnTo>
                      <a:pt x="1296094" y="674489"/>
                    </a:lnTo>
                    <a:cubicBezTo>
                      <a:pt x="1296773" y="702548"/>
                      <a:pt x="1274576" y="725844"/>
                      <a:pt x="1246516" y="726522"/>
                    </a:cubicBezTo>
                    <a:lnTo>
                      <a:pt x="1138094" y="729141"/>
                    </a:lnTo>
                    <a:lnTo>
                      <a:pt x="1133867" y="744886"/>
                    </a:lnTo>
                    <a:lnTo>
                      <a:pt x="1125064" y="784697"/>
                    </a:lnTo>
                    <a:lnTo>
                      <a:pt x="1223492" y="840017"/>
                    </a:lnTo>
                    <a:cubicBezTo>
                      <a:pt x="1247959" y="853768"/>
                      <a:pt x="1256647" y="884750"/>
                      <a:pt x="1242896" y="909218"/>
                    </a:cubicBezTo>
                    <a:lnTo>
                      <a:pt x="1191218" y="1001169"/>
                    </a:lnTo>
                    <a:cubicBezTo>
                      <a:pt x="1177467" y="1025637"/>
                      <a:pt x="1146484" y="1034324"/>
                      <a:pt x="1122016" y="1020573"/>
                    </a:cubicBezTo>
                    <a:lnTo>
                      <a:pt x="1027471" y="967436"/>
                    </a:lnTo>
                    <a:lnTo>
                      <a:pt x="987438" y="1006435"/>
                    </a:lnTo>
                    <a:lnTo>
                      <a:pt x="1034590" y="1119587"/>
                    </a:lnTo>
                    <a:cubicBezTo>
                      <a:pt x="1045387" y="1145494"/>
                      <a:pt x="1033136" y="1175248"/>
                      <a:pt x="1007228" y="1186045"/>
                    </a:cubicBezTo>
                    <a:lnTo>
                      <a:pt x="909865" y="1226616"/>
                    </a:lnTo>
                    <a:cubicBezTo>
                      <a:pt x="883957" y="1237411"/>
                      <a:pt x="854202" y="1225160"/>
                      <a:pt x="843407" y="1199253"/>
                    </a:cubicBezTo>
                    <a:lnTo>
                      <a:pt x="808203" y="1114771"/>
                    </a:lnTo>
                    <a:lnTo>
                      <a:pt x="756458" y="1127741"/>
                    </a:lnTo>
                    <a:lnTo>
                      <a:pt x="739030" y="1250213"/>
                    </a:lnTo>
                    <a:cubicBezTo>
                      <a:pt x="735077" y="1278000"/>
                      <a:pt x="709345" y="1297320"/>
                      <a:pt x="681557" y="1293366"/>
                    </a:cubicBezTo>
                    <a:lnTo>
                      <a:pt x="577132" y="1278505"/>
                    </a:lnTo>
                    <a:cubicBezTo>
                      <a:pt x="549345" y="1274550"/>
                      <a:pt x="530024" y="1248818"/>
                      <a:pt x="533979" y="1221032"/>
                    </a:cubicBezTo>
                    <a:lnTo>
                      <a:pt x="547230" y="1127913"/>
                    </a:lnTo>
                    <a:lnTo>
                      <a:pt x="475304" y="1105535"/>
                    </a:lnTo>
                    <a:lnTo>
                      <a:pt x="416016" y="1196081"/>
                    </a:lnTo>
                    <a:cubicBezTo>
                      <a:pt x="400640" y="1219563"/>
                      <a:pt x="369142" y="1226134"/>
                      <a:pt x="345660" y="1210759"/>
                    </a:cubicBezTo>
                    <a:lnTo>
                      <a:pt x="257416" y="1152979"/>
                    </a:lnTo>
                    <a:cubicBezTo>
                      <a:pt x="233934" y="1137603"/>
                      <a:pt x="227362" y="1106105"/>
                      <a:pt x="242738" y="1082622"/>
                    </a:cubicBezTo>
                    <a:lnTo>
                      <a:pt x="302953" y="990659"/>
                    </a:lnTo>
                    <a:lnTo>
                      <a:pt x="298482" y="985429"/>
                    </a:lnTo>
                    <a:lnTo>
                      <a:pt x="266931" y="951673"/>
                    </a:lnTo>
                    <a:lnTo>
                      <a:pt x="168186" y="999969"/>
                    </a:lnTo>
                    <a:cubicBezTo>
                      <a:pt x="142972" y="1012301"/>
                      <a:pt x="112537" y="1001858"/>
                      <a:pt x="100205" y="976645"/>
                    </a:cubicBezTo>
                    <a:lnTo>
                      <a:pt x="53862" y="881893"/>
                    </a:lnTo>
                    <a:cubicBezTo>
                      <a:pt x="41530" y="856679"/>
                      <a:pt x="51972" y="826244"/>
                      <a:pt x="77186" y="813912"/>
                    </a:cubicBezTo>
                    <a:lnTo>
                      <a:pt x="175931" y="765616"/>
                    </a:lnTo>
                    <a:lnTo>
                      <a:pt x="171615" y="740645"/>
                    </a:lnTo>
                    <a:lnTo>
                      <a:pt x="60401" y="747473"/>
                    </a:lnTo>
                    <a:cubicBezTo>
                      <a:pt x="32387" y="749193"/>
                      <a:pt x="8283" y="727878"/>
                      <a:pt x="6563" y="699863"/>
                    </a:cubicBezTo>
                    <a:lnTo>
                      <a:pt x="97" y="594583"/>
                    </a:lnTo>
                    <a:cubicBezTo>
                      <a:pt x="-1622" y="566569"/>
                      <a:pt x="19693" y="542465"/>
                      <a:pt x="47708" y="540745"/>
                    </a:cubicBezTo>
                    <a:lnTo>
                      <a:pt x="173063" y="533049"/>
                    </a:lnTo>
                    <a:lnTo>
                      <a:pt x="189336" y="482867"/>
                    </a:lnTo>
                    <a:lnTo>
                      <a:pt x="91651" y="432648"/>
                    </a:lnTo>
                    <a:cubicBezTo>
                      <a:pt x="66689" y="419815"/>
                      <a:pt x="56857" y="389177"/>
                      <a:pt x="69690" y="364215"/>
                    </a:cubicBezTo>
                    <a:lnTo>
                      <a:pt x="117915" y="270407"/>
                    </a:lnTo>
                    <a:cubicBezTo>
                      <a:pt x="130748" y="245445"/>
                      <a:pt x="161386" y="235613"/>
                      <a:pt x="186348" y="248446"/>
                    </a:cubicBezTo>
                    <a:lnTo>
                      <a:pt x="297575" y="305628"/>
                    </a:lnTo>
                    <a:lnTo>
                      <a:pt x="323036" y="280699"/>
                    </a:lnTo>
                    <a:lnTo>
                      <a:pt x="266956" y="178555"/>
                    </a:lnTo>
                    <a:cubicBezTo>
                      <a:pt x="260202" y="166253"/>
                      <a:pt x="259075" y="152379"/>
                      <a:pt x="262709" y="139892"/>
                    </a:cubicBezTo>
                    <a:cubicBezTo>
                      <a:pt x="266345" y="127404"/>
                      <a:pt x="274745" y="116303"/>
                      <a:pt x="287047" y="109549"/>
                    </a:cubicBezTo>
                    <a:close/>
                  </a:path>
                </a:pathLst>
              </a:custGeom>
              <a:grpFill/>
              <a:ln w="10795" cap="flat" cmpd="sng" algn="ctr">
                <a:noFill/>
                <a:prstDash val="solid"/>
              </a:ln>
              <a:effectLst/>
            </p:spPr>
            <p:txBody>
              <a:bodyPr wrap="square" rtlCol="0" anchor="ctr">
                <a:noAutofit/>
              </a:bodyPr>
              <a:lstStyle/>
              <a:p>
                <a:pPr algn="ctr" defTabSz="914224">
                  <a:defRPr/>
                </a:pPr>
                <a:endParaRPr lang="en-IN" sz="2000" kern="0" err="1">
                  <a:solidFill>
                    <a:srgbClr val="505050"/>
                  </a:solidFill>
                </a:endParaRPr>
              </a:p>
            </p:txBody>
          </p:sp>
        </p:grpSp>
        <p:sp>
          <p:nvSpPr>
            <p:cNvPr id="305" name="Freeform 33"/>
            <p:cNvSpPr>
              <a:spLocks noEditPoints="1"/>
            </p:cNvSpPr>
            <p:nvPr/>
          </p:nvSpPr>
          <p:spPr bwMode="auto">
            <a:xfrm>
              <a:off x="6230917" y="4534324"/>
              <a:ext cx="544348" cy="54434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06" name="Freeform 34"/>
            <p:cNvSpPr>
              <a:spLocks noEditPoints="1"/>
            </p:cNvSpPr>
            <p:nvPr/>
          </p:nvSpPr>
          <p:spPr bwMode="auto">
            <a:xfrm>
              <a:off x="7815521" y="5520404"/>
              <a:ext cx="794151" cy="79539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07" name="Freeform 32"/>
            <p:cNvSpPr>
              <a:spLocks noEditPoints="1"/>
            </p:cNvSpPr>
            <p:nvPr/>
          </p:nvSpPr>
          <p:spPr bwMode="auto">
            <a:xfrm>
              <a:off x="9141176" y="3572785"/>
              <a:ext cx="427628" cy="426294"/>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08" name="Freeform 7"/>
            <p:cNvSpPr>
              <a:spLocks noEditPoints="1"/>
            </p:cNvSpPr>
            <p:nvPr/>
          </p:nvSpPr>
          <p:spPr bwMode="auto">
            <a:xfrm>
              <a:off x="9547850" y="4169266"/>
              <a:ext cx="346564" cy="348342"/>
            </a:xfrm>
            <a:custGeom>
              <a:avLst/>
              <a:gdLst>
                <a:gd name="T0" fmla="*/ 106 w 109"/>
                <a:gd name="T1" fmla="*/ 67 h 110"/>
                <a:gd name="T2" fmla="*/ 91 w 109"/>
                <a:gd name="T3" fmla="*/ 57 h 110"/>
                <a:gd name="T4" fmla="*/ 91 w 109"/>
                <a:gd name="T5" fmla="*/ 57 h 110"/>
                <a:gd name="T6" fmla="*/ 90 w 109"/>
                <a:gd name="T7" fmla="*/ 48 h 110"/>
                <a:gd name="T8" fmla="*/ 91 w 109"/>
                <a:gd name="T9" fmla="*/ 48 h 110"/>
                <a:gd name="T10" fmla="*/ 104 w 109"/>
                <a:gd name="T11" fmla="*/ 37 h 110"/>
                <a:gd name="T12" fmla="*/ 106 w 109"/>
                <a:gd name="T13" fmla="*/ 30 h 110"/>
                <a:gd name="T14" fmla="*/ 99 w 109"/>
                <a:gd name="T15" fmla="*/ 27 h 110"/>
                <a:gd name="T16" fmla="*/ 82 w 109"/>
                <a:gd name="T17" fmla="*/ 31 h 110"/>
                <a:gd name="T18" fmla="*/ 82 w 109"/>
                <a:gd name="T19" fmla="*/ 31 h 110"/>
                <a:gd name="T20" fmla="*/ 75 w 109"/>
                <a:gd name="T21" fmla="*/ 25 h 110"/>
                <a:gd name="T22" fmla="*/ 75 w 109"/>
                <a:gd name="T23" fmla="*/ 24 h 110"/>
                <a:gd name="T24" fmla="*/ 77 w 109"/>
                <a:gd name="T25" fmla="*/ 7 h 110"/>
                <a:gd name="T26" fmla="*/ 73 w 109"/>
                <a:gd name="T27" fmla="*/ 1 h 110"/>
                <a:gd name="T28" fmla="*/ 66 w 109"/>
                <a:gd name="T29" fmla="*/ 3 h 110"/>
                <a:gd name="T30" fmla="*/ 57 w 109"/>
                <a:gd name="T31" fmla="*/ 18 h 110"/>
                <a:gd name="T32" fmla="*/ 57 w 109"/>
                <a:gd name="T33" fmla="*/ 18 h 110"/>
                <a:gd name="T34" fmla="*/ 48 w 109"/>
                <a:gd name="T35" fmla="*/ 19 h 110"/>
                <a:gd name="T36" fmla="*/ 47 w 109"/>
                <a:gd name="T37" fmla="*/ 18 h 110"/>
                <a:gd name="T38" fmla="*/ 37 w 109"/>
                <a:gd name="T39" fmla="*/ 5 h 110"/>
                <a:gd name="T40" fmla="*/ 29 w 109"/>
                <a:gd name="T41" fmla="*/ 3 h 110"/>
                <a:gd name="T42" fmla="*/ 26 w 109"/>
                <a:gd name="T43" fmla="*/ 10 h 110"/>
                <a:gd name="T44" fmla="*/ 30 w 109"/>
                <a:gd name="T45" fmla="*/ 27 h 110"/>
                <a:gd name="T46" fmla="*/ 30 w 109"/>
                <a:gd name="T47" fmla="*/ 27 h 110"/>
                <a:gd name="T48" fmla="*/ 24 w 109"/>
                <a:gd name="T49" fmla="*/ 34 h 110"/>
                <a:gd name="T50" fmla="*/ 24 w 109"/>
                <a:gd name="T51" fmla="*/ 34 h 110"/>
                <a:gd name="T52" fmla="*/ 7 w 109"/>
                <a:gd name="T53" fmla="*/ 32 h 110"/>
                <a:gd name="T54" fmla="*/ 0 w 109"/>
                <a:gd name="T55" fmla="*/ 36 h 110"/>
                <a:gd name="T56" fmla="*/ 3 w 109"/>
                <a:gd name="T57" fmla="*/ 43 h 110"/>
                <a:gd name="T58" fmla="*/ 17 w 109"/>
                <a:gd name="T59" fmla="*/ 52 h 110"/>
                <a:gd name="T60" fmla="*/ 18 w 109"/>
                <a:gd name="T61" fmla="*/ 62 h 110"/>
                <a:gd name="T62" fmla="*/ 5 w 109"/>
                <a:gd name="T63" fmla="*/ 73 h 110"/>
                <a:gd name="T64" fmla="*/ 3 w 109"/>
                <a:gd name="T65" fmla="*/ 80 h 110"/>
                <a:gd name="T66" fmla="*/ 10 w 109"/>
                <a:gd name="T67" fmla="*/ 83 h 110"/>
                <a:gd name="T68" fmla="*/ 26 w 109"/>
                <a:gd name="T69" fmla="*/ 79 h 110"/>
                <a:gd name="T70" fmla="*/ 34 w 109"/>
                <a:gd name="T71" fmla="*/ 86 h 110"/>
                <a:gd name="T72" fmla="*/ 32 w 109"/>
                <a:gd name="T73" fmla="*/ 102 h 110"/>
                <a:gd name="T74" fmla="*/ 36 w 109"/>
                <a:gd name="T75" fmla="*/ 109 h 110"/>
                <a:gd name="T76" fmla="*/ 43 w 109"/>
                <a:gd name="T77" fmla="*/ 106 h 110"/>
                <a:gd name="T78" fmla="*/ 51 w 109"/>
                <a:gd name="T79" fmla="*/ 92 h 110"/>
                <a:gd name="T80" fmla="*/ 62 w 109"/>
                <a:gd name="T81" fmla="*/ 91 h 110"/>
                <a:gd name="T82" fmla="*/ 72 w 109"/>
                <a:gd name="T83" fmla="*/ 104 h 110"/>
                <a:gd name="T84" fmla="*/ 79 w 109"/>
                <a:gd name="T85" fmla="*/ 106 h 110"/>
                <a:gd name="T86" fmla="*/ 82 w 109"/>
                <a:gd name="T87" fmla="*/ 99 h 110"/>
                <a:gd name="T88" fmla="*/ 79 w 109"/>
                <a:gd name="T89" fmla="*/ 83 h 110"/>
                <a:gd name="T90" fmla="*/ 85 w 109"/>
                <a:gd name="T91" fmla="*/ 75 h 110"/>
                <a:gd name="T92" fmla="*/ 102 w 109"/>
                <a:gd name="T93" fmla="*/ 77 h 110"/>
                <a:gd name="T94" fmla="*/ 108 w 109"/>
                <a:gd name="T95" fmla="*/ 73 h 110"/>
                <a:gd name="T96" fmla="*/ 106 w 109"/>
                <a:gd name="T97" fmla="*/ 67 h 110"/>
                <a:gd name="T98" fmla="*/ 46 w 109"/>
                <a:gd name="T99" fmla="*/ 78 h 110"/>
                <a:gd name="T100" fmla="*/ 32 w 109"/>
                <a:gd name="T101" fmla="*/ 47 h 110"/>
                <a:gd name="T102" fmla="*/ 62 w 109"/>
                <a:gd name="T103" fmla="*/ 33 h 110"/>
                <a:gd name="T104" fmla="*/ 77 w 109"/>
                <a:gd name="T105" fmla="*/ 63 h 110"/>
                <a:gd name="T106" fmla="*/ 46 w 109"/>
                <a:gd name="T107" fmla="*/ 7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110">
                  <a:moveTo>
                    <a:pt x="106" y="67"/>
                  </a:moveTo>
                  <a:cubicBezTo>
                    <a:pt x="91" y="57"/>
                    <a:pt x="91" y="57"/>
                    <a:pt x="91" y="57"/>
                  </a:cubicBezTo>
                  <a:cubicBezTo>
                    <a:pt x="91" y="57"/>
                    <a:pt x="91" y="57"/>
                    <a:pt x="91" y="57"/>
                  </a:cubicBezTo>
                  <a:cubicBezTo>
                    <a:pt x="91" y="54"/>
                    <a:pt x="91" y="51"/>
                    <a:pt x="90" y="48"/>
                  </a:cubicBezTo>
                  <a:cubicBezTo>
                    <a:pt x="91" y="48"/>
                    <a:pt x="91" y="48"/>
                    <a:pt x="91" y="48"/>
                  </a:cubicBezTo>
                  <a:cubicBezTo>
                    <a:pt x="104" y="37"/>
                    <a:pt x="104" y="37"/>
                    <a:pt x="104" y="37"/>
                  </a:cubicBezTo>
                  <a:cubicBezTo>
                    <a:pt x="106" y="35"/>
                    <a:pt x="107" y="32"/>
                    <a:pt x="106" y="30"/>
                  </a:cubicBezTo>
                  <a:cubicBezTo>
                    <a:pt x="105" y="27"/>
                    <a:pt x="102" y="26"/>
                    <a:pt x="99" y="27"/>
                  </a:cubicBezTo>
                  <a:cubicBezTo>
                    <a:pt x="82" y="31"/>
                    <a:pt x="82" y="31"/>
                    <a:pt x="82" y="31"/>
                  </a:cubicBezTo>
                  <a:cubicBezTo>
                    <a:pt x="82" y="31"/>
                    <a:pt x="82" y="31"/>
                    <a:pt x="82" y="31"/>
                  </a:cubicBezTo>
                  <a:cubicBezTo>
                    <a:pt x="80" y="28"/>
                    <a:pt x="78" y="26"/>
                    <a:pt x="75" y="25"/>
                  </a:cubicBezTo>
                  <a:cubicBezTo>
                    <a:pt x="75" y="24"/>
                    <a:pt x="75" y="24"/>
                    <a:pt x="75" y="24"/>
                  </a:cubicBezTo>
                  <a:cubicBezTo>
                    <a:pt x="77" y="7"/>
                    <a:pt x="77" y="7"/>
                    <a:pt x="77" y="7"/>
                  </a:cubicBezTo>
                  <a:cubicBezTo>
                    <a:pt x="77" y="4"/>
                    <a:pt x="76" y="2"/>
                    <a:pt x="73" y="1"/>
                  </a:cubicBezTo>
                  <a:cubicBezTo>
                    <a:pt x="71" y="0"/>
                    <a:pt x="68" y="1"/>
                    <a:pt x="66" y="3"/>
                  </a:cubicBezTo>
                  <a:cubicBezTo>
                    <a:pt x="57" y="18"/>
                    <a:pt x="57" y="18"/>
                    <a:pt x="57" y="18"/>
                  </a:cubicBezTo>
                  <a:cubicBezTo>
                    <a:pt x="57" y="18"/>
                    <a:pt x="57" y="18"/>
                    <a:pt x="57" y="18"/>
                  </a:cubicBezTo>
                  <a:cubicBezTo>
                    <a:pt x="54" y="18"/>
                    <a:pt x="51" y="18"/>
                    <a:pt x="48" y="19"/>
                  </a:cubicBezTo>
                  <a:cubicBezTo>
                    <a:pt x="47" y="19"/>
                    <a:pt x="47" y="19"/>
                    <a:pt x="47" y="18"/>
                  </a:cubicBezTo>
                  <a:cubicBezTo>
                    <a:pt x="37" y="5"/>
                    <a:pt x="37" y="5"/>
                    <a:pt x="37" y="5"/>
                  </a:cubicBezTo>
                  <a:cubicBezTo>
                    <a:pt x="35" y="3"/>
                    <a:pt x="32" y="2"/>
                    <a:pt x="29" y="3"/>
                  </a:cubicBezTo>
                  <a:cubicBezTo>
                    <a:pt x="27" y="5"/>
                    <a:pt x="26" y="7"/>
                    <a:pt x="26" y="10"/>
                  </a:cubicBezTo>
                  <a:cubicBezTo>
                    <a:pt x="30" y="27"/>
                    <a:pt x="30" y="27"/>
                    <a:pt x="30" y="27"/>
                  </a:cubicBezTo>
                  <a:cubicBezTo>
                    <a:pt x="30" y="27"/>
                    <a:pt x="30" y="27"/>
                    <a:pt x="30" y="27"/>
                  </a:cubicBezTo>
                  <a:cubicBezTo>
                    <a:pt x="28" y="29"/>
                    <a:pt x="26" y="31"/>
                    <a:pt x="24" y="34"/>
                  </a:cubicBezTo>
                  <a:cubicBezTo>
                    <a:pt x="24" y="34"/>
                    <a:pt x="24" y="34"/>
                    <a:pt x="24" y="34"/>
                  </a:cubicBezTo>
                  <a:cubicBezTo>
                    <a:pt x="7" y="32"/>
                    <a:pt x="7" y="32"/>
                    <a:pt x="7" y="32"/>
                  </a:cubicBezTo>
                  <a:cubicBezTo>
                    <a:pt x="4" y="32"/>
                    <a:pt x="1" y="34"/>
                    <a:pt x="0" y="36"/>
                  </a:cubicBezTo>
                  <a:cubicBezTo>
                    <a:pt x="0" y="38"/>
                    <a:pt x="1" y="42"/>
                    <a:pt x="3" y="43"/>
                  </a:cubicBezTo>
                  <a:cubicBezTo>
                    <a:pt x="17" y="52"/>
                    <a:pt x="17" y="52"/>
                    <a:pt x="17" y="52"/>
                  </a:cubicBezTo>
                  <a:cubicBezTo>
                    <a:pt x="17" y="55"/>
                    <a:pt x="17" y="59"/>
                    <a:pt x="18" y="62"/>
                  </a:cubicBezTo>
                  <a:cubicBezTo>
                    <a:pt x="5" y="73"/>
                    <a:pt x="5" y="73"/>
                    <a:pt x="5" y="73"/>
                  </a:cubicBezTo>
                  <a:cubicBezTo>
                    <a:pt x="3" y="74"/>
                    <a:pt x="2" y="77"/>
                    <a:pt x="3" y="80"/>
                  </a:cubicBezTo>
                  <a:cubicBezTo>
                    <a:pt x="4" y="82"/>
                    <a:pt x="7" y="83"/>
                    <a:pt x="10" y="83"/>
                  </a:cubicBezTo>
                  <a:cubicBezTo>
                    <a:pt x="26" y="79"/>
                    <a:pt x="26" y="79"/>
                    <a:pt x="26" y="79"/>
                  </a:cubicBezTo>
                  <a:cubicBezTo>
                    <a:pt x="28" y="82"/>
                    <a:pt x="31" y="84"/>
                    <a:pt x="34" y="86"/>
                  </a:cubicBezTo>
                  <a:cubicBezTo>
                    <a:pt x="32" y="102"/>
                    <a:pt x="32" y="102"/>
                    <a:pt x="32" y="102"/>
                  </a:cubicBezTo>
                  <a:cubicBezTo>
                    <a:pt x="32" y="105"/>
                    <a:pt x="33" y="108"/>
                    <a:pt x="36" y="109"/>
                  </a:cubicBezTo>
                  <a:cubicBezTo>
                    <a:pt x="38" y="110"/>
                    <a:pt x="41" y="108"/>
                    <a:pt x="43" y="106"/>
                  </a:cubicBezTo>
                  <a:cubicBezTo>
                    <a:pt x="51" y="92"/>
                    <a:pt x="51" y="92"/>
                    <a:pt x="51" y="92"/>
                  </a:cubicBezTo>
                  <a:cubicBezTo>
                    <a:pt x="55" y="92"/>
                    <a:pt x="58" y="92"/>
                    <a:pt x="62" y="91"/>
                  </a:cubicBezTo>
                  <a:cubicBezTo>
                    <a:pt x="72" y="104"/>
                    <a:pt x="72" y="104"/>
                    <a:pt x="72" y="104"/>
                  </a:cubicBezTo>
                  <a:cubicBezTo>
                    <a:pt x="74" y="106"/>
                    <a:pt x="77" y="107"/>
                    <a:pt x="79" y="106"/>
                  </a:cubicBezTo>
                  <a:cubicBezTo>
                    <a:pt x="82" y="105"/>
                    <a:pt x="83" y="102"/>
                    <a:pt x="82" y="99"/>
                  </a:cubicBezTo>
                  <a:cubicBezTo>
                    <a:pt x="79" y="83"/>
                    <a:pt x="79" y="83"/>
                    <a:pt x="79" y="83"/>
                  </a:cubicBezTo>
                  <a:cubicBezTo>
                    <a:pt x="81" y="81"/>
                    <a:pt x="83" y="78"/>
                    <a:pt x="85" y="75"/>
                  </a:cubicBezTo>
                  <a:cubicBezTo>
                    <a:pt x="102" y="77"/>
                    <a:pt x="102" y="77"/>
                    <a:pt x="102" y="77"/>
                  </a:cubicBezTo>
                  <a:cubicBezTo>
                    <a:pt x="105" y="78"/>
                    <a:pt x="107" y="76"/>
                    <a:pt x="108" y="73"/>
                  </a:cubicBezTo>
                  <a:cubicBezTo>
                    <a:pt x="109" y="71"/>
                    <a:pt x="108" y="68"/>
                    <a:pt x="106" y="67"/>
                  </a:cubicBezTo>
                  <a:close/>
                  <a:moveTo>
                    <a:pt x="46" y="78"/>
                  </a:moveTo>
                  <a:cubicBezTo>
                    <a:pt x="34" y="73"/>
                    <a:pt x="28" y="60"/>
                    <a:pt x="32" y="47"/>
                  </a:cubicBezTo>
                  <a:cubicBezTo>
                    <a:pt x="36" y="35"/>
                    <a:pt x="50" y="28"/>
                    <a:pt x="62" y="33"/>
                  </a:cubicBezTo>
                  <a:cubicBezTo>
                    <a:pt x="74" y="37"/>
                    <a:pt x="81" y="50"/>
                    <a:pt x="77" y="63"/>
                  </a:cubicBezTo>
                  <a:cubicBezTo>
                    <a:pt x="72" y="75"/>
                    <a:pt x="59" y="82"/>
                    <a:pt x="46" y="78"/>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grpSp>
          <p:nvGrpSpPr>
            <p:cNvPr id="309" name="Group 308"/>
            <p:cNvGrpSpPr/>
            <p:nvPr/>
          </p:nvGrpSpPr>
          <p:grpSpPr>
            <a:xfrm>
              <a:off x="11016919" y="2536541"/>
              <a:ext cx="802433" cy="1881715"/>
              <a:chOff x="11016919" y="2910093"/>
              <a:chExt cx="802433" cy="1881715"/>
            </a:xfrm>
          </p:grpSpPr>
          <p:sp>
            <p:nvSpPr>
              <p:cNvPr id="488" name="Freeform 487"/>
              <p:cNvSpPr/>
              <p:nvPr/>
            </p:nvSpPr>
            <p:spPr bwMode="auto">
              <a:xfrm>
                <a:off x="11016919" y="2910393"/>
                <a:ext cx="802433" cy="1881415"/>
              </a:xfrm>
              <a:custGeom>
                <a:avLst/>
                <a:gdLst>
                  <a:gd name="connsiteX0" fmla="*/ 186612 w 858416"/>
                  <a:gd name="connsiteY0" fmla="*/ 18661 h 1894115"/>
                  <a:gd name="connsiteX1" fmla="*/ 0 w 858416"/>
                  <a:gd name="connsiteY1" fmla="*/ 578498 h 1894115"/>
                  <a:gd name="connsiteX2" fmla="*/ 177282 w 858416"/>
                  <a:gd name="connsiteY2" fmla="*/ 410547 h 1894115"/>
                  <a:gd name="connsiteX3" fmla="*/ 93306 w 858416"/>
                  <a:gd name="connsiteY3" fmla="*/ 830425 h 1894115"/>
                  <a:gd name="connsiteX4" fmla="*/ 205273 w 858416"/>
                  <a:gd name="connsiteY4" fmla="*/ 662474 h 1894115"/>
                  <a:gd name="connsiteX5" fmla="*/ 382555 w 858416"/>
                  <a:gd name="connsiteY5" fmla="*/ 1894115 h 1894115"/>
                  <a:gd name="connsiteX6" fmla="*/ 457200 w 858416"/>
                  <a:gd name="connsiteY6" fmla="*/ 886408 h 1894115"/>
                  <a:gd name="connsiteX7" fmla="*/ 531845 w 858416"/>
                  <a:gd name="connsiteY7" fmla="*/ 1240972 h 1894115"/>
                  <a:gd name="connsiteX8" fmla="*/ 587828 w 858416"/>
                  <a:gd name="connsiteY8" fmla="*/ 709127 h 1894115"/>
                  <a:gd name="connsiteX9" fmla="*/ 858416 w 858416"/>
                  <a:gd name="connsiteY9" fmla="*/ 961053 h 1894115"/>
                  <a:gd name="connsiteX10" fmla="*/ 690465 w 858416"/>
                  <a:gd name="connsiteY10" fmla="*/ 578498 h 1894115"/>
                  <a:gd name="connsiteX11" fmla="*/ 802433 w 858416"/>
                  <a:gd name="connsiteY11" fmla="*/ 653143 h 1894115"/>
                  <a:gd name="connsiteX12" fmla="*/ 587828 w 858416"/>
                  <a:gd name="connsiteY12" fmla="*/ 0 h 1894115"/>
                  <a:gd name="connsiteX13" fmla="*/ 186612 w 858416"/>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886408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513183 w 802433"/>
                  <a:gd name="connsiteY6" fmla="*/ 989044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25151 w 802433"/>
                  <a:gd name="connsiteY7" fmla="*/ 1228272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433" h="1881415">
                    <a:moveTo>
                      <a:pt x="186612" y="5961"/>
                    </a:moveTo>
                    <a:lnTo>
                      <a:pt x="0" y="565798"/>
                    </a:lnTo>
                    <a:lnTo>
                      <a:pt x="177282" y="397847"/>
                    </a:lnTo>
                    <a:lnTo>
                      <a:pt x="93306" y="817725"/>
                    </a:lnTo>
                    <a:lnTo>
                      <a:pt x="205273" y="649774"/>
                    </a:lnTo>
                    <a:lnTo>
                      <a:pt x="382555" y="1881415"/>
                    </a:lnTo>
                    <a:lnTo>
                      <a:pt x="513183" y="976344"/>
                    </a:lnTo>
                    <a:lnTo>
                      <a:pt x="625151" y="1228272"/>
                    </a:lnTo>
                    <a:lnTo>
                      <a:pt x="587828" y="696427"/>
                    </a:lnTo>
                    <a:lnTo>
                      <a:pt x="755780" y="1022998"/>
                    </a:lnTo>
                    <a:lnTo>
                      <a:pt x="690465" y="565798"/>
                    </a:lnTo>
                    <a:lnTo>
                      <a:pt x="802433" y="640443"/>
                    </a:lnTo>
                    <a:lnTo>
                      <a:pt x="594178" y="0"/>
                    </a:lnTo>
                    <a:lnTo>
                      <a:pt x="186612" y="5961"/>
                    </a:lnTo>
                    <a:close/>
                  </a:path>
                </a:pathLst>
              </a:cu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9" name="Freeform 488"/>
              <p:cNvSpPr/>
              <p:nvPr/>
            </p:nvSpPr>
            <p:spPr bwMode="auto">
              <a:xfrm>
                <a:off x="11135394" y="2910093"/>
                <a:ext cx="565481" cy="1259173"/>
              </a:xfrm>
              <a:custGeom>
                <a:avLst/>
                <a:gdLst>
                  <a:gd name="connsiteX0" fmla="*/ 186612 w 858416"/>
                  <a:gd name="connsiteY0" fmla="*/ 18661 h 1894115"/>
                  <a:gd name="connsiteX1" fmla="*/ 0 w 858416"/>
                  <a:gd name="connsiteY1" fmla="*/ 578498 h 1894115"/>
                  <a:gd name="connsiteX2" fmla="*/ 177282 w 858416"/>
                  <a:gd name="connsiteY2" fmla="*/ 410547 h 1894115"/>
                  <a:gd name="connsiteX3" fmla="*/ 93306 w 858416"/>
                  <a:gd name="connsiteY3" fmla="*/ 830425 h 1894115"/>
                  <a:gd name="connsiteX4" fmla="*/ 205273 w 858416"/>
                  <a:gd name="connsiteY4" fmla="*/ 662474 h 1894115"/>
                  <a:gd name="connsiteX5" fmla="*/ 382555 w 858416"/>
                  <a:gd name="connsiteY5" fmla="*/ 1894115 h 1894115"/>
                  <a:gd name="connsiteX6" fmla="*/ 457200 w 858416"/>
                  <a:gd name="connsiteY6" fmla="*/ 886408 h 1894115"/>
                  <a:gd name="connsiteX7" fmla="*/ 531845 w 858416"/>
                  <a:gd name="connsiteY7" fmla="*/ 1240972 h 1894115"/>
                  <a:gd name="connsiteX8" fmla="*/ 587828 w 858416"/>
                  <a:gd name="connsiteY8" fmla="*/ 709127 h 1894115"/>
                  <a:gd name="connsiteX9" fmla="*/ 858416 w 858416"/>
                  <a:gd name="connsiteY9" fmla="*/ 961053 h 1894115"/>
                  <a:gd name="connsiteX10" fmla="*/ 690465 w 858416"/>
                  <a:gd name="connsiteY10" fmla="*/ 578498 h 1894115"/>
                  <a:gd name="connsiteX11" fmla="*/ 802433 w 858416"/>
                  <a:gd name="connsiteY11" fmla="*/ 653143 h 1894115"/>
                  <a:gd name="connsiteX12" fmla="*/ 587828 w 858416"/>
                  <a:gd name="connsiteY12" fmla="*/ 0 h 1894115"/>
                  <a:gd name="connsiteX13" fmla="*/ 186612 w 858416"/>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886408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513183 w 802433"/>
                  <a:gd name="connsiteY6" fmla="*/ 989044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25151 w 802433"/>
                  <a:gd name="connsiteY7" fmla="*/ 1228272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72675 w 802433"/>
                  <a:gd name="connsiteY9" fmla="*/ 1002725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786801"/>
                  <a:gd name="connsiteX1" fmla="*/ 0 w 802433"/>
                  <a:gd name="connsiteY1" fmla="*/ 565798 h 1786801"/>
                  <a:gd name="connsiteX2" fmla="*/ 177282 w 802433"/>
                  <a:gd name="connsiteY2" fmla="*/ 397847 h 1786801"/>
                  <a:gd name="connsiteX3" fmla="*/ 93306 w 802433"/>
                  <a:gd name="connsiteY3" fmla="*/ 817725 h 1786801"/>
                  <a:gd name="connsiteX4" fmla="*/ 205273 w 802433"/>
                  <a:gd name="connsiteY4" fmla="*/ 649774 h 1786801"/>
                  <a:gd name="connsiteX5" fmla="*/ 385934 w 802433"/>
                  <a:gd name="connsiteY5" fmla="*/ 1786801 h 1786801"/>
                  <a:gd name="connsiteX6" fmla="*/ 479393 w 802433"/>
                  <a:gd name="connsiteY6" fmla="*/ 1057441 h 1786801"/>
                  <a:gd name="connsiteX7" fmla="*/ 594740 w 802433"/>
                  <a:gd name="connsiteY7" fmla="*/ 1201238 h 1786801"/>
                  <a:gd name="connsiteX8" fmla="*/ 587828 w 802433"/>
                  <a:gd name="connsiteY8" fmla="*/ 696427 h 1786801"/>
                  <a:gd name="connsiteX9" fmla="*/ 772675 w 802433"/>
                  <a:gd name="connsiteY9" fmla="*/ 1002725 h 1786801"/>
                  <a:gd name="connsiteX10" fmla="*/ 690465 w 802433"/>
                  <a:gd name="connsiteY10" fmla="*/ 565798 h 1786801"/>
                  <a:gd name="connsiteX11" fmla="*/ 802433 w 802433"/>
                  <a:gd name="connsiteY11" fmla="*/ 640443 h 1786801"/>
                  <a:gd name="connsiteX12" fmla="*/ 594178 w 802433"/>
                  <a:gd name="connsiteY12" fmla="*/ 0 h 1786801"/>
                  <a:gd name="connsiteX13" fmla="*/ 186612 w 802433"/>
                  <a:gd name="connsiteY13" fmla="*/ 5961 h 178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433" h="1786801">
                    <a:moveTo>
                      <a:pt x="186612" y="5961"/>
                    </a:moveTo>
                    <a:lnTo>
                      <a:pt x="0" y="565798"/>
                    </a:lnTo>
                    <a:lnTo>
                      <a:pt x="177282" y="397847"/>
                    </a:lnTo>
                    <a:lnTo>
                      <a:pt x="93306" y="817725"/>
                    </a:lnTo>
                    <a:lnTo>
                      <a:pt x="205273" y="649774"/>
                    </a:lnTo>
                    <a:lnTo>
                      <a:pt x="385934" y="1786801"/>
                    </a:lnTo>
                    <a:lnTo>
                      <a:pt x="479393" y="1057441"/>
                    </a:lnTo>
                    <a:lnTo>
                      <a:pt x="594740" y="1201238"/>
                    </a:lnTo>
                    <a:lnTo>
                      <a:pt x="587828" y="696427"/>
                    </a:lnTo>
                    <a:lnTo>
                      <a:pt x="772675" y="1002725"/>
                    </a:lnTo>
                    <a:lnTo>
                      <a:pt x="690465" y="565798"/>
                    </a:lnTo>
                    <a:lnTo>
                      <a:pt x="802433" y="640443"/>
                    </a:lnTo>
                    <a:lnTo>
                      <a:pt x="594178" y="0"/>
                    </a:lnTo>
                    <a:lnTo>
                      <a:pt x="186612" y="5961"/>
                    </a:lnTo>
                    <a:close/>
                  </a:path>
                </a:pathLst>
              </a:custGeom>
              <a:solidFill>
                <a:srgbClr val="D83B01">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0" name="Group 309"/>
            <p:cNvGrpSpPr/>
            <p:nvPr/>
          </p:nvGrpSpPr>
          <p:grpSpPr>
            <a:xfrm>
              <a:off x="10678408" y="1115686"/>
              <a:ext cx="1435010" cy="1757031"/>
              <a:chOff x="7826375" y="2217738"/>
              <a:chExt cx="1131888" cy="1385888"/>
            </a:xfrm>
            <a:solidFill>
              <a:srgbClr val="D83B01"/>
            </a:solidFill>
          </p:grpSpPr>
          <p:sp>
            <p:nvSpPr>
              <p:cNvPr id="481" name="Freeform 58"/>
              <p:cNvSpPr>
                <a:spLocks/>
              </p:cNvSpPr>
              <p:nvPr/>
            </p:nvSpPr>
            <p:spPr bwMode="auto">
              <a:xfrm>
                <a:off x="8656638" y="2935288"/>
                <a:ext cx="301625" cy="668338"/>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82" name="Freeform 59"/>
              <p:cNvSpPr>
                <a:spLocks/>
              </p:cNvSpPr>
              <p:nvPr/>
            </p:nvSpPr>
            <p:spPr bwMode="auto">
              <a:xfrm>
                <a:off x="7826375" y="2940051"/>
                <a:ext cx="298450" cy="663575"/>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83" name="Freeform 60"/>
              <p:cNvSpPr>
                <a:spLocks/>
              </p:cNvSpPr>
              <p:nvPr/>
            </p:nvSpPr>
            <p:spPr bwMode="auto">
              <a:xfrm>
                <a:off x="8350250" y="2914651"/>
                <a:ext cx="84138" cy="673100"/>
              </a:xfrm>
              <a:custGeom>
                <a:avLst/>
                <a:gdLst>
                  <a:gd name="T0" fmla="*/ 10 w 20"/>
                  <a:gd name="T1" fmla="*/ 0 h 161"/>
                  <a:gd name="T2" fmla="*/ 10 w 20"/>
                  <a:gd name="T3" fmla="*/ 0 h 161"/>
                  <a:gd name="T4" fmla="*/ 10 w 20"/>
                  <a:gd name="T5" fmla="*/ 0 h 161"/>
                  <a:gd name="T6" fmla="*/ 10 w 20"/>
                  <a:gd name="T7" fmla="*/ 0 h 161"/>
                  <a:gd name="T8" fmla="*/ 10 w 20"/>
                  <a:gd name="T9" fmla="*/ 0 h 161"/>
                  <a:gd name="T10" fmla="*/ 0 w 20"/>
                  <a:gd name="T11" fmla="*/ 11 h 161"/>
                  <a:gd name="T12" fmla="*/ 0 w 20"/>
                  <a:gd name="T13" fmla="*/ 149 h 161"/>
                  <a:gd name="T14" fmla="*/ 10 w 20"/>
                  <a:gd name="T15" fmla="*/ 161 h 161"/>
                  <a:gd name="T16" fmla="*/ 10 w 20"/>
                  <a:gd name="T17" fmla="*/ 161 h 161"/>
                  <a:gd name="T18" fmla="*/ 10 w 20"/>
                  <a:gd name="T19" fmla="*/ 161 h 161"/>
                  <a:gd name="T20" fmla="*/ 10 w 20"/>
                  <a:gd name="T21" fmla="*/ 161 h 161"/>
                  <a:gd name="T22" fmla="*/ 10 w 20"/>
                  <a:gd name="T23" fmla="*/ 161 h 161"/>
                  <a:gd name="T24" fmla="*/ 20 w 20"/>
                  <a:gd name="T25" fmla="*/ 149 h 161"/>
                  <a:gd name="T26" fmla="*/ 20 w 20"/>
                  <a:gd name="T27" fmla="*/ 11 h 161"/>
                  <a:gd name="T28" fmla="*/ 10 w 20"/>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1">
                    <a:moveTo>
                      <a:pt x="10" y="0"/>
                    </a:moveTo>
                    <a:cubicBezTo>
                      <a:pt x="10" y="0"/>
                      <a:pt x="10" y="0"/>
                      <a:pt x="10" y="0"/>
                    </a:cubicBezTo>
                    <a:cubicBezTo>
                      <a:pt x="10" y="0"/>
                      <a:pt x="10" y="0"/>
                      <a:pt x="10" y="0"/>
                    </a:cubicBezTo>
                    <a:cubicBezTo>
                      <a:pt x="10" y="0"/>
                      <a:pt x="10" y="0"/>
                      <a:pt x="10" y="0"/>
                    </a:cubicBezTo>
                    <a:cubicBezTo>
                      <a:pt x="10" y="0"/>
                      <a:pt x="10" y="0"/>
                      <a:pt x="10" y="0"/>
                    </a:cubicBezTo>
                    <a:cubicBezTo>
                      <a:pt x="0" y="0"/>
                      <a:pt x="0" y="11"/>
                      <a:pt x="0" y="11"/>
                    </a:cubicBezTo>
                    <a:cubicBezTo>
                      <a:pt x="0" y="11"/>
                      <a:pt x="0" y="144"/>
                      <a:pt x="0" y="149"/>
                    </a:cubicBezTo>
                    <a:cubicBezTo>
                      <a:pt x="0" y="154"/>
                      <a:pt x="0" y="161"/>
                      <a:pt x="10" y="161"/>
                    </a:cubicBezTo>
                    <a:cubicBezTo>
                      <a:pt x="10" y="161"/>
                      <a:pt x="10" y="161"/>
                      <a:pt x="10" y="161"/>
                    </a:cubicBezTo>
                    <a:cubicBezTo>
                      <a:pt x="10" y="161"/>
                      <a:pt x="10" y="161"/>
                      <a:pt x="10" y="161"/>
                    </a:cubicBezTo>
                    <a:cubicBezTo>
                      <a:pt x="10" y="161"/>
                      <a:pt x="10" y="161"/>
                      <a:pt x="10" y="161"/>
                    </a:cubicBezTo>
                    <a:cubicBezTo>
                      <a:pt x="10" y="161"/>
                      <a:pt x="10" y="161"/>
                      <a:pt x="10" y="161"/>
                    </a:cubicBezTo>
                    <a:cubicBezTo>
                      <a:pt x="20" y="161"/>
                      <a:pt x="20" y="154"/>
                      <a:pt x="20" y="149"/>
                    </a:cubicBezTo>
                    <a:cubicBezTo>
                      <a:pt x="20" y="144"/>
                      <a:pt x="20" y="11"/>
                      <a:pt x="20" y="11"/>
                    </a:cubicBezTo>
                    <a:cubicBezTo>
                      <a:pt x="20" y="11"/>
                      <a:pt x="2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84" name="Freeform 61"/>
              <p:cNvSpPr>
                <a:spLocks/>
              </p:cNvSpPr>
              <p:nvPr/>
            </p:nvSpPr>
            <p:spPr bwMode="auto">
              <a:xfrm>
                <a:off x="8258175" y="2217738"/>
                <a:ext cx="268288" cy="153988"/>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85" name="Freeform 62"/>
              <p:cNvSpPr>
                <a:spLocks noEditPoints="1"/>
              </p:cNvSpPr>
              <p:nvPr/>
            </p:nvSpPr>
            <p:spPr bwMode="auto">
              <a:xfrm>
                <a:off x="8043863" y="2409826"/>
                <a:ext cx="696913" cy="901700"/>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86" name="Freeform 63"/>
              <p:cNvSpPr>
                <a:spLocks/>
              </p:cNvSpPr>
              <p:nvPr/>
            </p:nvSpPr>
            <p:spPr bwMode="auto">
              <a:xfrm>
                <a:off x="8174038" y="3340101"/>
                <a:ext cx="142875" cy="34925"/>
              </a:xfrm>
              <a:custGeom>
                <a:avLst/>
                <a:gdLst>
                  <a:gd name="T0" fmla="*/ 34 w 34"/>
                  <a:gd name="T1" fmla="*/ 0 h 8"/>
                  <a:gd name="T2" fmla="*/ 5 w 34"/>
                  <a:gd name="T3" fmla="*/ 0 h 8"/>
                  <a:gd name="T4" fmla="*/ 0 w 34"/>
                  <a:gd name="T5" fmla="*/ 4 h 8"/>
                  <a:gd name="T6" fmla="*/ 5 w 34"/>
                  <a:gd name="T7" fmla="*/ 8 h 8"/>
                  <a:gd name="T8" fmla="*/ 34 w 34"/>
                  <a:gd name="T9" fmla="*/ 8 h 8"/>
                  <a:gd name="T10" fmla="*/ 34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4" y="0"/>
                    </a:moveTo>
                    <a:cubicBezTo>
                      <a:pt x="5" y="0"/>
                      <a:pt x="5" y="0"/>
                      <a:pt x="5" y="0"/>
                    </a:cubicBezTo>
                    <a:cubicBezTo>
                      <a:pt x="2" y="0"/>
                      <a:pt x="0" y="2"/>
                      <a:pt x="0" y="4"/>
                    </a:cubicBezTo>
                    <a:cubicBezTo>
                      <a:pt x="0" y="6"/>
                      <a:pt x="2" y="8"/>
                      <a:pt x="5" y="8"/>
                    </a:cubicBezTo>
                    <a:cubicBezTo>
                      <a:pt x="34" y="8"/>
                      <a:pt x="34" y="8"/>
                      <a:pt x="34" y="8"/>
                    </a:cubicBez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87" name="Freeform 64"/>
              <p:cNvSpPr>
                <a:spLocks/>
              </p:cNvSpPr>
              <p:nvPr/>
            </p:nvSpPr>
            <p:spPr bwMode="auto">
              <a:xfrm>
                <a:off x="8467725" y="3340101"/>
                <a:ext cx="142875" cy="34925"/>
              </a:xfrm>
              <a:custGeom>
                <a:avLst/>
                <a:gdLst>
                  <a:gd name="T0" fmla="*/ 30 w 34"/>
                  <a:gd name="T1" fmla="*/ 0 h 8"/>
                  <a:gd name="T2" fmla="*/ 0 w 34"/>
                  <a:gd name="T3" fmla="*/ 0 h 8"/>
                  <a:gd name="T4" fmla="*/ 0 w 34"/>
                  <a:gd name="T5" fmla="*/ 8 h 8"/>
                  <a:gd name="T6" fmla="*/ 30 w 34"/>
                  <a:gd name="T7" fmla="*/ 8 h 8"/>
                  <a:gd name="T8" fmla="*/ 34 w 34"/>
                  <a:gd name="T9" fmla="*/ 4 h 8"/>
                  <a:gd name="T10" fmla="*/ 30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0" y="0"/>
                    </a:moveTo>
                    <a:cubicBezTo>
                      <a:pt x="0" y="0"/>
                      <a:pt x="0" y="0"/>
                      <a:pt x="0" y="0"/>
                    </a:cubicBezTo>
                    <a:cubicBezTo>
                      <a:pt x="0" y="8"/>
                      <a:pt x="0" y="8"/>
                      <a:pt x="0" y="8"/>
                    </a:cubicBezTo>
                    <a:cubicBezTo>
                      <a:pt x="30" y="8"/>
                      <a:pt x="30" y="8"/>
                      <a:pt x="30" y="8"/>
                    </a:cubicBezTo>
                    <a:cubicBezTo>
                      <a:pt x="32" y="8"/>
                      <a:pt x="34" y="6"/>
                      <a:pt x="34" y="4"/>
                    </a:cubicBezTo>
                    <a:cubicBezTo>
                      <a:pt x="34" y="2"/>
                      <a:pt x="32"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grpSp>
        <p:sp>
          <p:nvSpPr>
            <p:cNvPr id="311" name="Arc 310"/>
            <p:cNvSpPr/>
            <p:nvPr/>
          </p:nvSpPr>
          <p:spPr>
            <a:xfrm>
              <a:off x="9904561" y="944880"/>
              <a:ext cx="3072785" cy="3072785"/>
            </a:xfrm>
            <a:prstGeom prst="arc">
              <a:avLst>
                <a:gd name="adj1" fmla="val 2996613"/>
                <a:gd name="adj2" fmla="val 18605175"/>
              </a:avLst>
            </a:prstGeom>
            <a:noFill/>
            <a:ln w="9525" cap="flat" cmpd="sng" algn="ctr">
              <a:solidFill>
                <a:srgbClr val="505050"/>
              </a:solidFill>
              <a:prstDash val="sysDot"/>
              <a:headEnd type="none"/>
              <a:tailEnd type="none"/>
            </a:ln>
            <a:effectLst/>
          </p:spPr>
          <p:txBody>
            <a:bodyPr rtlCol="0" anchor="ctr"/>
            <a:lstStyle/>
            <a:p>
              <a:pPr algn="ctr" defTabSz="914224">
                <a:defRPr/>
              </a:pPr>
              <a:endParaRPr lang="en-IN" sz="1800" kern="0">
                <a:solidFill>
                  <a:srgbClr val="505050"/>
                </a:solidFill>
              </a:endParaRPr>
            </a:p>
          </p:txBody>
        </p:sp>
        <p:sp>
          <p:nvSpPr>
            <p:cNvPr id="312" name="Oval 311"/>
            <p:cNvSpPr/>
            <p:nvPr/>
          </p:nvSpPr>
          <p:spPr bwMode="auto">
            <a:xfrm>
              <a:off x="8160654" y="5045267"/>
              <a:ext cx="186698" cy="186698"/>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13" name="Oval 312"/>
            <p:cNvSpPr/>
            <p:nvPr/>
          </p:nvSpPr>
          <p:spPr bwMode="auto">
            <a:xfrm>
              <a:off x="6057534" y="5060507"/>
              <a:ext cx="186698" cy="186698"/>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14" name="Oval 313"/>
            <p:cNvSpPr/>
            <p:nvPr/>
          </p:nvSpPr>
          <p:spPr bwMode="auto">
            <a:xfrm>
              <a:off x="4285884" y="6036819"/>
              <a:ext cx="186698" cy="186698"/>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15" name="Freeform 314"/>
            <p:cNvSpPr/>
            <p:nvPr/>
          </p:nvSpPr>
          <p:spPr>
            <a:xfrm rot="19324792">
              <a:off x="8830231" y="4235484"/>
              <a:ext cx="500605" cy="521434"/>
            </a:xfrm>
            <a:custGeom>
              <a:avLst/>
              <a:gdLst>
                <a:gd name="connsiteX0" fmla="*/ 818317 w 1900290"/>
                <a:gd name="connsiteY0" fmla="*/ 263524 h 2183187"/>
                <a:gd name="connsiteX1" fmla="*/ 1346954 w 1900290"/>
                <a:gd name="connsiteY1" fmla="*/ 358774 h 2183187"/>
                <a:gd name="connsiteX2" fmla="*/ 1489829 w 1900290"/>
                <a:gd name="connsiteY2" fmla="*/ 484980 h 2183187"/>
                <a:gd name="connsiteX3" fmla="*/ 1413629 w 1900290"/>
                <a:gd name="connsiteY3" fmla="*/ 882649 h 2183187"/>
                <a:gd name="connsiteX4" fmla="*/ 1830348 w 1900290"/>
                <a:gd name="connsiteY4" fmla="*/ 977899 h 2183187"/>
                <a:gd name="connsiteX5" fmla="*/ 1813679 w 1900290"/>
                <a:gd name="connsiteY5" fmla="*/ 1163636 h 2183187"/>
                <a:gd name="connsiteX6" fmla="*/ 1201698 w 1900290"/>
                <a:gd name="connsiteY6" fmla="*/ 987424 h 2183187"/>
                <a:gd name="connsiteX7" fmla="*/ 1177885 w 1900290"/>
                <a:gd name="connsiteY7" fmla="*/ 887411 h 2183187"/>
                <a:gd name="connsiteX8" fmla="*/ 1123117 w 1900290"/>
                <a:gd name="connsiteY8" fmla="*/ 851692 h 2183187"/>
                <a:gd name="connsiteX9" fmla="*/ 968335 w 1900290"/>
                <a:gd name="connsiteY9" fmla="*/ 1025524 h 2183187"/>
                <a:gd name="connsiteX10" fmla="*/ 1215985 w 1900290"/>
                <a:gd name="connsiteY10" fmla="*/ 1239836 h 2183187"/>
                <a:gd name="connsiteX11" fmla="*/ 1239798 w 1900290"/>
                <a:gd name="connsiteY11" fmla="*/ 1339849 h 2183187"/>
                <a:gd name="connsiteX12" fmla="*/ 1223792 w 1900290"/>
                <a:gd name="connsiteY12" fmla="*/ 2180832 h 2183187"/>
                <a:gd name="connsiteX13" fmla="*/ 675442 w 1900290"/>
                <a:gd name="connsiteY13" fmla="*/ 1625599 h 2183187"/>
                <a:gd name="connsiteX14" fmla="*/ 1004054 w 1900290"/>
                <a:gd name="connsiteY14" fmla="*/ 1273174 h 2183187"/>
                <a:gd name="connsiteX15" fmla="*/ 780217 w 1900290"/>
                <a:gd name="connsiteY15" fmla="*/ 1070767 h 2183187"/>
                <a:gd name="connsiteX16" fmla="*/ 532567 w 1900290"/>
                <a:gd name="connsiteY16" fmla="*/ 1254124 h 2183187"/>
                <a:gd name="connsiteX17" fmla="*/ 399217 w 1900290"/>
                <a:gd name="connsiteY17" fmla="*/ 1211261 h 2183187"/>
                <a:gd name="connsiteX18" fmla="*/ 3929 w 1900290"/>
                <a:gd name="connsiteY18" fmla="*/ 832642 h 2183187"/>
                <a:gd name="connsiteX19" fmla="*/ 127754 w 1900290"/>
                <a:gd name="connsiteY19" fmla="*/ 746917 h 2183187"/>
                <a:gd name="connsiteX20" fmla="*/ 470654 w 1900290"/>
                <a:gd name="connsiteY20" fmla="*/ 1061242 h 2183187"/>
                <a:gd name="connsiteX21" fmla="*/ 620673 w 1900290"/>
                <a:gd name="connsiteY21" fmla="*/ 977899 h 2183187"/>
                <a:gd name="connsiteX22" fmla="*/ 668298 w 1900290"/>
                <a:gd name="connsiteY22" fmla="*/ 913605 h 2183187"/>
                <a:gd name="connsiteX23" fmla="*/ 663535 w 1900290"/>
                <a:gd name="connsiteY23" fmla="*/ 815974 h 2183187"/>
                <a:gd name="connsiteX24" fmla="*/ 1023104 w 1900290"/>
                <a:gd name="connsiteY24" fmla="*/ 496886 h 2183187"/>
                <a:gd name="connsiteX25" fmla="*/ 980242 w 1900290"/>
                <a:gd name="connsiteY25" fmla="*/ 442117 h 2183187"/>
                <a:gd name="connsiteX26" fmla="*/ 865942 w 1900290"/>
                <a:gd name="connsiteY26" fmla="*/ 427830 h 2183187"/>
                <a:gd name="connsiteX27" fmla="*/ 458748 w 1900290"/>
                <a:gd name="connsiteY27" fmla="*/ 651667 h 2183187"/>
                <a:gd name="connsiteX28" fmla="*/ 361117 w 1900290"/>
                <a:gd name="connsiteY28" fmla="*/ 513555 h 2183187"/>
                <a:gd name="connsiteX29" fmla="*/ 818317 w 1900290"/>
                <a:gd name="connsiteY29" fmla="*/ 263524 h 2183187"/>
                <a:gd name="connsiteX30" fmla="*/ 1586666 w 1900290"/>
                <a:gd name="connsiteY30" fmla="*/ 0 h 2183187"/>
                <a:gd name="connsiteX31" fmla="*/ 1786691 w 1900290"/>
                <a:gd name="connsiteY31" fmla="*/ 200025 h 2183187"/>
                <a:gd name="connsiteX32" fmla="*/ 1586666 w 1900290"/>
                <a:gd name="connsiteY32" fmla="*/ 400050 h 2183187"/>
                <a:gd name="connsiteX33" fmla="*/ 1386641 w 1900290"/>
                <a:gd name="connsiteY33" fmla="*/ 200025 h 2183187"/>
                <a:gd name="connsiteX34" fmla="*/ 1586666 w 1900290"/>
                <a:gd name="connsiteY34" fmla="*/ 0 h 2183187"/>
                <a:gd name="connsiteX0" fmla="*/ 818317 w 1900290"/>
                <a:gd name="connsiteY0" fmla="*/ 263524 h 2222539"/>
                <a:gd name="connsiteX1" fmla="*/ 1346954 w 1900290"/>
                <a:gd name="connsiteY1" fmla="*/ 358774 h 2222539"/>
                <a:gd name="connsiteX2" fmla="*/ 1489829 w 1900290"/>
                <a:gd name="connsiteY2" fmla="*/ 484980 h 2222539"/>
                <a:gd name="connsiteX3" fmla="*/ 1413629 w 1900290"/>
                <a:gd name="connsiteY3" fmla="*/ 882649 h 2222539"/>
                <a:gd name="connsiteX4" fmla="*/ 1830348 w 1900290"/>
                <a:gd name="connsiteY4" fmla="*/ 977899 h 2222539"/>
                <a:gd name="connsiteX5" fmla="*/ 1813679 w 1900290"/>
                <a:gd name="connsiteY5" fmla="*/ 1163636 h 2222539"/>
                <a:gd name="connsiteX6" fmla="*/ 1201698 w 1900290"/>
                <a:gd name="connsiteY6" fmla="*/ 987424 h 2222539"/>
                <a:gd name="connsiteX7" fmla="*/ 1177885 w 1900290"/>
                <a:gd name="connsiteY7" fmla="*/ 887411 h 2222539"/>
                <a:gd name="connsiteX8" fmla="*/ 1123117 w 1900290"/>
                <a:gd name="connsiteY8" fmla="*/ 851692 h 2222539"/>
                <a:gd name="connsiteX9" fmla="*/ 968335 w 1900290"/>
                <a:gd name="connsiteY9" fmla="*/ 1025524 h 2222539"/>
                <a:gd name="connsiteX10" fmla="*/ 1215985 w 1900290"/>
                <a:gd name="connsiteY10" fmla="*/ 1239836 h 2222539"/>
                <a:gd name="connsiteX11" fmla="*/ 1239798 w 1900290"/>
                <a:gd name="connsiteY11" fmla="*/ 1339849 h 2222539"/>
                <a:gd name="connsiteX12" fmla="*/ 1223792 w 1900290"/>
                <a:gd name="connsiteY12" fmla="*/ 2180832 h 2222539"/>
                <a:gd name="connsiteX13" fmla="*/ 1072533 w 1900290"/>
                <a:gd name="connsiteY13" fmla="*/ 2154178 h 2222539"/>
                <a:gd name="connsiteX14" fmla="*/ 675442 w 1900290"/>
                <a:gd name="connsiteY14" fmla="*/ 1625599 h 2222539"/>
                <a:gd name="connsiteX15" fmla="*/ 1004054 w 1900290"/>
                <a:gd name="connsiteY15" fmla="*/ 1273174 h 2222539"/>
                <a:gd name="connsiteX16" fmla="*/ 780217 w 1900290"/>
                <a:gd name="connsiteY16" fmla="*/ 1070767 h 2222539"/>
                <a:gd name="connsiteX17" fmla="*/ 532567 w 1900290"/>
                <a:gd name="connsiteY17" fmla="*/ 1254124 h 2222539"/>
                <a:gd name="connsiteX18" fmla="*/ 399217 w 1900290"/>
                <a:gd name="connsiteY18" fmla="*/ 1211261 h 2222539"/>
                <a:gd name="connsiteX19" fmla="*/ 3929 w 1900290"/>
                <a:gd name="connsiteY19" fmla="*/ 832642 h 2222539"/>
                <a:gd name="connsiteX20" fmla="*/ 127754 w 1900290"/>
                <a:gd name="connsiteY20" fmla="*/ 746917 h 2222539"/>
                <a:gd name="connsiteX21" fmla="*/ 470654 w 1900290"/>
                <a:gd name="connsiteY21" fmla="*/ 1061242 h 2222539"/>
                <a:gd name="connsiteX22" fmla="*/ 620673 w 1900290"/>
                <a:gd name="connsiteY22" fmla="*/ 977899 h 2222539"/>
                <a:gd name="connsiteX23" fmla="*/ 668298 w 1900290"/>
                <a:gd name="connsiteY23" fmla="*/ 913605 h 2222539"/>
                <a:gd name="connsiteX24" fmla="*/ 663535 w 1900290"/>
                <a:gd name="connsiteY24" fmla="*/ 815974 h 2222539"/>
                <a:gd name="connsiteX25" fmla="*/ 1023104 w 1900290"/>
                <a:gd name="connsiteY25" fmla="*/ 496886 h 2222539"/>
                <a:gd name="connsiteX26" fmla="*/ 980242 w 1900290"/>
                <a:gd name="connsiteY26" fmla="*/ 442117 h 2222539"/>
                <a:gd name="connsiteX27" fmla="*/ 865942 w 1900290"/>
                <a:gd name="connsiteY27" fmla="*/ 427830 h 2222539"/>
                <a:gd name="connsiteX28" fmla="*/ 458748 w 1900290"/>
                <a:gd name="connsiteY28" fmla="*/ 651667 h 2222539"/>
                <a:gd name="connsiteX29" fmla="*/ 361117 w 1900290"/>
                <a:gd name="connsiteY29" fmla="*/ 513555 h 2222539"/>
                <a:gd name="connsiteX30" fmla="*/ 818317 w 1900290"/>
                <a:gd name="connsiteY30" fmla="*/ 263524 h 2222539"/>
                <a:gd name="connsiteX31" fmla="*/ 1586666 w 1900290"/>
                <a:gd name="connsiteY31" fmla="*/ 0 h 2222539"/>
                <a:gd name="connsiteX32" fmla="*/ 1786691 w 1900290"/>
                <a:gd name="connsiteY32" fmla="*/ 200025 h 2222539"/>
                <a:gd name="connsiteX33" fmla="*/ 1586666 w 1900290"/>
                <a:gd name="connsiteY33" fmla="*/ 400050 h 2222539"/>
                <a:gd name="connsiteX34" fmla="*/ 1386641 w 1900290"/>
                <a:gd name="connsiteY34" fmla="*/ 200025 h 2222539"/>
                <a:gd name="connsiteX35" fmla="*/ 1586666 w 1900290"/>
                <a:gd name="connsiteY35" fmla="*/ 0 h 2222539"/>
                <a:gd name="connsiteX0" fmla="*/ 818317 w 1900290"/>
                <a:gd name="connsiteY0" fmla="*/ 263524 h 2245282"/>
                <a:gd name="connsiteX1" fmla="*/ 1346954 w 1900290"/>
                <a:gd name="connsiteY1" fmla="*/ 358774 h 2245282"/>
                <a:gd name="connsiteX2" fmla="*/ 1489829 w 1900290"/>
                <a:gd name="connsiteY2" fmla="*/ 484980 h 2245282"/>
                <a:gd name="connsiteX3" fmla="*/ 1413629 w 1900290"/>
                <a:gd name="connsiteY3" fmla="*/ 882649 h 2245282"/>
                <a:gd name="connsiteX4" fmla="*/ 1830348 w 1900290"/>
                <a:gd name="connsiteY4" fmla="*/ 977899 h 2245282"/>
                <a:gd name="connsiteX5" fmla="*/ 1813679 w 1900290"/>
                <a:gd name="connsiteY5" fmla="*/ 1163636 h 2245282"/>
                <a:gd name="connsiteX6" fmla="*/ 1201698 w 1900290"/>
                <a:gd name="connsiteY6" fmla="*/ 987424 h 2245282"/>
                <a:gd name="connsiteX7" fmla="*/ 1177885 w 1900290"/>
                <a:gd name="connsiteY7" fmla="*/ 887411 h 2245282"/>
                <a:gd name="connsiteX8" fmla="*/ 1123117 w 1900290"/>
                <a:gd name="connsiteY8" fmla="*/ 851692 h 2245282"/>
                <a:gd name="connsiteX9" fmla="*/ 968335 w 1900290"/>
                <a:gd name="connsiteY9" fmla="*/ 1025524 h 2245282"/>
                <a:gd name="connsiteX10" fmla="*/ 1215985 w 1900290"/>
                <a:gd name="connsiteY10" fmla="*/ 1239836 h 2245282"/>
                <a:gd name="connsiteX11" fmla="*/ 1239798 w 1900290"/>
                <a:gd name="connsiteY11" fmla="*/ 1339849 h 2245282"/>
                <a:gd name="connsiteX12" fmla="*/ 1223792 w 1900290"/>
                <a:gd name="connsiteY12" fmla="*/ 2180832 h 2245282"/>
                <a:gd name="connsiteX13" fmla="*/ 1072533 w 1900290"/>
                <a:gd name="connsiteY13" fmla="*/ 2154178 h 2245282"/>
                <a:gd name="connsiteX14" fmla="*/ 1004054 w 1900290"/>
                <a:gd name="connsiteY14" fmla="*/ 1273174 h 2245282"/>
                <a:gd name="connsiteX15" fmla="*/ 780217 w 1900290"/>
                <a:gd name="connsiteY15" fmla="*/ 1070767 h 2245282"/>
                <a:gd name="connsiteX16" fmla="*/ 532567 w 1900290"/>
                <a:gd name="connsiteY16" fmla="*/ 1254124 h 2245282"/>
                <a:gd name="connsiteX17" fmla="*/ 399217 w 1900290"/>
                <a:gd name="connsiteY17" fmla="*/ 1211261 h 2245282"/>
                <a:gd name="connsiteX18" fmla="*/ 3929 w 1900290"/>
                <a:gd name="connsiteY18" fmla="*/ 832642 h 2245282"/>
                <a:gd name="connsiteX19" fmla="*/ 127754 w 1900290"/>
                <a:gd name="connsiteY19" fmla="*/ 746917 h 2245282"/>
                <a:gd name="connsiteX20" fmla="*/ 470654 w 1900290"/>
                <a:gd name="connsiteY20" fmla="*/ 1061242 h 2245282"/>
                <a:gd name="connsiteX21" fmla="*/ 620673 w 1900290"/>
                <a:gd name="connsiteY21" fmla="*/ 977899 h 2245282"/>
                <a:gd name="connsiteX22" fmla="*/ 668298 w 1900290"/>
                <a:gd name="connsiteY22" fmla="*/ 913605 h 2245282"/>
                <a:gd name="connsiteX23" fmla="*/ 663535 w 1900290"/>
                <a:gd name="connsiteY23" fmla="*/ 815974 h 2245282"/>
                <a:gd name="connsiteX24" fmla="*/ 1023104 w 1900290"/>
                <a:gd name="connsiteY24" fmla="*/ 496886 h 2245282"/>
                <a:gd name="connsiteX25" fmla="*/ 980242 w 1900290"/>
                <a:gd name="connsiteY25" fmla="*/ 442117 h 2245282"/>
                <a:gd name="connsiteX26" fmla="*/ 865942 w 1900290"/>
                <a:gd name="connsiteY26" fmla="*/ 427830 h 2245282"/>
                <a:gd name="connsiteX27" fmla="*/ 458748 w 1900290"/>
                <a:gd name="connsiteY27" fmla="*/ 651667 h 2245282"/>
                <a:gd name="connsiteX28" fmla="*/ 361117 w 1900290"/>
                <a:gd name="connsiteY28" fmla="*/ 513555 h 2245282"/>
                <a:gd name="connsiteX29" fmla="*/ 818317 w 1900290"/>
                <a:gd name="connsiteY29" fmla="*/ 263524 h 2245282"/>
                <a:gd name="connsiteX30" fmla="*/ 1586666 w 1900290"/>
                <a:gd name="connsiteY30" fmla="*/ 0 h 2245282"/>
                <a:gd name="connsiteX31" fmla="*/ 1786691 w 1900290"/>
                <a:gd name="connsiteY31" fmla="*/ 200025 h 2245282"/>
                <a:gd name="connsiteX32" fmla="*/ 1586666 w 1900290"/>
                <a:gd name="connsiteY32" fmla="*/ 400050 h 2245282"/>
                <a:gd name="connsiteX33" fmla="*/ 1386641 w 1900290"/>
                <a:gd name="connsiteY33" fmla="*/ 200025 h 2245282"/>
                <a:gd name="connsiteX34" fmla="*/ 1586666 w 1900290"/>
                <a:gd name="connsiteY34" fmla="*/ 0 h 2245282"/>
                <a:gd name="connsiteX0" fmla="*/ 818317 w 1900290"/>
                <a:gd name="connsiteY0" fmla="*/ 263524 h 2238405"/>
                <a:gd name="connsiteX1" fmla="*/ 1346954 w 1900290"/>
                <a:gd name="connsiteY1" fmla="*/ 358774 h 2238405"/>
                <a:gd name="connsiteX2" fmla="*/ 1489829 w 1900290"/>
                <a:gd name="connsiteY2" fmla="*/ 484980 h 2238405"/>
                <a:gd name="connsiteX3" fmla="*/ 1413629 w 1900290"/>
                <a:gd name="connsiteY3" fmla="*/ 882649 h 2238405"/>
                <a:gd name="connsiteX4" fmla="*/ 1830348 w 1900290"/>
                <a:gd name="connsiteY4" fmla="*/ 977899 h 2238405"/>
                <a:gd name="connsiteX5" fmla="*/ 1813679 w 1900290"/>
                <a:gd name="connsiteY5" fmla="*/ 1163636 h 2238405"/>
                <a:gd name="connsiteX6" fmla="*/ 1201698 w 1900290"/>
                <a:gd name="connsiteY6" fmla="*/ 987424 h 2238405"/>
                <a:gd name="connsiteX7" fmla="*/ 1177885 w 1900290"/>
                <a:gd name="connsiteY7" fmla="*/ 887411 h 2238405"/>
                <a:gd name="connsiteX8" fmla="*/ 1123117 w 1900290"/>
                <a:gd name="connsiteY8" fmla="*/ 851692 h 2238405"/>
                <a:gd name="connsiteX9" fmla="*/ 968335 w 1900290"/>
                <a:gd name="connsiteY9" fmla="*/ 1025524 h 2238405"/>
                <a:gd name="connsiteX10" fmla="*/ 1215985 w 1900290"/>
                <a:gd name="connsiteY10" fmla="*/ 1239836 h 2238405"/>
                <a:gd name="connsiteX11" fmla="*/ 1239798 w 1900290"/>
                <a:gd name="connsiteY11" fmla="*/ 1339849 h 2238405"/>
                <a:gd name="connsiteX12" fmla="*/ 1215321 w 1900290"/>
                <a:gd name="connsiteY12" fmla="*/ 2163534 h 2238405"/>
                <a:gd name="connsiteX13" fmla="*/ 1072533 w 1900290"/>
                <a:gd name="connsiteY13" fmla="*/ 2154178 h 2238405"/>
                <a:gd name="connsiteX14" fmla="*/ 1004054 w 1900290"/>
                <a:gd name="connsiteY14" fmla="*/ 1273174 h 2238405"/>
                <a:gd name="connsiteX15" fmla="*/ 780217 w 1900290"/>
                <a:gd name="connsiteY15" fmla="*/ 1070767 h 2238405"/>
                <a:gd name="connsiteX16" fmla="*/ 532567 w 1900290"/>
                <a:gd name="connsiteY16" fmla="*/ 1254124 h 2238405"/>
                <a:gd name="connsiteX17" fmla="*/ 399217 w 1900290"/>
                <a:gd name="connsiteY17" fmla="*/ 1211261 h 2238405"/>
                <a:gd name="connsiteX18" fmla="*/ 3929 w 1900290"/>
                <a:gd name="connsiteY18" fmla="*/ 832642 h 2238405"/>
                <a:gd name="connsiteX19" fmla="*/ 127754 w 1900290"/>
                <a:gd name="connsiteY19" fmla="*/ 746917 h 2238405"/>
                <a:gd name="connsiteX20" fmla="*/ 470654 w 1900290"/>
                <a:gd name="connsiteY20" fmla="*/ 1061242 h 2238405"/>
                <a:gd name="connsiteX21" fmla="*/ 620673 w 1900290"/>
                <a:gd name="connsiteY21" fmla="*/ 977899 h 2238405"/>
                <a:gd name="connsiteX22" fmla="*/ 668298 w 1900290"/>
                <a:gd name="connsiteY22" fmla="*/ 913605 h 2238405"/>
                <a:gd name="connsiteX23" fmla="*/ 663535 w 1900290"/>
                <a:gd name="connsiteY23" fmla="*/ 815974 h 2238405"/>
                <a:gd name="connsiteX24" fmla="*/ 1023104 w 1900290"/>
                <a:gd name="connsiteY24" fmla="*/ 496886 h 2238405"/>
                <a:gd name="connsiteX25" fmla="*/ 980242 w 1900290"/>
                <a:gd name="connsiteY25" fmla="*/ 442117 h 2238405"/>
                <a:gd name="connsiteX26" fmla="*/ 865942 w 1900290"/>
                <a:gd name="connsiteY26" fmla="*/ 427830 h 2238405"/>
                <a:gd name="connsiteX27" fmla="*/ 458748 w 1900290"/>
                <a:gd name="connsiteY27" fmla="*/ 651667 h 2238405"/>
                <a:gd name="connsiteX28" fmla="*/ 361117 w 1900290"/>
                <a:gd name="connsiteY28" fmla="*/ 513555 h 2238405"/>
                <a:gd name="connsiteX29" fmla="*/ 818317 w 1900290"/>
                <a:gd name="connsiteY29" fmla="*/ 263524 h 2238405"/>
                <a:gd name="connsiteX30" fmla="*/ 1586666 w 1900290"/>
                <a:gd name="connsiteY30" fmla="*/ 0 h 2238405"/>
                <a:gd name="connsiteX31" fmla="*/ 1786691 w 1900290"/>
                <a:gd name="connsiteY31" fmla="*/ 200025 h 2238405"/>
                <a:gd name="connsiteX32" fmla="*/ 1586666 w 1900290"/>
                <a:gd name="connsiteY32" fmla="*/ 400050 h 2238405"/>
                <a:gd name="connsiteX33" fmla="*/ 1386641 w 1900290"/>
                <a:gd name="connsiteY33" fmla="*/ 200025 h 2238405"/>
                <a:gd name="connsiteX34" fmla="*/ 1586666 w 1900290"/>
                <a:gd name="connsiteY34" fmla="*/ 0 h 2238405"/>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27786"/>
                <a:gd name="connsiteX1" fmla="*/ 1346954 w 1900290"/>
                <a:gd name="connsiteY1" fmla="*/ 358774 h 2227786"/>
                <a:gd name="connsiteX2" fmla="*/ 1489829 w 1900290"/>
                <a:gd name="connsiteY2" fmla="*/ 484980 h 2227786"/>
                <a:gd name="connsiteX3" fmla="*/ 1413629 w 1900290"/>
                <a:gd name="connsiteY3" fmla="*/ 882649 h 2227786"/>
                <a:gd name="connsiteX4" fmla="*/ 1830348 w 1900290"/>
                <a:gd name="connsiteY4" fmla="*/ 977899 h 2227786"/>
                <a:gd name="connsiteX5" fmla="*/ 1813679 w 1900290"/>
                <a:gd name="connsiteY5" fmla="*/ 1163636 h 2227786"/>
                <a:gd name="connsiteX6" fmla="*/ 1201698 w 1900290"/>
                <a:gd name="connsiteY6" fmla="*/ 987424 h 2227786"/>
                <a:gd name="connsiteX7" fmla="*/ 1177885 w 1900290"/>
                <a:gd name="connsiteY7" fmla="*/ 887411 h 2227786"/>
                <a:gd name="connsiteX8" fmla="*/ 1123117 w 1900290"/>
                <a:gd name="connsiteY8" fmla="*/ 851692 h 2227786"/>
                <a:gd name="connsiteX9" fmla="*/ 968335 w 1900290"/>
                <a:gd name="connsiteY9" fmla="*/ 1025524 h 2227786"/>
                <a:gd name="connsiteX10" fmla="*/ 1215985 w 1900290"/>
                <a:gd name="connsiteY10" fmla="*/ 1239836 h 2227786"/>
                <a:gd name="connsiteX11" fmla="*/ 1239798 w 1900290"/>
                <a:gd name="connsiteY11" fmla="*/ 1339849 h 2227786"/>
                <a:gd name="connsiteX12" fmla="*/ 1215321 w 1900290"/>
                <a:gd name="connsiteY12" fmla="*/ 2163534 h 2227786"/>
                <a:gd name="connsiteX13" fmla="*/ 1072533 w 1900290"/>
                <a:gd name="connsiteY13" fmla="*/ 2154178 h 2227786"/>
                <a:gd name="connsiteX14" fmla="*/ 1004054 w 1900290"/>
                <a:gd name="connsiteY14" fmla="*/ 1273174 h 2227786"/>
                <a:gd name="connsiteX15" fmla="*/ 780217 w 1900290"/>
                <a:gd name="connsiteY15" fmla="*/ 1070767 h 2227786"/>
                <a:gd name="connsiteX16" fmla="*/ 532567 w 1900290"/>
                <a:gd name="connsiteY16" fmla="*/ 1254124 h 2227786"/>
                <a:gd name="connsiteX17" fmla="*/ 399217 w 1900290"/>
                <a:gd name="connsiteY17" fmla="*/ 1211261 h 2227786"/>
                <a:gd name="connsiteX18" fmla="*/ 3929 w 1900290"/>
                <a:gd name="connsiteY18" fmla="*/ 832642 h 2227786"/>
                <a:gd name="connsiteX19" fmla="*/ 127754 w 1900290"/>
                <a:gd name="connsiteY19" fmla="*/ 746917 h 2227786"/>
                <a:gd name="connsiteX20" fmla="*/ 470654 w 1900290"/>
                <a:gd name="connsiteY20" fmla="*/ 1061242 h 2227786"/>
                <a:gd name="connsiteX21" fmla="*/ 620673 w 1900290"/>
                <a:gd name="connsiteY21" fmla="*/ 977899 h 2227786"/>
                <a:gd name="connsiteX22" fmla="*/ 668298 w 1900290"/>
                <a:gd name="connsiteY22" fmla="*/ 913605 h 2227786"/>
                <a:gd name="connsiteX23" fmla="*/ 663535 w 1900290"/>
                <a:gd name="connsiteY23" fmla="*/ 815974 h 2227786"/>
                <a:gd name="connsiteX24" fmla="*/ 1023104 w 1900290"/>
                <a:gd name="connsiteY24" fmla="*/ 496886 h 2227786"/>
                <a:gd name="connsiteX25" fmla="*/ 980242 w 1900290"/>
                <a:gd name="connsiteY25" fmla="*/ 442117 h 2227786"/>
                <a:gd name="connsiteX26" fmla="*/ 865942 w 1900290"/>
                <a:gd name="connsiteY26" fmla="*/ 427830 h 2227786"/>
                <a:gd name="connsiteX27" fmla="*/ 458748 w 1900290"/>
                <a:gd name="connsiteY27" fmla="*/ 651667 h 2227786"/>
                <a:gd name="connsiteX28" fmla="*/ 361117 w 1900290"/>
                <a:gd name="connsiteY28" fmla="*/ 513555 h 2227786"/>
                <a:gd name="connsiteX29" fmla="*/ 818317 w 1900290"/>
                <a:gd name="connsiteY29" fmla="*/ 263524 h 2227786"/>
                <a:gd name="connsiteX30" fmla="*/ 1586666 w 1900290"/>
                <a:gd name="connsiteY30" fmla="*/ 0 h 2227786"/>
                <a:gd name="connsiteX31" fmla="*/ 1786691 w 1900290"/>
                <a:gd name="connsiteY31" fmla="*/ 200025 h 2227786"/>
                <a:gd name="connsiteX32" fmla="*/ 1586666 w 1900290"/>
                <a:gd name="connsiteY32" fmla="*/ 400050 h 2227786"/>
                <a:gd name="connsiteX33" fmla="*/ 1386641 w 1900290"/>
                <a:gd name="connsiteY33" fmla="*/ 200025 h 2227786"/>
                <a:gd name="connsiteX34" fmla="*/ 1586666 w 1900290"/>
                <a:gd name="connsiteY34" fmla="*/ 0 h 2227786"/>
                <a:gd name="connsiteX0" fmla="*/ 818317 w 1900290"/>
                <a:gd name="connsiteY0" fmla="*/ 263524 h 2219442"/>
                <a:gd name="connsiteX1" fmla="*/ 1346954 w 1900290"/>
                <a:gd name="connsiteY1" fmla="*/ 358774 h 2219442"/>
                <a:gd name="connsiteX2" fmla="*/ 1489829 w 1900290"/>
                <a:gd name="connsiteY2" fmla="*/ 484980 h 2219442"/>
                <a:gd name="connsiteX3" fmla="*/ 1413629 w 1900290"/>
                <a:gd name="connsiteY3" fmla="*/ 882649 h 2219442"/>
                <a:gd name="connsiteX4" fmla="*/ 1830348 w 1900290"/>
                <a:gd name="connsiteY4" fmla="*/ 977899 h 2219442"/>
                <a:gd name="connsiteX5" fmla="*/ 1813679 w 1900290"/>
                <a:gd name="connsiteY5" fmla="*/ 1163636 h 2219442"/>
                <a:gd name="connsiteX6" fmla="*/ 1201698 w 1900290"/>
                <a:gd name="connsiteY6" fmla="*/ 987424 h 2219442"/>
                <a:gd name="connsiteX7" fmla="*/ 1177885 w 1900290"/>
                <a:gd name="connsiteY7" fmla="*/ 887411 h 2219442"/>
                <a:gd name="connsiteX8" fmla="*/ 1123117 w 1900290"/>
                <a:gd name="connsiteY8" fmla="*/ 851692 h 2219442"/>
                <a:gd name="connsiteX9" fmla="*/ 968335 w 1900290"/>
                <a:gd name="connsiteY9" fmla="*/ 1025524 h 2219442"/>
                <a:gd name="connsiteX10" fmla="*/ 1215985 w 1900290"/>
                <a:gd name="connsiteY10" fmla="*/ 1239836 h 2219442"/>
                <a:gd name="connsiteX11" fmla="*/ 1239798 w 1900290"/>
                <a:gd name="connsiteY11" fmla="*/ 1339849 h 2219442"/>
                <a:gd name="connsiteX12" fmla="*/ 1215321 w 1900290"/>
                <a:gd name="connsiteY12" fmla="*/ 2163534 h 2219442"/>
                <a:gd name="connsiteX13" fmla="*/ 1072533 w 1900290"/>
                <a:gd name="connsiteY13" fmla="*/ 2154178 h 2219442"/>
                <a:gd name="connsiteX14" fmla="*/ 1004054 w 1900290"/>
                <a:gd name="connsiteY14" fmla="*/ 1273174 h 2219442"/>
                <a:gd name="connsiteX15" fmla="*/ 780217 w 1900290"/>
                <a:gd name="connsiteY15" fmla="*/ 1070767 h 2219442"/>
                <a:gd name="connsiteX16" fmla="*/ 532567 w 1900290"/>
                <a:gd name="connsiteY16" fmla="*/ 1254124 h 2219442"/>
                <a:gd name="connsiteX17" fmla="*/ 399217 w 1900290"/>
                <a:gd name="connsiteY17" fmla="*/ 1211261 h 2219442"/>
                <a:gd name="connsiteX18" fmla="*/ 3929 w 1900290"/>
                <a:gd name="connsiteY18" fmla="*/ 832642 h 2219442"/>
                <a:gd name="connsiteX19" fmla="*/ 127754 w 1900290"/>
                <a:gd name="connsiteY19" fmla="*/ 746917 h 2219442"/>
                <a:gd name="connsiteX20" fmla="*/ 470654 w 1900290"/>
                <a:gd name="connsiteY20" fmla="*/ 1061242 h 2219442"/>
                <a:gd name="connsiteX21" fmla="*/ 620673 w 1900290"/>
                <a:gd name="connsiteY21" fmla="*/ 977899 h 2219442"/>
                <a:gd name="connsiteX22" fmla="*/ 668298 w 1900290"/>
                <a:gd name="connsiteY22" fmla="*/ 913605 h 2219442"/>
                <a:gd name="connsiteX23" fmla="*/ 663535 w 1900290"/>
                <a:gd name="connsiteY23" fmla="*/ 815974 h 2219442"/>
                <a:gd name="connsiteX24" fmla="*/ 1023104 w 1900290"/>
                <a:gd name="connsiteY24" fmla="*/ 496886 h 2219442"/>
                <a:gd name="connsiteX25" fmla="*/ 980242 w 1900290"/>
                <a:gd name="connsiteY25" fmla="*/ 442117 h 2219442"/>
                <a:gd name="connsiteX26" fmla="*/ 865942 w 1900290"/>
                <a:gd name="connsiteY26" fmla="*/ 427830 h 2219442"/>
                <a:gd name="connsiteX27" fmla="*/ 458748 w 1900290"/>
                <a:gd name="connsiteY27" fmla="*/ 651667 h 2219442"/>
                <a:gd name="connsiteX28" fmla="*/ 361117 w 1900290"/>
                <a:gd name="connsiteY28" fmla="*/ 513555 h 2219442"/>
                <a:gd name="connsiteX29" fmla="*/ 818317 w 1900290"/>
                <a:gd name="connsiteY29" fmla="*/ 263524 h 2219442"/>
                <a:gd name="connsiteX30" fmla="*/ 1586666 w 1900290"/>
                <a:gd name="connsiteY30" fmla="*/ 0 h 2219442"/>
                <a:gd name="connsiteX31" fmla="*/ 1786691 w 1900290"/>
                <a:gd name="connsiteY31" fmla="*/ 200025 h 2219442"/>
                <a:gd name="connsiteX32" fmla="*/ 1586666 w 1900290"/>
                <a:gd name="connsiteY32" fmla="*/ 400050 h 2219442"/>
                <a:gd name="connsiteX33" fmla="*/ 1386641 w 1900290"/>
                <a:gd name="connsiteY33" fmla="*/ 200025 h 2219442"/>
                <a:gd name="connsiteX34" fmla="*/ 1586666 w 1900290"/>
                <a:gd name="connsiteY34" fmla="*/ 0 h 2219442"/>
                <a:gd name="connsiteX0" fmla="*/ 818317 w 1900290"/>
                <a:gd name="connsiteY0" fmla="*/ 263524 h 2181484"/>
                <a:gd name="connsiteX1" fmla="*/ 1346954 w 1900290"/>
                <a:gd name="connsiteY1" fmla="*/ 358774 h 2181484"/>
                <a:gd name="connsiteX2" fmla="*/ 1489829 w 1900290"/>
                <a:gd name="connsiteY2" fmla="*/ 484980 h 2181484"/>
                <a:gd name="connsiteX3" fmla="*/ 1413629 w 1900290"/>
                <a:gd name="connsiteY3" fmla="*/ 882649 h 2181484"/>
                <a:gd name="connsiteX4" fmla="*/ 1830348 w 1900290"/>
                <a:gd name="connsiteY4" fmla="*/ 977899 h 2181484"/>
                <a:gd name="connsiteX5" fmla="*/ 1813679 w 1900290"/>
                <a:gd name="connsiteY5" fmla="*/ 1163636 h 2181484"/>
                <a:gd name="connsiteX6" fmla="*/ 1201698 w 1900290"/>
                <a:gd name="connsiteY6" fmla="*/ 987424 h 2181484"/>
                <a:gd name="connsiteX7" fmla="*/ 1177885 w 1900290"/>
                <a:gd name="connsiteY7" fmla="*/ 887411 h 2181484"/>
                <a:gd name="connsiteX8" fmla="*/ 1123117 w 1900290"/>
                <a:gd name="connsiteY8" fmla="*/ 851692 h 2181484"/>
                <a:gd name="connsiteX9" fmla="*/ 968335 w 1900290"/>
                <a:gd name="connsiteY9" fmla="*/ 1025524 h 2181484"/>
                <a:gd name="connsiteX10" fmla="*/ 1215985 w 1900290"/>
                <a:gd name="connsiteY10" fmla="*/ 1239836 h 2181484"/>
                <a:gd name="connsiteX11" fmla="*/ 1239798 w 1900290"/>
                <a:gd name="connsiteY11" fmla="*/ 1339849 h 2181484"/>
                <a:gd name="connsiteX12" fmla="*/ 1215321 w 1900290"/>
                <a:gd name="connsiteY12" fmla="*/ 2163534 h 2181484"/>
                <a:gd name="connsiteX13" fmla="*/ 1062993 w 1900290"/>
                <a:gd name="connsiteY13" fmla="*/ 1915802 h 2181484"/>
                <a:gd name="connsiteX14" fmla="*/ 1004054 w 1900290"/>
                <a:gd name="connsiteY14" fmla="*/ 1273174 h 2181484"/>
                <a:gd name="connsiteX15" fmla="*/ 780217 w 1900290"/>
                <a:gd name="connsiteY15" fmla="*/ 1070767 h 2181484"/>
                <a:gd name="connsiteX16" fmla="*/ 532567 w 1900290"/>
                <a:gd name="connsiteY16" fmla="*/ 1254124 h 2181484"/>
                <a:gd name="connsiteX17" fmla="*/ 399217 w 1900290"/>
                <a:gd name="connsiteY17" fmla="*/ 1211261 h 2181484"/>
                <a:gd name="connsiteX18" fmla="*/ 3929 w 1900290"/>
                <a:gd name="connsiteY18" fmla="*/ 832642 h 2181484"/>
                <a:gd name="connsiteX19" fmla="*/ 127754 w 1900290"/>
                <a:gd name="connsiteY19" fmla="*/ 746917 h 2181484"/>
                <a:gd name="connsiteX20" fmla="*/ 470654 w 1900290"/>
                <a:gd name="connsiteY20" fmla="*/ 1061242 h 2181484"/>
                <a:gd name="connsiteX21" fmla="*/ 620673 w 1900290"/>
                <a:gd name="connsiteY21" fmla="*/ 977899 h 2181484"/>
                <a:gd name="connsiteX22" fmla="*/ 668298 w 1900290"/>
                <a:gd name="connsiteY22" fmla="*/ 913605 h 2181484"/>
                <a:gd name="connsiteX23" fmla="*/ 663535 w 1900290"/>
                <a:gd name="connsiteY23" fmla="*/ 815974 h 2181484"/>
                <a:gd name="connsiteX24" fmla="*/ 1023104 w 1900290"/>
                <a:gd name="connsiteY24" fmla="*/ 496886 h 2181484"/>
                <a:gd name="connsiteX25" fmla="*/ 980242 w 1900290"/>
                <a:gd name="connsiteY25" fmla="*/ 442117 h 2181484"/>
                <a:gd name="connsiteX26" fmla="*/ 865942 w 1900290"/>
                <a:gd name="connsiteY26" fmla="*/ 427830 h 2181484"/>
                <a:gd name="connsiteX27" fmla="*/ 458748 w 1900290"/>
                <a:gd name="connsiteY27" fmla="*/ 651667 h 2181484"/>
                <a:gd name="connsiteX28" fmla="*/ 361117 w 1900290"/>
                <a:gd name="connsiteY28" fmla="*/ 513555 h 2181484"/>
                <a:gd name="connsiteX29" fmla="*/ 818317 w 1900290"/>
                <a:gd name="connsiteY29" fmla="*/ 263524 h 2181484"/>
                <a:gd name="connsiteX30" fmla="*/ 1586666 w 1900290"/>
                <a:gd name="connsiteY30" fmla="*/ 0 h 2181484"/>
                <a:gd name="connsiteX31" fmla="*/ 1786691 w 1900290"/>
                <a:gd name="connsiteY31" fmla="*/ 200025 h 2181484"/>
                <a:gd name="connsiteX32" fmla="*/ 1586666 w 1900290"/>
                <a:gd name="connsiteY32" fmla="*/ 400050 h 2181484"/>
                <a:gd name="connsiteX33" fmla="*/ 1386641 w 1900290"/>
                <a:gd name="connsiteY33" fmla="*/ 200025 h 2181484"/>
                <a:gd name="connsiteX34" fmla="*/ 1586666 w 1900290"/>
                <a:gd name="connsiteY34" fmla="*/ 0 h 2181484"/>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79358"/>
                <a:gd name="connsiteX1" fmla="*/ 1346954 w 1900290"/>
                <a:gd name="connsiteY1" fmla="*/ 358774 h 1979358"/>
                <a:gd name="connsiteX2" fmla="*/ 1489829 w 1900290"/>
                <a:gd name="connsiteY2" fmla="*/ 484980 h 1979358"/>
                <a:gd name="connsiteX3" fmla="*/ 1413629 w 1900290"/>
                <a:gd name="connsiteY3" fmla="*/ 882649 h 1979358"/>
                <a:gd name="connsiteX4" fmla="*/ 1830348 w 1900290"/>
                <a:gd name="connsiteY4" fmla="*/ 977899 h 1979358"/>
                <a:gd name="connsiteX5" fmla="*/ 1813679 w 1900290"/>
                <a:gd name="connsiteY5" fmla="*/ 1163636 h 1979358"/>
                <a:gd name="connsiteX6" fmla="*/ 1201698 w 1900290"/>
                <a:gd name="connsiteY6" fmla="*/ 987424 h 1979358"/>
                <a:gd name="connsiteX7" fmla="*/ 1177885 w 1900290"/>
                <a:gd name="connsiteY7" fmla="*/ 887411 h 1979358"/>
                <a:gd name="connsiteX8" fmla="*/ 1123117 w 1900290"/>
                <a:gd name="connsiteY8" fmla="*/ 851692 h 1979358"/>
                <a:gd name="connsiteX9" fmla="*/ 968335 w 1900290"/>
                <a:gd name="connsiteY9" fmla="*/ 1025524 h 1979358"/>
                <a:gd name="connsiteX10" fmla="*/ 1215985 w 1900290"/>
                <a:gd name="connsiteY10" fmla="*/ 1239836 h 1979358"/>
                <a:gd name="connsiteX11" fmla="*/ 1239798 w 1900290"/>
                <a:gd name="connsiteY11" fmla="*/ 1339849 h 1979358"/>
                <a:gd name="connsiteX12" fmla="*/ 1214609 w 1900290"/>
                <a:gd name="connsiteY12" fmla="*/ 1899389 h 1979358"/>
                <a:gd name="connsiteX13" fmla="*/ 1062993 w 1900290"/>
                <a:gd name="connsiteY13" fmla="*/ 1915802 h 1979358"/>
                <a:gd name="connsiteX14" fmla="*/ 1004054 w 1900290"/>
                <a:gd name="connsiteY14" fmla="*/ 1273174 h 1979358"/>
                <a:gd name="connsiteX15" fmla="*/ 780217 w 1900290"/>
                <a:gd name="connsiteY15" fmla="*/ 1070767 h 1979358"/>
                <a:gd name="connsiteX16" fmla="*/ 532567 w 1900290"/>
                <a:gd name="connsiteY16" fmla="*/ 1254124 h 1979358"/>
                <a:gd name="connsiteX17" fmla="*/ 399217 w 1900290"/>
                <a:gd name="connsiteY17" fmla="*/ 1211261 h 1979358"/>
                <a:gd name="connsiteX18" fmla="*/ 3929 w 1900290"/>
                <a:gd name="connsiteY18" fmla="*/ 832642 h 1979358"/>
                <a:gd name="connsiteX19" fmla="*/ 127754 w 1900290"/>
                <a:gd name="connsiteY19" fmla="*/ 746917 h 1979358"/>
                <a:gd name="connsiteX20" fmla="*/ 470654 w 1900290"/>
                <a:gd name="connsiteY20" fmla="*/ 1061242 h 1979358"/>
                <a:gd name="connsiteX21" fmla="*/ 620673 w 1900290"/>
                <a:gd name="connsiteY21" fmla="*/ 977899 h 1979358"/>
                <a:gd name="connsiteX22" fmla="*/ 668298 w 1900290"/>
                <a:gd name="connsiteY22" fmla="*/ 913605 h 1979358"/>
                <a:gd name="connsiteX23" fmla="*/ 663535 w 1900290"/>
                <a:gd name="connsiteY23" fmla="*/ 815974 h 1979358"/>
                <a:gd name="connsiteX24" fmla="*/ 1023104 w 1900290"/>
                <a:gd name="connsiteY24" fmla="*/ 496886 h 1979358"/>
                <a:gd name="connsiteX25" fmla="*/ 980242 w 1900290"/>
                <a:gd name="connsiteY25" fmla="*/ 442117 h 1979358"/>
                <a:gd name="connsiteX26" fmla="*/ 865942 w 1900290"/>
                <a:gd name="connsiteY26" fmla="*/ 427830 h 1979358"/>
                <a:gd name="connsiteX27" fmla="*/ 458748 w 1900290"/>
                <a:gd name="connsiteY27" fmla="*/ 651667 h 1979358"/>
                <a:gd name="connsiteX28" fmla="*/ 361117 w 1900290"/>
                <a:gd name="connsiteY28" fmla="*/ 513555 h 1979358"/>
                <a:gd name="connsiteX29" fmla="*/ 818317 w 1900290"/>
                <a:gd name="connsiteY29" fmla="*/ 263524 h 1979358"/>
                <a:gd name="connsiteX30" fmla="*/ 1586666 w 1900290"/>
                <a:gd name="connsiteY30" fmla="*/ 0 h 1979358"/>
                <a:gd name="connsiteX31" fmla="*/ 1786691 w 1900290"/>
                <a:gd name="connsiteY31" fmla="*/ 200025 h 1979358"/>
                <a:gd name="connsiteX32" fmla="*/ 1586666 w 1900290"/>
                <a:gd name="connsiteY32" fmla="*/ 400050 h 1979358"/>
                <a:gd name="connsiteX33" fmla="*/ 1386641 w 1900290"/>
                <a:gd name="connsiteY33" fmla="*/ 200025 h 1979358"/>
                <a:gd name="connsiteX34" fmla="*/ 1586666 w 1900290"/>
                <a:gd name="connsiteY34" fmla="*/ 0 h 197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0290" h="1979358">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cubicBezTo>
                    <a:pt x="1178334" y="1461814"/>
                    <a:pt x="1255836" y="1794491"/>
                    <a:pt x="1214609" y="1899389"/>
                  </a:cubicBezTo>
                  <a:cubicBezTo>
                    <a:pt x="1176812" y="2019714"/>
                    <a:pt x="1074435" y="1986481"/>
                    <a:pt x="1062993" y="1915802"/>
                  </a:cubicBezTo>
                  <a:cubicBezTo>
                    <a:pt x="1026370" y="1764526"/>
                    <a:pt x="1052773" y="1453742"/>
                    <a:pt x="1004054" y="1273174"/>
                  </a:cubicBez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lnTo>
                    <a:pt x="818317" y="263524"/>
                  </a:ln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rgbClr val="FFFFFF"/>
            </a:solidFill>
            <a:ln w="10795" cap="flat" cmpd="sng" algn="ctr">
              <a:noFill/>
              <a:prstDash val="solid"/>
            </a:ln>
            <a:effectLst/>
          </p:spPr>
          <p:txBody>
            <a:bodyPr rtlCol="0" anchor="ctr"/>
            <a:lstStyle/>
            <a:p>
              <a:pPr algn="ctr" defTabSz="914224">
                <a:defRPr/>
              </a:pPr>
              <a:endParaRPr lang="en-US" sz="1800" kern="0">
                <a:solidFill>
                  <a:srgbClr val="505050"/>
                </a:solidFill>
              </a:endParaRPr>
            </a:p>
          </p:txBody>
        </p:sp>
        <p:grpSp>
          <p:nvGrpSpPr>
            <p:cNvPr id="316" name="Group 4"/>
            <p:cNvGrpSpPr>
              <a:grpSpLocks noChangeAspect="1"/>
            </p:cNvGrpSpPr>
            <p:nvPr/>
          </p:nvGrpSpPr>
          <p:grpSpPr bwMode="auto">
            <a:xfrm>
              <a:off x="8840788" y="5391150"/>
              <a:ext cx="2343150" cy="1568450"/>
              <a:chOff x="5569" y="3396"/>
              <a:chExt cx="1476" cy="988"/>
            </a:xfrm>
          </p:grpSpPr>
          <p:sp>
            <p:nvSpPr>
              <p:cNvPr id="317" name="AutoShape 3"/>
              <p:cNvSpPr>
                <a:spLocks noChangeAspect="1" noChangeArrowheads="1" noTextEdit="1"/>
              </p:cNvSpPr>
              <p:nvPr/>
            </p:nvSpPr>
            <p:spPr bwMode="auto">
              <a:xfrm>
                <a:off x="5569" y="3396"/>
                <a:ext cx="1476" cy="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18" name="Rectangle 5"/>
              <p:cNvSpPr>
                <a:spLocks noChangeArrowheads="1"/>
              </p:cNvSpPr>
              <p:nvPr/>
            </p:nvSpPr>
            <p:spPr bwMode="auto">
              <a:xfrm>
                <a:off x="6744" y="3782"/>
                <a:ext cx="301" cy="6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19" name="Rectangle 6"/>
              <p:cNvSpPr>
                <a:spLocks noChangeArrowheads="1"/>
              </p:cNvSpPr>
              <p:nvPr/>
            </p:nvSpPr>
            <p:spPr bwMode="auto">
              <a:xfrm>
                <a:off x="6980" y="3826"/>
                <a:ext cx="24" cy="4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0" name="Rectangle 7"/>
              <p:cNvSpPr>
                <a:spLocks noChangeArrowheads="1"/>
              </p:cNvSpPr>
              <p:nvPr/>
            </p:nvSpPr>
            <p:spPr bwMode="auto">
              <a:xfrm>
                <a:off x="6915" y="3826"/>
                <a:ext cx="24" cy="4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1" name="Rectangle 8"/>
              <p:cNvSpPr>
                <a:spLocks noChangeArrowheads="1"/>
              </p:cNvSpPr>
              <p:nvPr/>
            </p:nvSpPr>
            <p:spPr bwMode="auto">
              <a:xfrm>
                <a:off x="6848" y="3826"/>
                <a:ext cx="26" cy="4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2" name="Rectangle 9"/>
              <p:cNvSpPr>
                <a:spLocks noChangeArrowheads="1"/>
              </p:cNvSpPr>
              <p:nvPr/>
            </p:nvSpPr>
            <p:spPr bwMode="auto">
              <a:xfrm>
                <a:off x="6783" y="3826"/>
                <a:ext cx="26" cy="4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3" name="Rectangle 10"/>
              <p:cNvSpPr>
                <a:spLocks noChangeArrowheads="1"/>
              </p:cNvSpPr>
              <p:nvPr/>
            </p:nvSpPr>
            <p:spPr bwMode="auto">
              <a:xfrm>
                <a:off x="6980" y="3891"/>
                <a:ext cx="24"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4" name="Rectangle 11"/>
              <p:cNvSpPr>
                <a:spLocks noChangeArrowheads="1"/>
              </p:cNvSpPr>
              <p:nvPr/>
            </p:nvSpPr>
            <p:spPr bwMode="auto">
              <a:xfrm>
                <a:off x="6915" y="3891"/>
                <a:ext cx="24"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5" name="Rectangle 12"/>
              <p:cNvSpPr>
                <a:spLocks noChangeArrowheads="1"/>
              </p:cNvSpPr>
              <p:nvPr/>
            </p:nvSpPr>
            <p:spPr bwMode="auto">
              <a:xfrm>
                <a:off x="6848" y="3891"/>
                <a:ext cx="26"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6" name="Rectangle 13"/>
              <p:cNvSpPr>
                <a:spLocks noChangeArrowheads="1"/>
              </p:cNvSpPr>
              <p:nvPr/>
            </p:nvSpPr>
            <p:spPr bwMode="auto">
              <a:xfrm>
                <a:off x="6783" y="3891"/>
                <a:ext cx="26"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7" name="Rectangle 14"/>
              <p:cNvSpPr>
                <a:spLocks noChangeArrowheads="1"/>
              </p:cNvSpPr>
              <p:nvPr/>
            </p:nvSpPr>
            <p:spPr bwMode="auto">
              <a:xfrm>
                <a:off x="6980" y="3956"/>
                <a:ext cx="24"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8" name="Rectangle 15"/>
              <p:cNvSpPr>
                <a:spLocks noChangeArrowheads="1"/>
              </p:cNvSpPr>
              <p:nvPr/>
            </p:nvSpPr>
            <p:spPr bwMode="auto">
              <a:xfrm>
                <a:off x="6915" y="3956"/>
                <a:ext cx="24"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29" name="Rectangle 16"/>
              <p:cNvSpPr>
                <a:spLocks noChangeArrowheads="1"/>
              </p:cNvSpPr>
              <p:nvPr/>
            </p:nvSpPr>
            <p:spPr bwMode="auto">
              <a:xfrm>
                <a:off x="6848" y="3956"/>
                <a:ext cx="26"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0" name="Rectangle 17"/>
              <p:cNvSpPr>
                <a:spLocks noChangeArrowheads="1"/>
              </p:cNvSpPr>
              <p:nvPr/>
            </p:nvSpPr>
            <p:spPr bwMode="auto">
              <a:xfrm>
                <a:off x="6783" y="3956"/>
                <a:ext cx="26"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1" name="Rectangle 18"/>
              <p:cNvSpPr>
                <a:spLocks noChangeArrowheads="1"/>
              </p:cNvSpPr>
              <p:nvPr/>
            </p:nvSpPr>
            <p:spPr bwMode="auto">
              <a:xfrm>
                <a:off x="6980" y="4021"/>
                <a:ext cx="24"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2" name="Rectangle 19"/>
              <p:cNvSpPr>
                <a:spLocks noChangeArrowheads="1"/>
              </p:cNvSpPr>
              <p:nvPr/>
            </p:nvSpPr>
            <p:spPr bwMode="auto">
              <a:xfrm>
                <a:off x="6915" y="4021"/>
                <a:ext cx="24"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3" name="Rectangle 20"/>
              <p:cNvSpPr>
                <a:spLocks noChangeArrowheads="1"/>
              </p:cNvSpPr>
              <p:nvPr/>
            </p:nvSpPr>
            <p:spPr bwMode="auto">
              <a:xfrm>
                <a:off x="6848" y="4021"/>
                <a:ext cx="26"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4" name="Rectangle 21"/>
              <p:cNvSpPr>
                <a:spLocks noChangeArrowheads="1"/>
              </p:cNvSpPr>
              <p:nvPr/>
            </p:nvSpPr>
            <p:spPr bwMode="auto">
              <a:xfrm>
                <a:off x="6783" y="4021"/>
                <a:ext cx="26"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5" name="Rectangle 22"/>
              <p:cNvSpPr>
                <a:spLocks noChangeArrowheads="1"/>
              </p:cNvSpPr>
              <p:nvPr/>
            </p:nvSpPr>
            <p:spPr bwMode="auto">
              <a:xfrm>
                <a:off x="6980" y="4088"/>
                <a:ext cx="24" cy="4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6" name="Rectangle 23"/>
              <p:cNvSpPr>
                <a:spLocks noChangeArrowheads="1"/>
              </p:cNvSpPr>
              <p:nvPr/>
            </p:nvSpPr>
            <p:spPr bwMode="auto">
              <a:xfrm>
                <a:off x="6915" y="4088"/>
                <a:ext cx="24" cy="4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7" name="Rectangle 24"/>
              <p:cNvSpPr>
                <a:spLocks noChangeArrowheads="1"/>
              </p:cNvSpPr>
              <p:nvPr/>
            </p:nvSpPr>
            <p:spPr bwMode="auto">
              <a:xfrm>
                <a:off x="6848" y="4088"/>
                <a:ext cx="26" cy="4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8" name="Rectangle 25"/>
              <p:cNvSpPr>
                <a:spLocks noChangeArrowheads="1"/>
              </p:cNvSpPr>
              <p:nvPr/>
            </p:nvSpPr>
            <p:spPr bwMode="auto">
              <a:xfrm>
                <a:off x="6783" y="4088"/>
                <a:ext cx="26" cy="4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39" name="Rectangle 26"/>
              <p:cNvSpPr>
                <a:spLocks noChangeArrowheads="1"/>
              </p:cNvSpPr>
              <p:nvPr/>
            </p:nvSpPr>
            <p:spPr bwMode="auto">
              <a:xfrm>
                <a:off x="6980" y="4153"/>
                <a:ext cx="24"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0" name="Rectangle 27"/>
              <p:cNvSpPr>
                <a:spLocks noChangeArrowheads="1"/>
              </p:cNvSpPr>
              <p:nvPr/>
            </p:nvSpPr>
            <p:spPr bwMode="auto">
              <a:xfrm>
                <a:off x="6915" y="4153"/>
                <a:ext cx="24"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1" name="Rectangle 28"/>
              <p:cNvSpPr>
                <a:spLocks noChangeArrowheads="1"/>
              </p:cNvSpPr>
              <p:nvPr/>
            </p:nvSpPr>
            <p:spPr bwMode="auto">
              <a:xfrm>
                <a:off x="6848" y="4153"/>
                <a:ext cx="26"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2" name="Rectangle 29"/>
              <p:cNvSpPr>
                <a:spLocks noChangeArrowheads="1"/>
              </p:cNvSpPr>
              <p:nvPr/>
            </p:nvSpPr>
            <p:spPr bwMode="auto">
              <a:xfrm>
                <a:off x="6783" y="4153"/>
                <a:ext cx="26" cy="4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3" name="Rectangle 30"/>
              <p:cNvSpPr>
                <a:spLocks noChangeArrowheads="1"/>
              </p:cNvSpPr>
              <p:nvPr/>
            </p:nvSpPr>
            <p:spPr bwMode="auto">
              <a:xfrm>
                <a:off x="6980" y="4218"/>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4" name="Rectangle 31"/>
              <p:cNvSpPr>
                <a:spLocks noChangeArrowheads="1"/>
              </p:cNvSpPr>
              <p:nvPr/>
            </p:nvSpPr>
            <p:spPr bwMode="auto">
              <a:xfrm>
                <a:off x="6915" y="4218"/>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5" name="Rectangle 32"/>
              <p:cNvSpPr>
                <a:spLocks noChangeArrowheads="1"/>
              </p:cNvSpPr>
              <p:nvPr/>
            </p:nvSpPr>
            <p:spPr bwMode="auto">
              <a:xfrm>
                <a:off x="6848" y="4218"/>
                <a:ext cx="26"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6" name="Rectangle 33"/>
              <p:cNvSpPr>
                <a:spLocks noChangeArrowheads="1"/>
              </p:cNvSpPr>
              <p:nvPr/>
            </p:nvSpPr>
            <p:spPr bwMode="auto">
              <a:xfrm>
                <a:off x="6783" y="4218"/>
                <a:ext cx="26"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7" name="Rectangle 34"/>
              <p:cNvSpPr>
                <a:spLocks noChangeArrowheads="1"/>
              </p:cNvSpPr>
              <p:nvPr/>
            </p:nvSpPr>
            <p:spPr bwMode="auto">
              <a:xfrm>
                <a:off x="6980" y="4283"/>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8" name="Rectangle 35"/>
              <p:cNvSpPr>
                <a:spLocks noChangeArrowheads="1"/>
              </p:cNvSpPr>
              <p:nvPr/>
            </p:nvSpPr>
            <p:spPr bwMode="auto">
              <a:xfrm>
                <a:off x="6915" y="4283"/>
                <a:ext cx="24"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49" name="Rectangle 36"/>
              <p:cNvSpPr>
                <a:spLocks noChangeArrowheads="1"/>
              </p:cNvSpPr>
              <p:nvPr/>
            </p:nvSpPr>
            <p:spPr bwMode="auto">
              <a:xfrm>
                <a:off x="6848" y="4283"/>
                <a:ext cx="26"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0" name="Rectangle 37"/>
              <p:cNvSpPr>
                <a:spLocks noChangeArrowheads="1"/>
              </p:cNvSpPr>
              <p:nvPr/>
            </p:nvSpPr>
            <p:spPr bwMode="auto">
              <a:xfrm>
                <a:off x="6783" y="4283"/>
                <a:ext cx="26" cy="46"/>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1" name="Rectangle 38"/>
              <p:cNvSpPr>
                <a:spLocks noChangeArrowheads="1"/>
              </p:cNvSpPr>
              <p:nvPr/>
            </p:nvSpPr>
            <p:spPr bwMode="auto">
              <a:xfrm>
                <a:off x="6100" y="4076"/>
                <a:ext cx="175" cy="30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2" name="Rectangle 39"/>
              <p:cNvSpPr>
                <a:spLocks noChangeArrowheads="1"/>
              </p:cNvSpPr>
              <p:nvPr/>
            </p:nvSpPr>
            <p:spPr bwMode="auto">
              <a:xfrm>
                <a:off x="6620" y="3913"/>
                <a:ext cx="175" cy="4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3" name="Rectangle 40"/>
              <p:cNvSpPr>
                <a:spLocks noChangeArrowheads="1"/>
              </p:cNvSpPr>
              <p:nvPr/>
            </p:nvSpPr>
            <p:spPr bwMode="auto">
              <a:xfrm>
                <a:off x="6199" y="3915"/>
                <a:ext cx="295" cy="23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4" name="Freeform 41"/>
              <p:cNvSpPr>
                <a:spLocks/>
              </p:cNvSpPr>
              <p:nvPr/>
            </p:nvSpPr>
            <p:spPr bwMode="auto">
              <a:xfrm>
                <a:off x="6368" y="3485"/>
                <a:ext cx="252" cy="899"/>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5" name="Freeform 42"/>
              <p:cNvSpPr>
                <a:spLocks/>
              </p:cNvSpPr>
              <p:nvPr/>
            </p:nvSpPr>
            <p:spPr bwMode="auto">
              <a:xfrm>
                <a:off x="6199" y="3918"/>
                <a:ext cx="169" cy="466"/>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6" name="Rectangle 43"/>
              <p:cNvSpPr>
                <a:spLocks noChangeArrowheads="1"/>
              </p:cNvSpPr>
              <p:nvPr/>
            </p:nvSpPr>
            <p:spPr bwMode="auto">
              <a:xfrm>
                <a:off x="6399" y="3534"/>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7" name="Rectangle 44"/>
              <p:cNvSpPr>
                <a:spLocks noChangeArrowheads="1"/>
              </p:cNvSpPr>
              <p:nvPr/>
            </p:nvSpPr>
            <p:spPr bwMode="auto">
              <a:xfrm>
                <a:off x="6455" y="353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8" name="Rectangle 45"/>
              <p:cNvSpPr>
                <a:spLocks noChangeArrowheads="1"/>
              </p:cNvSpPr>
              <p:nvPr/>
            </p:nvSpPr>
            <p:spPr bwMode="auto">
              <a:xfrm>
                <a:off x="6508" y="353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59" name="Rectangle 46"/>
              <p:cNvSpPr>
                <a:spLocks noChangeArrowheads="1"/>
              </p:cNvSpPr>
              <p:nvPr/>
            </p:nvSpPr>
            <p:spPr bwMode="auto">
              <a:xfrm>
                <a:off x="6563" y="353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0" name="Rectangle 47"/>
              <p:cNvSpPr>
                <a:spLocks noChangeArrowheads="1"/>
              </p:cNvSpPr>
              <p:nvPr/>
            </p:nvSpPr>
            <p:spPr bwMode="auto">
              <a:xfrm>
                <a:off x="6399" y="3605"/>
                <a:ext cx="26"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1" name="Rectangle 48"/>
              <p:cNvSpPr>
                <a:spLocks noChangeArrowheads="1"/>
              </p:cNvSpPr>
              <p:nvPr/>
            </p:nvSpPr>
            <p:spPr bwMode="auto">
              <a:xfrm>
                <a:off x="6455" y="3605"/>
                <a:ext cx="25"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2" name="Rectangle 49"/>
              <p:cNvSpPr>
                <a:spLocks noChangeArrowheads="1"/>
              </p:cNvSpPr>
              <p:nvPr/>
            </p:nvSpPr>
            <p:spPr bwMode="auto">
              <a:xfrm>
                <a:off x="6508" y="3605"/>
                <a:ext cx="25"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3" name="Rectangle 50"/>
              <p:cNvSpPr>
                <a:spLocks noChangeArrowheads="1"/>
              </p:cNvSpPr>
              <p:nvPr/>
            </p:nvSpPr>
            <p:spPr bwMode="auto">
              <a:xfrm>
                <a:off x="6563" y="3605"/>
                <a:ext cx="25"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4" name="Rectangle 51"/>
              <p:cNvSpPr>
                <a:spLocks noChangeArrowheads="1"/>
              </p:cNvSpPr>
              <p:nvPr/>
            </p:nvSpPr>
            <p:spPr bwMode="auto">
              <a:xfrm>
                <a:off x="6399" y="3674"/>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5" name="Rectangle 52"/>
              <p:cNvSpPr>
                <a:spLocks noChangeArrowheads="1"/>
              </p:cNvSpPr>
              <p:nvPr/>
            </p:nvSpPr>
            <p:spPr bwMode="auto">
              <a:xfrm>
                <a:off x="6455" y="367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6" name="Rectangle 53"/>
              <p:cNvSpPr>
                <a:spLocks noChangeArrowheads="1"/>
              </p:cNvSpPr>
              <p:nvPr/>
            </p:nvSpPr>
            <p:spPr bwMode="auto">
              <a:xfrm>
                <a:off x="6508" y="367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7" name="Rectangle 54"/>
              <p:cNvSpPr>
                <a:spLocks noChangeArrowheads="1"/>
              </p:cNvSpPr>
              <p:nvPr/>
            </p:nvSpPr>
            <p:spPr bwMode="auto">
              <a:xfrm>
                <a:off x="6563" y="3674"/>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8" name="Rectangle 55"/>
              <p:cNvSpPr>
                <a:spLocks noChangeArrowheads="1"/>
              </p:cNvSpPr>
              <p:nvPr/>
            </p:nvSpPr>
            <p:spPr bwMode="auto">
              <a:xfrm>
                <a:off x="6399" y="3745"/>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69" name="Rectangle 56"/>
              <p:cNvSpPr>
                <a:spLocks noChangeArrowheads="1"/>
              </p:cNvSpPr>
              <p:nvPr/>
            </p:nvSpPr>
            <p:spPr bwMode="auto">
              <a:xfrm>
                <a:off x="6455" y="3745"/>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0" name="Rectangle 57"/>
              <p:cNvSpPr>
                <a:spLocks noChangeArrowheads="1"/>
              </p:cNvSpPr>
              <p:nvPr/>
            </p:nvSpPr>
            <p:spPr bwMode="auto">
              <a:xfrm>
                <a:off x="6508" y="3745"/>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1" name="Rectangle 58"/>
              <p:cNvSpPr>
                <a:spLocks noChangeArrowheads="1"/>
              </p:cNvSpPr>
              <p:nvPr/>
            </p:nvSpPr>
            <p:spPr bwMode="auto">
              <a:xfrm>
                <a:off x="6563" y="3745"/>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2" name="Rectangle 59"/>
              <p:cNvSpPr>
                <a:spLocks noChangeArrowheads="1"/>
              </p:cNvSpPr>
              <p:nvPr/>
            </p:nvSpPr>
            <p:spPr bwMode="auto">
              <a:xfrm>
                <a:off x="6399" y="3816"/>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3" name="Rectangle 60"/>
              <p:cNvSpPr>
                <a:spLocks noChangeArrowheads="1"/>
              </p:cNvSpPr>
              <p:nvPr/>
            </p:nvSpPr>
            <p:spPr bwMode="auto">
              <a:xfrm>
                <a:off x="6455" y="3816"/>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4" name="Rectangle 61"/>
              <p:cNvSpPr>
                <a:spLocks noChangeArrowheads="1"/>
              </p:cNvSpPr>
              <p:nvPr/>
            </p:nvSpPr>
            <p:spPr bwMode="auto">
              <a:xfrm>
                <a:off x="6508" y="3816"/>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5" name="Rectangle 62"/>
              <p:cNvSpPr>
                <a:spLocks noChangeArrowheads="1"/>
              </p:cNvSpPr>
              <p:nvPr/>
            </p:nvSpPr>
            <p:spPr bwMode="auto">
              <a:xfrm>
                <a:off x="6563" y="3816"/>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6" name="Rectangle 63"/>
              <p:cNvSpPr>
                <a:spLocks noChangeArrowheads="1"/>
              </p:cNvSpPr>
              <p:nvPr/>
            </p:nvSpPr>
            <p:spPr bwMode="auto">
              <a:xfrm>
                <a:off x="6399" y="3887"/>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7" name="Rectangle 64"/>
              <p:cNvSpPr>
                <a:spLocks noChangeArrowheads="1"/>
              </p:cNvSpPr>
              <p:nvPr/>
            </p:nvSpPr>
            <p:spPr bwMode="auto">
              <a:xfrm>
                <a:off x="6455" y="3887"/>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8" name="Rectangle 65"/>
              <p:cNvSpPr>
                <a:spLocks noChangeArrowheads="1"/>
              </p:cNvSpPr>
              <p:nvPr/>
            </p:nvSpPr>
            <p:spPr bwMode="auto">
              <a:xfrm>
                <a:off x="6508" y="3887"/>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79" name="Rectangle 66"/>
              <p:cNvSpPr>
                <a:spLocks noChangeArrowheads="1"/>
              </p:cNvSpPr>
              <p:nvPr/>
            </p:nvSpPr>
            <p:spPr bwMode="auto">
              <a:xfrm>
                <a:off x="6563" y="3887"/>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0" name="Rectangle 67"/>
              <p:cNvSpPr>
                <a:spLocks noChangeArrowheads="1"/>
              </p:cNvSpPr>
              <p:nvPr/>
            </p:nvSpPr>
            <p:spPr bwMode="auto">
              <a:xfrm>
                <a:off x="6399" y="3958"/>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1" name="Rectangle 68"/>
              <p:cNvSpPr>
                <a:spLocks noChangeArrowheads="1"/>
              </p:cNvSpPr>
              <p:nvPr/>
            </p:nvSpPr>
            <p:spPr bwMode="auto">
              <a:xfrm>
                <a:off x="6455" y="3958"/>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2" name="Rectangle 69"/>
              <p:cNvSpPr>
                <a:spLocks noChangeArrowheads="1"/>
              </p:cNvSpPr>
              <p:nvPr/>
            </p:nvSpPr>
            <p:spPr bwMode="auto">
              <a:xfrm>
                <a:off x="6508" y="3958"/>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3" name="Rectangle 70"/>
              <p:cNvSpPr>
                <a:spLocks noChangeArrowheads="1"/>
              </p:cNvSpPr>
              <p:nvPr/>
            </p:nvSpPr>
            <p:spPr bwMode="auto">
              <a:xfrm>
                <a:off x="6563" y="3958"/>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4" name="Rectangle 71"/>
              <p:cNvSpPr>
                <a:spLocks noChangeArrowheads="1"/>
              </p:cNvSpPr>
              <p:nvPr/>
            </p:nvSpPr>
            <p:spPr bwMode="auto">
              <a:xfrm>
                <a:off x="6399" y="4096"/>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5" name="Rectangle 72"/>
              <p:cNvSpPr>
                <a:spLocks noChangeArrowheads="1"/>
              </p:cNvSpPr>
              <p:nvPr/>
            </p:nvSpPr>
            <p:spPr bwMode="auto">
              <a:xfrm>
                <a:off x="6455" y="4096"/>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6" name="Rectangle 73"/>
              <p:cNvSpPr>
                <a:spLocks noChangeArrowheads="1"/>
              </p:cNvSpPr>
              <p:nvPr/>
            </p:nvSpPr>
            <p:spPr bwMode="auto">
              <a:xfrm>
                <a:off x="6508" y="4096"/>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7" name="Rectangle 74"/>
              <p:cNvSpPr>
                <a:spLocks noChangeArrowheads="1"/>
              </p:cNvSpPr>
              <p:nvPr/>
            </p:nvSpPr>
            <p:spPr bwMode="auto">
              <a:xfrm>
                <a:off x="6563" y="4096"/>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8" name="Rectangle 75"/>
              <p:cNvSpPr>
                <a:spLocks noChangeArrowheads="1"/>
              </p:cNvSpPr>
              <p:nvPr/>
            </p:nvSpPr>
            <p:spPr bwMode="auto">
              <a:xfrm>
                <a:off x="6399" y="4023"/>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89" name="Rectangle 76"/>
              <p:cNvSpPr>
                <a:spLocks noChangeArrowheads="1"/>
              </p:cNvSpPr>
              <p:nvPr/>
            </p:nvSpPr>
            <p:spPr bwMode="auto">
              <a:xfrm>
                <a:off x="6455" y="4023"/>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0" name="Rectangle 77"/>
              <p:cNvSpPr>
                <a:spLocks noChangeArrowheads="1"/>
              </p:cNvSpPr>
              <p:nvPr/>
            </p:nvSpPr>
            <p:spPr bwMode="auto">
              <a:xfrm>
                <a:off x="6508" y="4023"/>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1" name="Rectangle 78"/>
              <p:cNvSpPr>
                <a:spLocks noChangeArrowheads="1"/>
              </p:cNvSpPr>
              <p:nvPr/>
            </p:nvSpPr>
            <p:spPr bwMode="auto">
              <a:xfrm>
                <a:off x="6563" y="4023"/>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2" name="Rectangle 79"/>
              <p:cNvSpPr>
                <a:spLocks noChangeArrowheads="1"/>
              </p:cNvSpPr>
              <p:nvPr/>
            </p:nvSpPr>
            <p:spPr bwMode="auto">
              <a:xfrm>
                <a:off x="6399" y="4167"/>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3" name="Rectangle 80"/>
              <p:cNvSpPr>
                <a:spLocks noChangeArrowheads="1"/>
              </p:cNvSpPr>
              <p:nvPr/>
            </p:nvSpPr>
            <p:spPr bwMode="auto">
              <a:xfrm>
                <a:off x="6455" y="4167"/>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4" name="Rectangle 81"/>
              <p:cNvSpPr>
                <a:spLocks noChangeArrowheads="1"/>
              </p:cNvSpPr>
              <p:nvPr/>
            </p:nvSpPr>
            <p:spPr bwMode="auto">
              <a:xfrm>
                <a:off x="6508" y="4167"/>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5" name="Rectangle 82"/>
              <p:cNvSpPr>
                <a:spLocks noChangeArrowheads="1"/>
              </p:cNvSpPr>
              <p:nvPr/>
            </p:nvSpPr>
            <p:spPr bwMode="auto">
              <a:xfrm>
                <a:off x="6563" y="4167"/>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6" name="Rectangle 83"/>
              <p:cNvSpPr>
                <a:spLocks noChangeArrowheads="1"/>
              </p:cNvSpPr>
              <p:nvPr/>
            </p:nvSpPr>
            <p:spPr bwMode="auto">
              <a:xfrm>
                <a:off x="6399" y="4240"/>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7" name="Rectangle 84"/>
              <p:cNvSpPr>
                <a:spLocks noChangeArrowheads="1"/>
              </p:cNvSpPr>
              <p:nvPr/>
            </p:nvSpPr>
            <p:spPr bwMode="auto">
              <a:xfrm>
                <a:off x="6455" y="4240"/>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8" name="Rectangle 85"/>
              <p:cNvSpPr>
                <a:spLocks noChangeArrowheads="1"/>
              </p:cNvSpPr>
              <p:nvPr/>
            </p:nvSpPr>
            <p:spPr bwMode="auto">
              <a:xfrm>
                <a:off x="6508" y="4240"/>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399" name="Rectangle 86"/>
              <p:cNvSpPr>
                <a:spLocks noChangeArrowheads="1"/>
              </p:cNvSpPr>
              <p:nvPr/>
            </p:nvSpPr>
            <p:spPr bwMode="auto">
              <a:xfrm>
                <a:off x="6563" y="4240"/>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0" name="Rectangle 87"/>
              <p:cNvSpPr>
                <a:spLocks noChangeArrowheads="1"/>
              </p:cNvSpPr>
              <p:nvPr/>
            </p:nvSpPr>
            <p:spPr bwMode="auto">
              <a:xfrm>
                <a:off x="6399" y="4311"/>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1" name="Rectangle 88"/>
              <p:cNvSpPr>
                <a:spLocks noChangeArrowheads="1"/>
              </p:cNvSpPr>
              <p:nvPr/>
            </p:nvSpPr>
            <p:spPr bwMode="auto">
              <a:xfrm>
                <a:off x="6455" y="4311"/>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2" name="Rectangle 89"/>
              <p:cNvSpPr>
                <a:spLocks noChangeArrowheads="1"/>
              </p:cNvSpPr>
              <p:nvPr/>
            </p:nvSpPr>
            <p:spPr bwMode="auto">
              <a:xfrm>
                <a:off x="6508" y="4311"/>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3" name="Rectangle 90"/>
              <p:cNvSpPr>
                <a:spLocks noChangeArrowheads="1"/>
              </p:cNvSpPr>
              <p:nvPr/>
            </p:nvSpPr>
            <p:spPr bwMode="auto">
              <a:xfrm>
                <a:off x="6563" y="4311"/>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4" name="Rectangle 91"/>
              <p:cNvSpPr>
                <a:spLocks noChangeArrowheads="1"/>
              </p:cNvSpPr>
              <p:nvPr/>
            </p:nvSpPr>
            <p:spPr bwMode="auto">
              <a:xfrm>
                <a:off x="6216" y="3958"/>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5" name="Rectangle 92"/>
              <p:cNvSpPr>
                <a:spLocks noChangeArrowheads="1"/>
              </p:cNvSpPr>
              <p:nvPr/>
            </p:nvSpPr>
            <p:spPr bwMode="auto">
              <a:xfrm>
                <a:off x="6272" y="3958"/>
                <a:ext cx="23"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6" name="Rectangle 93"/>
              <p:cNvSpPr>
                <a:spLocks noChangeArrowheads="1"/>
              </p:cNvSpPr>
              <p:nvPr/>
            </p:nvSpPr>
            <p:spPr bwMode="auto">
              <a:xfrm>
                <a:off x="6325" y="3958"/>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7" name="Rectangle 94"/>
              <p:cNvSpPr>
                <a:spLocks noChangeArrowheads="1"/>
              </p:cNvSpPr>
              <p:nvPr/>
            </p:nvSpPr>
            <p:spPr bwMode="auto">
              <a:xfrm>
                <a:off x="6216" y="4029"/>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8" name="Rectangle 95"/>
              <p:cNvSpPr>
                <a:spLocks noChangeArrowheads="1"/>
              </p:cNvSpPr>
              <p:nvPr/>
            </p:nvSpPr>
            <p:spPr bwMode="auto">
              <a:xfrm>
                <a:off x="6272" y="4029"/>
                <a:ext cx="23"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09" name="Rectangle 96"/>
              <p:cNvSpPr>
                <a:spLocks noChangeArrowheads="1"/>
              </p:cNvSpPr>
              <p:nvPr/>
            </p:nvSpPr>
            <p:spPr bwMode="auto">
              <a:xfrm>
                <a:off x="6325" y="4029"/>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0" name="Rectangle 97"/>
              <p:cNvSpPr>
                <a:spLocks noChangeArrowheads="1"/>
              </p:cNvSpPr>
              <p:nvPr/>
            </p:nvSpPr>
            <p:spPr bwMode="auto">
              <a:xfrm>
                <a:off x="6216" y="4094"/>
                <a:ext cx="26"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1" name="Rectangle 98"/>
              <p:cNvSpPr>
                <a:spLocks noChangeArrowheads="1"/>
              </p:cNvSpPr>
              <p:nvPr/>
            </p:nvSpPr>
            <p:spPr bwMode="auto">
              <a:xfrm>
                <a:off x="6272" y="4094"/>
                <a:ext cx="23"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2" name="Rectangle 99"/>
              <p:cNvSpPr>
                <a:spLocks noChangeArrowheads="1"/>
              </p:cNvSpPr>
              <p:nvPr/>
            </p:nvSpPr>
            <p:spPr bwMode="auto">
              <a:xfrm>
                <a:off x="6325" y="4094"/>
                <a:ext cx="25"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3" name="Rectangle 100"/>
              <p:cNvSpPr>
                <a:spLocks noChangeArrowheads="1"/>
              </p:cNvSpPr>
              <p:nvPr/>
            </p:nvSpPr>
            <p:spPr bwMode="auto">
              <a:xfrm>
                <a:off x="6216" y="4159"/>
                <a:ext cx="26"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4" name="Rectangle 101"/>
              <p:cNvSpPr>
                <a:spLocks noChangeArrowheads="1"/>
              </p:cNvSpPr>
              <p:nvPr/>
            </p:nvSpPr>
            <p:spPr bwMode="auto">
              <a:xfrm>
                <a:off x="6272" y="4159"/>
                <a:ext cx="23" cy="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5" name="Rectangle 102"/>
              <p:cNvSpPr>
                <a:spLocks noChangeArrowheads="1"/>
              </p:cNvSpPr>
              <p:nvPr/>
            </p:nvSpPr>
            <p:spPr bwMode="auto">
              <a:xfrm>
                <a:off x="6325" y="4159"/>
                <a:ext cx="25" cy="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6" name="Rectangle 103"/>
              <p:cNvSpPr>
                <a:spLocks noChangeArrowheads="1"/>
              </p:cNvSpPr>
              <p:nvPr/>
            </p:nvSpPr>
            <p:spPr bwMode="auto">
              <a:xfrm>
                <a:off x="6216" y="4226"/>
                <a:ext cx="26"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7" name="Rectangle 104"/>
              <p:cNvSpPr>
                <a:spLocks noChangeArrowheads="1"/>
              </p:cNvSpPr>
              <p:nvPr/>
            </p:nvSpPr>
            <p:spPr bwMode="auto">
              <a:xfrm>
                <a:off x="6272" y="4226"/>
                <a:ext cx="23"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8" name="Rectangle 105"/>
              <p:cNvSpPr>
                <a:spLocks noChangeArrowheads="1"/>
              </p:cNvSpPr>
              <p:nvPr/>
            </p:nvSpPr>
            <p:spPr bwMode="auto">
              <a:xfrm>
                <a:off x="6325" y="4226"/>
                <a:ext cx="25"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19" name="Rectangle 106"/>
              <p:cNvSpPr>
                <a:spLocks noChangeArrowheads="1"/>
              </p:cNvSpPr>
              <p:nvPr/>
            </p:nvSpPr>
            <p:spPr bwMode="auto">
              <a:xfrm>
                <a:off x="6216" y="4291"/>
                <a:ext cx="26" cy="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0" name="Rectangle 107"/>
              <p:cNvSpPr>
                <a:spLocks noChangeArrowheads="1"/>
              </p:cNvSpPr>
              <p:nvPr/>
            </p:nvSpPr>
            <p:spPr bwMode="auto">
              <a:xfrm>
                <a:off x="6272" y="4291"/>
                <a:ext cx="23" cy="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1" name="Rectangle 108"/>
              <p:cNvSpPr>
                <a:spLocks noChangeArrowheads="1"/>
              </p:cNvSpPr>
              <p:nvPr/>
            </p:nvSpPr>
            <p:spPr bwMode="auto">
              <a:xfrm>
                <a:off x="6325" y="4291"/>
                <a:ext cx="25" cy="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2" name="Rectangle 109"/>
              <p:cNvSpPr>
                <a:spLocks noChangeArrowheads="1"/>
              </p:cNvSpPr>
              <p:nvPr/>
            </p:nvSpPr>
            <p:spPr bwMode="auto">
              <a:xfrm>
                <a:off x="6508" y="3437"/>
                <a:ext cx="80" cy="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3" name="Rectangle 110"/>
              <p:cNvSpPr>
                <a:spLocks noChangeArrowheads="1"/>
              </p:cNvSpPr>
              <p:nvPr/>
            </p:nvSpPr>
            <p:spPr bwMode="auto">
              <a:xfrm>
                <a:off x="6425" y="3408"/>
                <a:ext cx="16" cy="7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4" name="Freeform 111"/>
              <p:cNvSpPr>
                <a:spLocks/>
              </p:cNvSpPr>
              <p:nvPr/>
            </p:nvSpPr>
            <p:spPr bwMode="auto">
              <a:xfrm>
                <a:off x="5890" y="3674"/>
                <a:ext cx="183" cy="710"/>
              </a:xfrm>
              <a:custGeom>
                <a:avLst/>
                <a:gdLst>
                  <a:gd name="T0" fmla="*/ 0 w 183"/>
                  <a:gd name="T1" fmla="*/ 118 h 710"/>
                  <a:gd name="T2" fmla="*/ 183 w 183"/>
                  <a:gd name="T3" fmla="*/ 0 h 710"/>
                  <a:gd name="T4" fmla="*/ 183 w 183"/>
                  <a:gd name="T5" fmla="*/ 710 h 710"/>
                  <a:gd name="T6" fmla="*/ 0 w 183"/>
                  <a:gd name="T7" fmla="*/ 710 h 710"/>
                  <a:gd name="T8" fmla="*/ 0 w 183"/>
                  <a:gd name="T9" fmla="*/ 118 h 710"/>
                </a:gdLst>
                <a:ahLst/>
                <a:cxnLst>
                  <a:cxn ang="0">
                    <a:pos x="T0" y="T1"/>
                  </a:cxn>
                  <a:cxn ang="0">
                    <a:pos x="T2" y="T3"/>
                  </a:cxn>
                  <a:cxn ang="0">
                    <a:pos x="T4" y="T5"/>
                  </a:cxn>
                  <a:cxn ang="0">
                    <a:pos x="T6" y="T7"/>
                  </a:cxn>
                  <a:cxn ang="0">
                    <a:pos x="T8" y="T9"/>
                  </a:cxn>
                </a:cxnLst>
                <a:rect l="0" t="0" r="r" b="b"/>
                <a:pathLst>
                  <a:path w="183" h="710">
                    <a:moveTo>
                      <a:pt x="0" y="118"/>
                    </a:moveTo>
                    <a:lnTo>
                      <a:pt x="183" y="0"/>
                    </a:lnTo>
                    <a:lnTo>
                      <a:pt x="183" y="710"/>
                    </a:lnTo>
                    <a:lnTo>
                      <a:pt x="0" y="710"/>
                    </a:lnTo>
                    <a:lnTo>
                      <a:pt x="0" y="11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5" name="Rectangle 112"/>
              <p:cNvSpPr>
                <a:spLocks noChangeArrowheads="1"/>
              </p:cNvSpPr>
              <p:nvPr/>
            </p:nvSpPr>
            <p:spPr bwMode="auto">
              <a:xfrm>
                <a:off x="5569" y="3936"/>
                <a:ext cx="98" cy="44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6" name="Rectangle 113"/>
              <p:cNvSpPr>
                <a:spLocks noChangeArrowheads="1"/>
              </p:cNvSpPr>
              <p:nvPr/>
            </p:nvSpPr>
            <p:spPr bwMode="auto">
              <a:xfrm>
                <a:off x="5618" y="3682"/>
                <a:ext cx="195" cy="70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7" name="Freeform 114"/>
              <p:cNvSpPr>
                <a:spLocks/>
              </p:cNvSpPr>
              <p:nvPr/>
            </p:nvSpPr>
            <p:spPr bwMode="auto">
              <a:xfrm>
                <a:off x="5665" y="3611"/>
                <a:ext cx="101" cy="71"/>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8" name="Rectangle 115"/>
              <p:cNvSpPr>
                <a:spLocks noChangeArrowheads="1"/>
              </p:cNvSpPr>
              <p:nvPr/>
            </p:nvSpPr>
            <p:spPr bwMode="auto">
              <a:xfrm>
                <a:off x="5707" y="3398"/>
                <a:ext cx="17" cy="244"/>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29" name="Rectangle 116"/>
              <p:cNvSpPr>
                <a:spLocks noChangeArrowheads="1"/>
              </p:cNvSpPr>
              <p:nvPr/>
            </p:nvSpPr>
            <p:spPr bwMode="auto">
              <a:xfrm>
                <a:off x="5644" y="3706"/>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0" name="Rectangle 117"/>
              <p:cNvSpPr>
                <a:spLocks noChangeArrowheads="1"/>
              </p:cNvSpPr>
              <p:nvPr/>
            </p:nvSpPr>
            <p:spPr bwMode="auto">
              <a:xfrm>
                <a:off x="5685" y="3706"/>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1" name="Rectangle 118"/>
              <p:cNvSpPr>
                <a:spLocks noChangeArrowheads="1"/>
              </p:cNvSpPr>
              <p:nvPr/>
            </p:nvSpPr>
            <p:spPr bwMode="auto">
              <a:xfrm>
                <a:off x="5726" y="3706"/>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2" name="Rectangle 119"/>
              <p:cNvSpPr>
                <a:spLocks noChangeArrowheads="1"/>
              </p:cNvSpPr>
              <p:nvPr/>
            </p:nvSpPr>
            <p:spPr bwMode="auto">
              <a:xfrm>
                <a:off x="5768" y="3706"/>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3" name="Rectangle 120"/>
              <p:cNvSpPr>
                <a:spLocks noChangeArrowheads="1"/>
              </p:cNvSpPr>
              <p:nvPr/>
            </p:nvSpPr>
            <p:spPr bwMode="auto">
              <a:xfrm>
                <a:off x="5644" y="3771"/>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4" name="Rectangle 121"/>
              <p:cNvSpPr>
                <a:spLocks noChangeArrowheads="1"/>
              </p:cNvSpPr>
              <p:nvPr/>
            </p:nvSpPr>
            <p:spPr bwMode="auto">
              <a:xfrm>
                <a:off x="5685" y="3771"/>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5" name="Rectangle 122"/>
              <p:cNvSpPr>
                <a:spLocks noChangeArrowheads="1"/>
              </p:cNvSpPr>
              <p:nvPr/>
            </p:nvSpPr>
            <p:spPr bwMode="auto">
              <a:xfrm>
                <a:off x="5726" y="3771"/>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6" name="Rectangle 123"/>
              <p:cNvSpPr>
                <a:spLocks noChangeArrowheads="1"/>
              </p:cNvSpPr>
              <p:nvPr/>
            </p:nvSpPr>
            <p:spPr bwMode="auto">
              <a:xfrm>
                <a:off x="5768" y="3771"/>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7" name="Rectangle 124"/>
              <p:cNvSpPr>
                <a:spLocks noChangeArrowheads="1"/>
              </p:cNvSpPr>
              <p:nvPr/>
            </p:nvSpPr>
            <p:spPr bwMode="auto">
              <a:xfrm>
                <a:off x="5644" y="3836"/>
                <a:ext cx="19"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8" name="Rectangle 125"/>
              <p:cNvSpPr>
                <a:spLocks noChangeArrowheads="1"/>
              </p:cNvSpPr>
              <p:nvPr/>
            </p:nvSpPr>
            <p:spPr bwMode="auto">
              <a:xfrm>
                <a:off x="5685" y="3836"/>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39" name="Rectangle 126"/>
              <p:cNvSpPr>
                <a:spLocks noChangeArrowheads="1"/>
              </p:cNvSpPr>
              <p:nvPr/>
            </p:nvSpPr>
            <p:spPr bwMode="auto">
              <a:xfrm>
                <a:off x="5726" y="3836"/>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0" name="Rectangle 127"/>
              <p:cNvSpPr>
                <a:spLocks noChangeArrowheads="1"/>
              </p:cNvSpPr>
              <p:nvPr/>
            </p:nvSpPr>
            <p:spPr bwMode="auto">
              <a:xfrm>
                <a:off x="5768" y="3836"/>
                <a:ext cx="19"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1" name="Rectangle 128"/>
              <p:cNvSpPr>
                <a:spLocks noChangeArrowheads="1"/>
              </p:cNvSpPr>
              <p:nvPr/>
            </p:nvSpPr>
            <p:spPr bwMode="auto">
              <a:xfrm>
                <a:off x="5644" y="3901"/>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2" name="Rectangle 129"/>
              <p:cNvSpPr>
                <a:spLocks noChangeArrowheads="1"/>
              </p:cNvSpPr>
              <p:nvPr/>
            </p:nvSpPr>
            <p:spPr bwMode="auto">
              <a:xfrm>
                <a:off x="5685" y="3901"/>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3" name="Rectangle 130"/>
              <p:cNvSpPr>
                <a:spLocks noChangeArrowheads="1"/>
              </p:cNvSpPr>
              <p:nvPr/>
            </p:nvSpPr>
            <p:spPr bwMode="auto">
              <a:xfrm>
                <a:off x="5726" y="3901"/>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4" name="Rectangle 131"/>
              <p:cNvSpPr>
                <a:spLocks noChangeArrowheads="1"/>
              </p:cNvSpPr>
              <p:nvPr/>
            </p:nvSpPr>
            <p:spPr bwMode="auto">
              <a:xfrm>
                <a:off x="5768" y="3901"/>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5" name="Rectangle 132"/>
              <p:cNvSpPr>
                <a:spLocks noChangeArrowheads="1"/>
              </p:cNvSpPr>
              <p:nvPr/>
            </p:nvSpPr>
            <p:spPr bwMode="auto">
              <a:xfrm>
                <a:off x="5644" y="3968"/>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6" name="Rectangle 133"/>
              <p:cNvSpPr>
                <a:spLocks noChangeArrowheads="1"/>
              </p:cNvSpPr>
              <p:nvPr/>
            </p:nvSpPr>
            <p:spPr bwMode="auto">
              <a:xfrm>
                <a:off x="5685" y="3968"/>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7" name="Rectangle 134"/>
              <p:cNvSpPr>
                <a:spLocks noChangeArrowheads="1"/>
              </p:cNvSpPr>
              <p:nvPr/>
            </p:nvSpPr>
            <p:spPr bwMode="auto">
              <a:xfrm>
                <a:off x="5726" y="3968"/>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8" name="Rectangle 135"/>
              <p:cNvSpPr>
                <a:spLocks noChangeArrowheads="1"/>
              </p:cNvSpPr>
              <p:nvPr/>
            </p:nvSpPr>
            <p:spPr bwMode="auto">
              <a:xfrm>
                <a:off x="5768" y="3968"/>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49" name="Rectangle 136"/>
              <p:cNvSpPr>
                <a:spLocks noChangeArrowheads="1"/>
              </p:cNvSpPr>
              <p:nvPr/>
            </p:nvSpPr>
            <p:spPr bwMode="auto">
              <a:xfrm>
                <a:off x="5644" y="4033"/>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0" name="Rectangle 137"/>
              <p:cNvSpPr>
                <a:spLocks noChangeArrowheads="1"/>
              </p:cNvSpPr>
              <p:nvPr/>
            </p:nvSpPr>
            <p:spPr bwMode="auto">
              <a:xfrm>
                <a:off x="5685" y="4033"/>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1" name="Rectangle 138"/>
              <p:cNvSpPr>
                <a:spLocks noChangeArrowheads="1"/>
              </p:cNvSpPr>
              <p:nvPr/>
            </p:nvSpPr>
            <p:spPr bwMode="auto">
              <a:xfrm>
                <a:off x="5726" y="4033"/>
                <a:ext cx="20" cy="4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2" name="Rectangle 139"/>
              <p:cNvSpPr>
                <a:spLocks noChangeArrowheads="1"/>
              </p:cNvSpPr>
              <p:nvPr/>
            </p:nvSpPr>
            <p:spPr bwMode="auto">
              <a:xfrm>
                <a:off x="5768" y="4033"/>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3" name="Rectangle 140"/>
              <p:cNvSpPr>
                <a:spLocks noChangeArrowheads="1"/>
              </p:cNvSpPr>
              <p:nvPr/>
            </p:nvSpPr>
            <p:spPr bwMode="auto">
              <a:xfrm>
                <a:off x="5644" y="4098"/>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4" name="Rectangle 141"/>
              <p:cNvSpPr>
                <a:spLocks noChangeArrowheads="1"/>
              </p:cNvSpPr>
              <p:nvPr/>
            </p:nvSpPr>
            <p:spPr bwMode="auto">
              <a:xfrm>
                <a:off x="5685" y="4098"/>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5" name="Rectangle 142"/>
              <p:cNvSpPr>
                <a:spLocks noChangeArrowheads="1"/>
              </p:cNvSpPr>
              <p:nvPr/>
            </p:nvSpPr>
            <p:spPr bwMode="auto">
              <a:xfrm>
                <a:off x="5726" y="4098"/>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6" name="Rectangle 143"/>
              <p:cNvSpPr>
                <a:spLocks noChangeArrowheads="1"/>
              </p:cNvSpPr>
              <p:nvPr/>
            </p:nvSpPr>
            <p:spPr bwMode="auto">
              <a:xfrm>
                <a:off x="5768" y="4098"/>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7" name="Rectangle 144"/>
              <p:cNvSpPr>
                <a:spLocks noChangeArrowheads="1"/>
              </p:cNvSpPr>
              <p:nvPr/>
            </p:nvSpPr>
            <p:spPr bwMode="auto">
              <a:xfrm>
                <a:off x="5644" y="4163"/>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8" name="Rectangle 145"/>
              <p:cNvSpPr>
                <a:spLocks noChangeArrowheads="1"/>
              </p:cNvSpPr>
              <p:nvPr/>
            </p:nvSpPr>
            <p:spPr bwMode="auto">
              <a:xfrm>
                <a:off x="5685" y="4163"/>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59" name="Rectangle 146"/>
              <p:cNvSpPr>
                <a:spLocks noChangeArrowheads="1"/>
              </p:cNvSpPr>
              <p:nvPr/>
            </p:nvSpPr>
            <p:spPr bwMode="auto">
              <a:xfrm>
                <a:off x="5726" y="4163"/>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0" name="Rectangle 147"/>
              <p:cNvSpPr>
                <a:spLocks noChangeArrowheads="1"/>
              </p:cNvSpPr>
              <p:nvPr/>
            </p:nvSpPr>
            <p:spPr bwMode="auto">
              <a:xfrm>
                <a:off x="5768" y="4163"/>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1" name="Rectangle 148"/>
              <p:cNvSpPr>
                <a:spLocks noChangeArrowheads="1"/>
              </p:cNvSpPr>
              <p:nvPr/>
            </p:nvSpPr>
            <p:spPr bwMode="auto">
              <a:xfrm>
                <a:off x="5644" y="4228"/>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2" name="Rectangle 149"/>
              <p:cNvSpPr>
                <a:spLocks noChangeArrowheads="1"/>
              </p:cNvSpPr>
              <p:nvPr/>
            </p:nvSpPr>
            <p:spPr bwMode="auto">
              <a:xfrm>
                <a:off x="5685" y="4228"/>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3" name="Rectangle 150"/>
              <p:cNvSpPr>
                <a:spLocks noChangeArrowheads="1"/>
              </p:cNvSpPr>
              <p:nvPr/>
            </p:nvSpPr>
            <p:spPr bwMode="auto">
              <a:xfrm>
                <a:off x="5726" y="4228"/>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4" name="Rectangle 151"/>
              <p:cNvSpPr>
                <a:spLocks noChangeArrowheads="1"/>
              </p:cNvSpPr>
              <p:nvPr/>
            </p:nvSpPr>
            <p:spPr bwMode="auto">
              <a:xfrm>
                <a:off x="5768" y="4228"/>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5" name="Rectangle 152"/>
              <p:cNvSpPr>
                <a:spLocks noChangeArrowheads="1"/>
              </p:cNvSpPr>
              <p:nvPr/>
            </p:nvSpPr>
            <p:spPr bwMode="auto">
              <a:xfrm>
                <a:off x="5644" y="4295"/>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6" name="Rectangle 153"/>
              <p:cNvSpPr>
                <a:spLocks noChangeArrowheads="1"/>
              </p:cNvSpPr>
              <p:nvPr/>
            </p:nvSpPr>
            <p:spPr bwMode="auto">
              <a:xfrm>
                <a:off x="5685" y="429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7" name="Rectangle 154"/>
              <p:cNvSpPr>
                <a:spLocks noChangeArrowheads="1"/>
              </p:cNvSpPr>
              <p:nvPr/>
            </p:nvSpPr>
            <p:spPr bwMode="auto">
              <a:xfrm>
                <a:off x="5726" y="4295"/>
                <a:ext cx="20"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8" name="Rectangle 155"/>
              <p:cNvSpPr>
                <a:spLocks noChangeArrowheads="1"/>
              </p:cNvSpPr>
              <p:nvPr/>
            </p:nvSpPr>
            <p:spPr bwMode="auto">
              <a:xfrm>
                <a:off x="5768" y="4295"/>
                <a:ext cx="19" cy="4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69" name="Line 156"/>
              <p:cNvSpPr>
                <a:spLocks noChangeShapeType="1"/>
              </p:cNvSpPr>
              <p:nvPr/>
            </p:nvSpPr>
            <p:spPr bwMode="auto">
              <a:xfrm>
                <a:off x="6045" y="3674"/>
                <a:ext cx="0" cy="710"/>
              </a:xfrm>
              <a:prstGeom prst="line">
                <a:avLst/>
              </a:prstGeom>
              <a:noFill/>
              <a:ln w="2222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0" name="Line 157"/>
              <p:cNvSpPr>
                <a:spLocks noChangeShapeType="1"/>
              </p:cNvSpPr>
              <p:nvPr/>
            </p:nvSpPr>
            <p:spPr bwMode="auto">
              <a:xfrm>
                <a:off x="6012" y="3674"/>
                <a:ext cx="0" cy="710"/>
              </a:xfrm>
              <a:prstGeom prst="line">
                <a:avLst/>
              </a:prstGeom>
              <a:noFill/>
              <a:ln w="2222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1" name="Line 158"/>
              <p:cNvSpPr>
                <a:spLocks noChangeShapeType="1"/>
              </p:cNvSpPr>
              <p:nvPr/>
            </p:nvSpPr>
            <p:spPr bwMode="auto">
              <a:xfrm>
                <a:off x="5980" y="3674"/>
                <a:ext cx="0" cy="710"/>
              </a:xfrm>
              <a:prstGeom prst="line">
                <a:avLst/>
              </a:prstGeom>
              <a:noFill/>
              <a:ln w="2222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2" name="Line 159"/>
              <p:cNvSpPr>
                <a:spLocks noChangeShapeType="1"/>
              </p:cNvSpPr>
              <p:nvPr/>
            </p:nvSpPr>
            <p:spPr bwMode="auto">
              <a:xfrm>
                <a:off x="5947" y="3674"/>
                <a:ext cx="0" cy="710"/>
              </a:xfrm>
              <a:prstGeom prst="line">
                <a:avLst/>
              </a:prstGeom>
              <a:noFill/>
              <a:ln w="2222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3" name="Line 160"/>
              <p:cNvSpPr>
                <a:spLocks noChangeShapeType="1"/>
              </p:cNvSpPr>
              <p:nvPr/>
            </p:nvSpPr>
            <p:spPr bwMode="auto">
              <a:xfrm>
                <a:off x="5915" y="3674"/>
                <a:ext cx="0" cy="710"/>
              </a:xfrm>
              <a:prstGeom prst="line">
                <a:avLst/>
              </a:prstGeom>
              <a:noFill/>
              <a:ln w="2222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4" name="Rectangle 161"/>
              <p:cNvSpPr>
                <a:spLocks noChangeArrowheads="1"/>
              </p:cNvSpPr>
              <p:nvPr/>
            </p:nvSpPr>
            <p:spPr bwMode="auto">
              <a:xfrm>
                <a:off x="6620" y="3936"/>
                <a:ext cx="175" cy="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5" name="Rectangle 162"/>
              <p:cNvSpPr>
                <a:spLocks noChangeArrowheads="1"/>
              </p:cNvSpPr>
              <p:nvPr/>
            </p:nvSpPr>
            <p:spPr bwMode="auto">
              <a:xfrm>
                <a:off x="6620" y="4001"/>
                <a:ext cx="175" cy="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6" name="Rectangle 163"/>
              <p:cNvSpPr>
                <a:spLocks noChangeArrowheads="1"/>
              </p:cNvSpPr>
              <p:nvPr/>
            </p:nvSpPr>
            <p:spPr bwMode="auto">
              <a:xfrm>
                <a:off x="6620" y="4068"/>
                <a:ext cx="175" cy="3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7" name="Rectangle 164"/>
              <p:cNvSpPr>
                <a:spLocks noChangeArrowheads="1"/>
              </p:cNvSpPr>
              <p:nvPr/>
            </p:nvSpPr>
            <p:spPr bwMode="auto">
              <a:xfrm>
                <a:off x="6620" y="4133"/>
                <a:ext cx="175" cy="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8" name="Rectangle 165"/>
              <p:cNvSpPr>
                <a:spLocks noChangeArrowheads="1"/>
              </p:cNvSpPr>
              <p:nvPr/>
            </p:nvSpPr>
            <p:spPr bwMode="auto">
              <a:xfrm>
                <a:off x="6620" y="4199"/>
                <a:ext cx="175" cy="3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79" name="Rectangle 166"/>
              <p:cNvSpPr>
                <a:spLocks noChangeArrowheads="1"/>
              </p:cNvSpPr>
              <p:nvPr/>
            </p:nvSpPr>
            <p:spPr bwMode="auto">
              <a:xfrm>
                <a:off x="6620" y="4264"/>
                <a:ext cx="175" cy="3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sp>
            <p:nvSpPr>
              <p:cNvPr id="480" name="Rectangle 167"/>
              <p:cNvSpPr>
                <a:spLocks noChangeArrowheads="1"/>
              </p:cNvSpPr>
              <p:nvPr/>
            </p:nvSpPr>
            <p:spPr bwMode="auto">
              <a:xfrm>
                <a:off x="6620" y="4331"/>
                <a:ext cx="175" cy="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505050"/>
                  </a:solidFill>
                </a:endParaRPr>
              </a:p>
            </p:txBody>
          </p:sp>
        </p:grpSp>
      </p:grpSp>
    </p:spTree>
    <p:extLst>
      <p:ext uri="{BB962C8B-B14F-4D97-AF65-F5344CB8AC3E}">
        <p14:creationId xmlns:p14="http://schemas.microsoft.com/office/powerpoint/2010/main" val="25554234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4" name="Rectangle 3"/>
          <p:cNvSpPr/>
          <p:nvPr userDrawn="1"/>
        </p:nvSpPr>
        <p:spPr bwMode="auto">
          <a:xfrm>
            <a:off x="0" y="1"/>
            <a:ext cx="12436475" cy="6992877"/>
          </a:xfrm>
          <a:prstGeom prst="rect">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defRPr/>
            </a:pPr>
            <a:r>
              <a:rPr lang="en-US" sz="2400" b="1"/>
              <a:t>Microsoft Services</a:t>
            </a:r>
            <a:endParaRPr lang="en-US" sz="2400">
              <a:latin typeface="Segoe UI"/>
            </a:endParaRPr>
          </a:p>
        </p:txBody>
      </p:sp>
      <p:grpSp>
        <p:nvGrpSpPr>
          <p:cNvPr id="343" name="Group 342"/>
          <p:cNvGrpSpPr/>
          <p:nvPr userDrawn="1"/>
        </p:nvGrpSpPr>
        <p:grpSpPr>
          <a:xfrm>
            <a:off x="10371638" y="1202624"/>
            <a:ext cx="1709739" cy="978925"/>
            <a:chOff x="3124201" y="923925"/>
            <a:chExt cx="601663" cy="344487"/>
          </a:xfrm>
        </p:grpSpPr>
        <p:sp>
          <p:nvSpPr>
            <p:cNvPr id="344" name="Freeform 413"/>
            <p:cNvSpPr>
              <a:spLocks/>
            </p:cNvSpPr>
            <p:nvPr/>
          </p:nvSpPr>
          <p:spPr bwMode="auto">
            <a:xfrm>
              <a:off x="3286126" y="923925"/>
              <a:ext cx="439738" cy="288925"/>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505050"/>
                </a:solidFill>
              </a:endParaRPr>
            </a:p>
          </p:txBody>
        </p:sp>
        <p:sp>
          <p:nvSpPr>
            <p:cNvPr id="345" name="Freeform 414"/>
            <p:cNvSpPr>
              <a:spLocks/>
            </p:cNvSpPr>
            <p:nvPr/>
          </p:nvSpPr>
          <p:spPr bwMode="auto">
            <a:xfrm>
              <a:off x="3124201" y="1158875"/>
              <a:ext cx="166688" cy="109537"/>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505050"/>
                </a:solidFill>
              </a:endParaRPr>
            </a:p>
          </p:txBody>
        </p:sp>
      </p:grpSp>
      <p:pic>
        <p:nvPicPr>
          <p:cNvPr id="165" name="Picture 16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05010" y="4827499"/>
            <a:ext cx="3256784" cy="2179840"/>
          </a:xfrm>
          <a:prstGeom prst="rect">
            <a:avLst/>
          </a:prstGeom>
        </p:spPr>
      </p:pic>
      <p:grpSp>
        <p:nvGrpSpPr>
          <p:cNvPr id="183" name="Group 182"/>
          <p:cNvGrpSpPr/>
          <p:nvPr userDrawn="1"/>
        </p:nvGrpSpPr>
        <p:grpSpPr>
          <a:xfrm>
            <a:off x="7314321" y="2721148"/>
            <a:ext cx="4731681" cy="4141301"/>
            <a:chOff x="3617190" y="448912"/>
            <a:chExt cx="7391936" cy="6469627"/>
          </a:xfrm>
        </p:grpSpPr>
        <p:sp>
          <p:nvSpPr>
            <p:cNvPr id="184" name="Freeform 183"/>
            <p:cNvSpPr/>
            <p:nvPr/>
          </p:nvSpPr>
          <p:spPr bwMode="auto">
            <a:xfrm>
              <a:off x="9303419" y="2779835"/>
              <a:ext cx="1705707" cy="3807068"/>
            </a:xfrm>
            <a:custGeom>
              <a:avLst/>
              <a:gdLst>
                <a:gd name="connsiteX0" fmla="*/ 1705707 w 1705707"/>
                <a:gd name="connsiteY0" fmla="*/ 3754315 h 3807069"/>
                <a:gd name="connsiteX1" fmla="*/ 1160584 w 1705707"/>
                <a:gd name="connsiteY1" fmla="*/ 0 h 3807069"/>
                <a:gd name="connsiteX2" fmla="*/ 0 w 1705707"/>
                <a:gd name="connsiteY2" fmla="*/ 325315 h 3807069"/>
                <a:gd name="connsiteX3" fmla="*/ 1652953 w 1705707"/>
                <a:gd name="connsiteY3" fmla="*/ 3807069 h 3807069"/>
                <a:gd name="connsiteX4" fmla="*/ 1705707 w 1705707"/>
                <a:gd name="connsiteY4" fmla="*/ 3754315 h 3807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707" h="3807069">
                  <a:moveTo>
                    <a:pt x="1705707" y="3754315"/>
                  </a:moveTo>
                  <a:lnTo>
                    <a:pt x="1160584" y="0"/>
                  </a:lnTo>
                  <a:lnTo>
                    <a:pt x="0" y="325315"/>
                  </a:lnTo>
                  <a:lnTo>
                    <a:pt x="1652953" y="3807069"/>
                  </a:lnTo>
                  <a:lnTo>
                    <a:pt x="1705707" y="3754315"/>
                  </a:lnTo>
                  <a:close/>
                </a:path>
              </a:pathLst>
            </a:custGeom>
            <a:solidFill>
              <a:srgbClr val="FFFFFF">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a:gradFill>
                  <a:gsLst>
                    <a:gs pos="0">
                      <a:srgbClr val="FFFFFF"/>
                    </a:gs>
                    <a:gs pos="100000">
                      <a:srgbClr val="FFFFFF"/>
                    </a:gs>
                  </a:gsLst>
                  <a:lin ang="5400000" scaled="0"/>
                </a:gradFill>
                <a:ea typeface="Segoe UI" pitchFamily="34" charset="0"/>
                <a:cs typeface="Segoe UI" pitchFamily="34" charset="0"/>
              </a:endParaRPr>
            </a:p>
          </p:txBody>
        </p:sp>
        <p:sp>
          <p:nvSpPr>
            <p:cNvPr id="185" name="Freeform 184"/>
            <p:cNvSpPr/>
            <p:nvPr/>
          </p:nvSpPr>
          <p:spPr bwMode="auto">
            <a:xfrm>
              <a:off x="6489815" y="1350546"/>
              <a:ext cx="4309182" cy="4986968"/>
            </a:xfrm>
            <a:custGeom>
              <a:avLst/>
              <a:gdLst>
                <a:gd name="connsiteX0" fmla="*/ 5741377 w 5785338"/>
                <a:gd name="connsiteY0" fmla="*/ 4862147 h 4941277"/>
                <a:gd name="connsiteX1" fmla="*/ 958361 w 5785338"/>
                <a:gd name="connsiteY1" fmla="*/ 0 h 4941277"/>
                <a:gd name="connsiteX2" fmla="*/ 0 w 5785338"/>
                <a:gd name="connsiteY2" fmla="*/ 1230924 h 4941277"/>
                <a:gd name="connsiteX3" fmla="*/ 5785338 w 5785338"/>
                <a:gd name="connsiteY3" fmla="*/ 4941277 h 4941277"/>
                <a:gd name="connsiteX4" fmla="*/ 5741377 w 5785338"/>
                <a:gd name="connsiteY4" fmla="*/ 4862147 h 4941277"/>
                <a:gd name="connsiteX0" fmla="*/ 5523663 w 5785338"/>
                <a:gd name="connsiteY0" fmla="*/ 5050833 h 5050833"/>
                <a:gd name="connsiteX1" fmla="*/ 958361 w 5785338"/>
                <a:gd name="connsiteY1" fmla="*/ 0 h 5050833"/>
                <a:gd name="connsiteX2" fmla="*/ 0 w 5785338"/>
                <a:gd name="connsiteY2" fmla="*/ 1230924 h 5050833"/>
                <a:gd name="connsiteX3" fmla="*/ 5785338 w 5785338"/>
                <a:gd name="connsiteY3" fmla="*/ 4941277 h 5050833"/>
                <a:gd name="connsiteX4" fmla="*/ 5523663 w 5785338"/>
                <a:gd name="connsiteY4" fmla="*/ 5050833 h 5050833"/>
                <a:gd name="connsiteX0" fmla="*/ 5523663 w 5523663"/>
                <a:gd name="connsiteY0" fmla="*/ 5050833 h 5050833"/>
                <a:gd name="connsiteX1" fmla="*/ 958361 w 5523663"/>
                <a:gd name="connsiteY1" fmla="*/ 0 h 5050833"/>
                <a:gd name="connsiteX2" fmla="*/ 0 w 5523663"/>
                <a:gd name="connsiteY2" fmla="*/ 1230924 h 5050833"/>
                <a:gd name="connsiteX3" fmla="*/ 5480538 w 5523663"/>
                <a:gd name="connsiteY3" fmla="*/ 5042877 h 5050833"/>
                <a:gd name="connsiteX4" fmla="*/ 5523663 w 5523663"/>
                <a:gd name="connsiteY4" fmla="*/ 5050833 h 5050833"/>
                <a:gd name="connsiteX0" fmla="*/ 5523663 w 5523663"/>
                <a:gd name="connsiteY0" fmla="*/ 4949233 h 4949233"/>
                <a:gd name="connsiteX1" fmla="*/ 885789 w 5523663"/>
                <a:gd name="connsiteY1" fmla="*/ 0 h 4949233"/>
                <a:gd name="connsiteX2" fmla="*/ 0 w 5523663"/>
                <a:gd name="connsiteY2" fmla="*/ 1129324 h 4949233"/>
                <a:gd name="connsiteX3" fmla="*/ 5480538 w 5523663"/>
                <a:gd name="connsiteY3" fmla="*/ 4941277 h 4949233"/>
                <a:gd name="connsiteX4" fmla="*/ 5523663 w 5523663"/>
                <a:gd name="connsiteY4" fmla="*/ 4949233 h 4949233"/>
                <a:gd name="connsiteX0" fmla="*/ 5165523 w 5165523"/>
                <a:gd name="connsiteY0" fmla="*/ 4949233 h 4949233"/>
                <a:gd name="connsiteX1" fmla="*/ 527649 w 5165523"/>
                <a:gd name="connsiteY1" fmla="*/ 0 h 4949233"/>
                <a:gd name="connsiteX2" fmla="*/ 0 w 5165523"/>
                <a:gd name="connsiteY2" fmla="*/ 1434124 h 4949233"/>
                <a:gd name="connsiteX3" fmla="*/ 5122398 w 5165523"/>
                <a:gd name="connsiteY3" fmla="*/ 4941277 h 4949233"/>
                <a:gd name="connsiteX4" fmla="*/ 5165523 w 5165523"/>
                <a:gd name="connsiteY4" fmla="*/ 4949233 h 4949233"/>
                <a:gd name="connsiteX0" fmla="*/ 5165523 w 5165523"/>
                <a:gd name="connsiteY0" fmla="*/ 4522513 h 4522513"/>
                <a:gd name="connsiteX1" fmla="*/ 992469 w 5165523"/>
                <a:gd name="connsiteY1" fmla="*/ 0 h 4522513"/>
                <a:gd name="connsiteX2" fmla="*/ 0 w 5165523"/>
                <a:gd name="connsiteY2" fmla="*/ 1007404 h 4522513"/>
                <a:gd name="connsiteX3" fmla="*/ 5122398 w 5165523"/>
                <a:gd name="connsiteY3" fmla="*/ 4514557 h 4522513"/>
                <a:gd name="connsiteX4" fmla="*/ 5165523 w 5165523"/>
                <a:gd name="connsiteY4" fmla="*/ 4522513 h 4522513"/>
                <a:gd name="connsiteX0" fmla="*/ 5165523 w 5165523"/>
                <a:gd name="connsiteY0" fmla="*/ 4986970 h 4986970"/>
                <a:gd name="connsiteX1" fmla="*/ 2371326 w 5165523"/>
                <a:gd name="connsiteY1" fmla="*/ 0 h 4986970"/>
                <a:gd name="connsiteX2" fmla="*/ 0 w 5165523"/>
                <a:gd name="connsiteY2" fmla="*/ 1471861 h 4986970"/>
                <a:gd name="connsiteX3" fmla="*/ 5122398 w 5165523"/>
                <a:gd name="connsiteY3" fmla="*/ 4979014 h 4986970"/>
                <a:gd name="connsiteX4" fmla="*/ 5165523 w 5165523"/>
                <a:gd name="connsiteY4" fmla="*/ 4986970 h 4986970"/>
                <a:gd name="connsiteX0" fmla="*/ 4309180 w 4309180"/>
                <a:gd name="connsiteY0" fmla="*/ 4986970 h 4986970"/>
                <a:gd name="connsiteX1" fmla="*/ 1514983 w 4309180"/>
                <a:gd name="connsiteY1" fmla="*/ 0 h 4986970"/>
                <a:gd name="connsiteX2" fmla="*/ 0 w 4309180"/>
                <a:gd name="connsiteY2" fmla="*/ 455861 h 4986970"/>
                <a:gd name="connsiteX3" fmla="*/ 4266055 w 4309180"/>
                <a:gd name="connsiteY3" fmla="*/ 4979014 h 4986970"/>
                <a:gd name="connsiteX4" fmla="*/ 4309180 w 4309180"/>
                <a:gd name="connsiteY4" fmla="*/ 4986970 h 4986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9180" h="4986970">
                  <a:moveTo>
                    <a:pt x="4309180" y="4986970"/>
                  </a:moveTo>
                  <a:lnTo>
                    <a:pt x="1514983" y="0"/>
                  </a:lnTo>
                  <a:lnTo>
                    <a:pt x="0" y="455861"/>
                  </a:lnTo>
                  <a:lnTo>
                    <a:pt x="4266055" y="4979014"/>
                  </a:lnTo>
                  <a:lnTo>
                    <a:pt x="4309180" y="4986970"/>
                  </a:lnTo>
                  <a:close/>
                </a:path>
              </a:pathLst>
            </a:custGeom>
            <a:solidFill>
              <a:srgbClr val="FFFFFF">
                <a:alpha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a:gradFill>
                  <a:gsLst>
                    <a:gs pos="0">
                      <a:srgbClr val="FFFFFF"/>
                    </a:gs>
                    <a:gs pos="100000">
                      <a:srgbClr val="FFFFFF"/>
                    </a:gs>
                  </a:gsLst>
                  <a:lin ang="5400000" scaled="0"/>
                </a:gradFill>
                <a:ea typeface="Segoe UI" pitchFamily="34" charset="0"/>
                <a:cs typeface="Segoe UI" pitchFamily="34" charset="0"/>
              </a:endParaRPr>
            </a:p>
          </p:txBody>
        </p:sp>
        <p:sp>
          <p:nvSpPr>
            <p:cNvPr id="186" name="Freeform 185"/>
            <p:cNvSpPr/>
            <p:nvPr/>
          </p:nvSpPr>
          <p:spPr bwMode="auto">
            <a:xfrm>
              <a:off x="4713832" y="3383572"/>
              <a:ext cx="6233749" cy="3027484"/>
            </a:xfrm>
            <a:custGeom>
              <a:avLst/>
              <a:gdLst>
                <a:gd name="connsiteX0" fmla="*/ 8062546 w 8062546"/>
                <a:gd name="connsiteY0" fmla="*/ 3789485 h 3789485"/>
                <a:gd name="connsiteX1" fmla="*/ 545123 w 8062546"/>
                <a:gd name="connsiteY1" fmla="*/ 0 h 3789485"/>
                <a:gd name="connsiteX2" fmla="*/ 0 w 8062546"/>
                <a:gd name="connsiteY2" fmla="*/ 1424354 h 3789485"/>
                <a:gd name="connsiteX3" fmla="*/ 8062546 w 8062546"/>
                <a:gd name="connsiteY3" fmla="*/ 3789485 h 3789485"/>
                <a:gd name="connsiteX0" fmla="*/ 7517423 w 7517423"/>
                <a:gd name="connsiteY0" fmla="*/ 3789485 h 3789485"/>
                <a:gd name="connsiteX1" fmla="*/ 0 w 7517423"/>
                <a:gd name="connsiteY1" fmla="*/ 0 h 3789485"/>
                <a:gd name="connsiteX2" fmla="*/ 1283677 w 7517423"/>
                <a:gd name="connsiteY2" fmla="*/ 1970454 h 3789485"/>
                <a:gd name="connsiteX3" fmla="*/ 7517423 w 7517423"/>
                <a:gd name="connsiteY3" fmla="*/ 3789485 h 3789485"/>
                <a:gd name="connsiteX0" fmla="*/ 6233746 w 6233746"/>
                <a:gd name="connsiteY0" fmla="*/ 3027485 h 3027485"/>
                <a:gd name="connsiteX1" fmla="*/ 862623 w 6233746"/>
                <a:gd name="connsiteY1" fmla="*/ 0 h 3027485"/>
                <a:gd name="connsiteX2" fmla="*/ 0 w 6233746"/>
                <a:gd name="connsiteY2" fmla="*/ 1208454 h 3027485"/>
                <a:gd name="connsiteX3" fmla="*/ 6233746 w 6233746"/>
                <a:gd name="connsiteY3" fmla="*/ 3027485 h 3027485"/>
              </a:gdLst>
              <a:ahLst/>
              <a:cxnLst>
                <a:cxn ang="0">
                  <a:pos x="connsiteX0" y="connsiteY0"/>
                </a:cxn>
                <a:cxn ang="0">
                  <a:pos x="connsiteX1" y="connsiteY1"/>
                </a:cxn>
                <a:cxn ang="0">
                  <a:pos x="connsiteX2" y="connsiteY2"/>
                </a:cxn>
                <a:cxn ang="0">
                  <a:pos x="connsiteX3" y="connsiteY3"/>
                </a:cxn>
              </a:cxnLst>
              <a:rect l="l" t="t" r="r" b="b"/>
              <a:pathLst>
                <a:path w="6233746" h="3027485">
                  <a:moveTo>
                    <a:pt x="6233746" y="3027485"/>
                  </a:moveTo>
                  <a:lnTo>
                    <a:pt x="862623" y="0"/>
                  </a:lnTo>
                  <a:lnTo>
                    <a:pt x="0" y="1208454"/>
                  </a:lnTo>
                  <a:lnTo>
                    <a:pt x="6233746" y="3027485"/>
                  </a:lnTo>
                  <a:close/>
                </a:path>
              </a:pathLst>
            </a:custGeom>
            <a:solidFill>
              <a:srgbClr val="FFFFFF">
                <a:alpha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a:gradFill>
                  <a:gsLst>
                    <a:gs pos="0">
                      <a:srgbClr val="FFFFFF"/>
                    </a:gs>
                    <a:gs pos="100000">
                      <a:srgbClr val="FFFFFF"/>
                    </a:gs>
                  </a:gsLst>
                  <a:lin ang="5400000" scaled="0"/>
                </a:gradFill>
                <a:ea typeface="Segoe UI" pitchFamily="34" charset="0"/>
                <a:cs typeface="Segoe UI" pitchFamily="34" charset="0"/>
              </a:endParaRPr>
            </a:p>
          </p:txBody>
        </p:sp>
        <p:sp>
          <p:nvSpPr>
            <p:cNvPr id="187" name="Freeform 186"/>
            <p:cNvSpPr/>
            <p:nvPr/>
          </p:nvSpPr>
          <p:spPr bwMode="auto">
            <a:xfrm>
              <a:off x="4245049" y="5871517"/>
              <a:ext cx="6658570" cy="864158"/>
            </a:xfrm>
            <a:custGeom>
              <a:avLst/>
              <a:gdLst>
                <a:gd name="connsiteX0" fmla="*/ 9293469 w 9355016"/>
                <a:gd name="connsiteY0" fmla="*/ 2171700 h 2171700"/>
                <a:gd name="connsiteX1" fmla="*/ 0 w 9355016"/>
                <a:gd name="connsiteY1" fmla="*/ 1125416 h 2171700"/>
                <a:gd name="connsiteX2" fmla="*/ 272562 w 9355016"/>
                <a:gd name="connsiteY2" fmla="*/ 0 h 2171700"/>
                <a:gd name="connsiteX3" fmla="*/ 9355016 w 9355016"/>
                <a:gd name="connsiteY3" fmla="*/ 2127739 h 2171700"/>
                <a:gd name="connsiteX4" fmla="*/ 9293469 w 9355016"/>
                <a:gd name="connsiteY4" fmla="*/ 2171700 h 2171700"/>
                <a:gd name="connsiteX0" fmla="*/ 9020907 w 9082454"/>
                <a:gd name="connsiteY0" fmla="*/ 2171700 h 2417187"/>
                <a:gd name="connsiteX1" fmla="*/ 2572238 w 9082454"/>
                <a:gd name="connsiteY1" fmla="*/ 2417187 h 2417187"/>
                <a:gd name="connsiteX2" fmla="*/ 0 w 9082454"/>
                <a:gd name="connsiteY2" fmla="*/ 0 h 2417187"/>
                <a:gd name="connsiteX3" fmla="*/ 9082454 w 9082454"/>
                <a:gd name="connsiteY3" fmla="*/ 2127739 h 2417187"/>
                <a:gd name="connsiteX4" fmla="*/ 9020907 w 9082454"/>
                <a:gd name="connsiteY4" fmla="*/ 2171700 h 2417187"/>
                <a:gd name="connsiteX0" fmla="*/ 6597021 w 6658568"/>
                <a:gd name="connsiteY0" fmla="*/ 618671 h 864158"/>
                <a:gd name="connsiteX1" fmla="*/ 148352 w 6658568"/>
                <a:gd name="connsiteY1" fmla="*/ 864158 h 864158"/>
                <a:gd name="connsiteX2" fmla="*/ 0 w 6658568"/>
                <a:gd name="connsiteY2" fmla="*/ 0 h 864158"/>
                <a:gd name="connsiteX3" fmla="*/ 6658568 w 6658568"/>
                <a:gd name="connsiteY3" fmla="*/ 574710 h 864158"/>
                <a:gd name="connsiteX4" fmla="*/ 6597021 w 6658568"/>
                <a:gd name="connsiteY4" fmla="*/ 618671 h 864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568" h="864158">
                  <a:moveTo>
                    <a:pt x="6597021" y="618671"/>
                  </a:moveTo>
                  <a:lnTo>
                    <a:pt x="148352" y="864158"/>
                  </a:lnTo>
                  <a:lnTo>
                    <a:pt x="0" y="0"/>
                  </a:lnTo>
                  <a:lnTo>
                    <a:pt x="6658568" y="574710"/>
                  </a:lnTo>
                  <a:lnTo>
                    <a:pt x="6597021" y="618671"/>
                  </a:lnTo>
                  <a:close/>
                </a:path>
              </a:pathLst>
            </a:custGeom>
            <a:solidFill>
              <a:srgbClr val="FFFFFF">
                <a:alpha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a:gradFill>
                  <a:gsLst>
                    <a:gs pos="0">
                      <a:srgbClr val="FFFFFF"/>
                    </a:gs>
                    <a:gs pos="100000">
                      <a:srgbClr val="FFFFFF"/>
                    </a:gs>
                  </a:gsLst>
                  <a:lin ang="5400000" scaled="0"/>
                </a:gradFill>
                <a:ea typeface="Segoe UI" pitchFamily="34" charset="0"/>
                <a:cs typeface="Segoe UI" pitchFamily="34" charset="0"/>
              </a:endParaRPr>
            </a:p>
          </p:txBody>
        </p:sp>
        <p:grpSp>
          <p:nvGrpSpPr>
            <p:cNvPr id="346" name="Group 345"/>
            <p:cNvGrpSpPr/>
            <p:nvPr/>
          </p:nvGrpSpPr>
          <p:grpSpPr>
            <a:xfrm>
              <a:off x="6370372" y="448912"/>
              <a:ext cx="1874385" cy="1887475"/>
              <a:chOff x="3765843" y="1420206"/>
              <a:chExt cx="1520689" cy="1531312"/>
            </a:xfrm>
          </p:grpSpPr>
          <p:sp>
            <p:nvSpPr>
              <p:cNvPr id="360" name="Oval 13"/>
              <p:cNvSpPr>
                <a:spLocks noChangeArrowheads="1"/>
              </p:cNvSpPr>
              <p:nvPr/>
            </p:nvSpPr>
            <p:spPr bwMode="auto">
              <a:xfrm>
                <a:off x="3765843" y="1420206"/>
                <a:ext cx="1520689" cy="1531312"/>
              </a:xfrm>
              <a:prstGeom prst="ellipse">
                <a:avLst/>
              </a:prstGeom>
              <a:solidFill>
                <a:srgbClr val="DC3C00"/>
              </a:solidFill>
              <a:ln>
                <a:noFill/>
              </a:ln>
            </p:spPr>
            <p:txBody>
              <a:bodyPr vert="horz" wrap="none" lIns="0" tIns="0" rIns="0" bIns="0" numCol="1" anchor="ctr" anchorCtr="0" compatLnSpc="1">
                <a:prstTxWarp prst="textNoShape">
                  <a:avLst/>
                </a:prstTxWarp>
              </a:bodyPr>
              <a:lstStyle/>
              <a:p>
                <a:pPr algn="ctr" defTabSz="914224">
                  <a:defRPr/>
                </a:pPr>
                <a:endParaRPr lang="en-US" sz="2400" kern="0">
                  <a:solidFill>
                    <a:srgbClr val="FFFFFF"/>
                  </a:solidFill>
                  <a:latin typeface="Segoe UI Semibold" panose="020B0702040204020203" pitchFamily="34" charset="0"/>
                  <a:cs typeface="Segoe UI Semibold" panose="020B0702040204020203" pitchFamily="34" charset="0"/>
                </a:endParaRPr>
              </a:p>
            </p:txBody>
          </p:sp>
          <p:sp>
            <p:nvSpPr>
              <p:cNvPr id="361" name="Freeform 80"/>
              <p:cNvSpPr>
                <a:spLocks noEditPoints="1"/>
              </p:cNvSpPr>
              <p:nvPr/>
            </p:nvSpPr>
            <p:spPr bwMode="black">
              <a:xfrm>
                <a:off x="4041793" y="1542051"/>
                <a:ext cx="968788" cy="117534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alpha val="10000"/>
                </a:srgbClr>
              </a:solidFill>
              <a:ln>
                <a:noFill/>
              </a:ln>
            </p:spPr>
            <p:txBody>
              <a:bodyPr vert="horz" wrap="square" lIns="82305" tIns="41153" rIns="82305" bIns="41153" numCol="1" anchor="t" anchorCtr="0" compatLnSpc="1">
                <a:prstTxWarp prst="textNoShape">
                  <a:avLst/>
                </a:prstTxWarp>
              </a:bodyPr>
              <a:lstStyle/>
              <a:p>
                <a:pPr defTabSz="914224">
                  <a:defRPr/>
                </a:pPr>
                <a:endParaRPr lang="en-US" sz="1800" kern="0">
                  <a:solidFill>
                    <a:srgbClr val="FFFFFF"/>
                  </a:solidFill>
                </a:endParaRPr>
              </a:p>
            </p:txBody>
          </p:sp>
        </p:grpSp>
        <p:grpSp>
          <p:nvGrpSpPr>
            <p:cNvPr id="347" name="Group 346"/>
            <p:cNvGrpSpPr/>
            <p:nvPr/>
          </p:nvGrpSpPr>
          <p:grpSpPr>
            <a:xfrm>
              <a:off x="4490271" y="3201333"/>
              <a:ext cx="1874385" cy="1887475"/>
              <a:chOff x="283912" y="1554135"/>
              <a:chExt cx="1520689" cy="1531312"/>
            </a:xfrm>
          </p:grpSpPr>
          <p:sp>
            <p:nvSpPr>
              <p:cNvPr id="358" name="Oval 13"/>
              <p:cNvSpPr>
                <a:spLocks noChangeArrowheads="1"/>
              </p:cNvSpPr>
              <p:nvPr/>
            </p:nvSpPr>
            <p:spPr bwMode="auto">
              <a:xfrm>
                <a:off x="283912" y="1554135"/>
                <a:ext cx="1520689" cy="1531312"/>
              </a:xfrm>
              <a:prstGeom prst="ellipse">
                <a:avLst/>
              </a:prstGeom>
              <a:solidFill>
                <a:srgbClr val="7FBA00"/>
              </a:solidFill>
              <a:ln>
                <a:noFill/>
              </a:ln>
            </p:spPr>
            <p:txBody>
              <a:bodyPr vert="horz" wrap="square" lIns="0" tIns="0" rIns="0" bIns="0" numCol="1" anchor="ctr" anchorCtr="0" compatLnSpc="1">
                <a:prstTxWarp prst="textNoShape">
                  <a:avLst/>
                </a:prstTxWarp>
              </a:bodyPr>
              <a:lstStyle/>
              <a:p>
                <a:pPr algn="ctr" defTabSz="914224">
                  <a:defRPr/>
                </a:pPr>
                <a:endParaRPr lang="en-US" sz="2400" kern="0">
                  <a:solidFill>
                    <a:srgbClr val="FFFFFF"/>
                  </a:solidFill>
                  <a:latin typeface="Segoe UI Semibold" panose="020B0702040204020203" pitchFamily="34" charset="0"/>
                  <a:cs typeface="Segoe UI Semibold" panose="020B0702040204020203" pitchFamily="34" charset="0"/>
                </a:endParaRPr>
              </a:p>
            </p:txBody>
          </p:sp>
          <p:sp>
            <p:nvSpPr>
              <p:cNvPr id="359" name="Freeform 73"/>
              <p:cNvSpPr>
                <a:spLocks noEditPoints="1"/>
              </p:cNvSpPr>
              <p:nvPr/>
            </p:nvSpPr>
            <p:spPr bwMode="black">
              <a:xfrm>
                <a:off x="378556" y="1677148"/>
                <a:ext cx="1331400" cy="12852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10000"/>
                </a:srgbClr>
              </a:solidFill>
              <a:ln>
                <a:noFill/>
              </a:ln>
            </p:spPr>
            <p:txBody>
              <a:bodyPr vert="horz" wrap="square" lIns="82305" tIns="41153" rIns="82305" bIns="41153" numCol="1" anchor="t" anchorCtr="0" compatLnSpc="1">
                <a:prstTxWarp prst="textNoShape">
                  <a:avLst/>
                </a:prstTxWarp>
              </a:bodyPr>
              <a:lstStyle/>
              <a:p>
                <a:pPr defTabSz="914224">
                  <a:defRPr/>
                </a:pPr>
                <a:endParaRPr lang="en-US" sz="1800" kern="0">
                  <a:solidFill>
                    <a:srgbClr val="FFFFFF"/>
                  </a:solidFill>
                </a:endParaRPr>
              </a:p>
            </p:txBody>
          </p:sp>
        </p:grpSp>
        <p:grpSp>
          <p:nvGrpSpPr>
            <p:cNvPr id="348" name="Group 347"/>
            <p:cNvGrpSpPr/>
            <p:nvPr/>
          </p:nvGrpSpPr>
          <p:grpSpPr>
            <a:xfrm>
              <a:off x="9227904" y="2194491"/>
              <a:ext cx="1227129" cy="1233544"/>
              <a:chOff x="15478120" y="-2840041"/>
              <a:chExt cx="1820862" cy="1830385"/>
            </a:xfrm>
          </p:grpSpPr>
          <p:sp>
            <p:nvSpPr>
              <p:cNvPr id="354"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FFFFFF"/>
                  </a:solidFill>
                </a:endParaRPr>
              </a:p>
            </p:txBody>
          </p:sp>
          <p:sp>
            <p:nvSpPr>
              <p:cNvPr id="355"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FFFFFF"/>
                  </a:solidFill>
                </a:endParaRPr>
              </a:p>
            </p:txBody>
          </p:sp>
          <p:sp>
            <p:nvSpPr>
              <p:cNvPr id="356"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FFFFFF"/>
                  </a:solidFill>
                </a:endParaRPr>
              </a:p>
            </p:txBody>
          </p:sp>
          <p:sp>
            <p:nvSpPr>
              <p:cNvPr id="357"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FFFFFF"/>
                  </a:solidFill>
                </a:endParaRPr>
              </a:p>
            </p:txBody>
          </p:sp>
        </p:grpSp>
        <p:grpSp>
          <p:nvGrpSpPr>
            <p:cNvPr id="349" name="Group 348"/>
            <p:cNvGrpSpPr/>
            <p:nvPr/>
          </p:nvGrpSpPr>
          <p:grpSpPr>
            <a:xfrm>
              <a:off x="3617190" y="5756495"/>
              <a:ext cx="1155999" cy="1162044"/>
              <a:chOff x="2214054" y="2491634"/>
              <a:chExt cx="1155998" cy="1162044"/>
            </a:xfrm>
          </p:grpSpPr>
          <p:sp>
            <p:nvSpPr>
              <p:cNvPr id="350" name="Oval 5"/>
              <p:cNvSpPr>
                <a:spLocks noChangeArrowheads="1"/>
              </p:cNvSpPr>
              <p:nvPr/>
            </p:nvSpPr>
            <p:spPr bwMode="auto">
              <a:xfrm>
                <a:off x="2214054" y="2491634"/>
                <a:ext cx="1155998" cy="1162044"/>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FFFFFF"/>
                  </a:solidFill>
                </a:endParaRPr>
              </a:p>
            </p:txBody>
          </p:sp>
          <p:sp>
            <p:nvSpPr>
              <p:cNvPr id="351" name="Freeform 6"/>
              <p:cNvSpPr>
                <a:spLocks/>
              </p:cNvSpPr>
              <p:nvPr/>
            </p:nvSpPr>
            <p:spPr bwMode="auto">
              <a:xfrm>
                <a:off x="2483148" y="2894771"/>
                <a:ext cx="310416" cy="531134"/>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FFFFFF"/>
                  </a:solidFill>
                </a:endParaRPr>
              </a:p>
            </p:txBody>
          </p:sp>
          <p:sp>
            <p:nvSpPr>
              <p:cNvPr id="352" name="Freeform 7"/>
              <p:cNvSpPr>
                <a:spLocks/>
              </p:cNvSpPr>
              <p:nvPr/>
            </p:nvSpPr>
            <p:spPr bwMode="auto">
              <a:xfrm>
                <a:off x="2793565" y="2894771"/>
                <a:ext cx="307392" cy="53113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FFFFFF"/>
                  </a:solidFill>
                </a:endParaRPr>
              </a:p>
            </p:txBody>
          </p:sp>
          <p:sp>
            <p:nvSpPr>
              <p:cNvPr id="353" name="Freeform 8"/>
              <p:cNvSpPr>
                <a:spLocks/>
              </p:cNvSpPr>
              <p:nvPr/>
            </p:nvSpPr>
            <p:spPr bwMode="auto">
              <a:xfrm>
                <a:off x="2485164" y="2717391"/>
                <a:ext cx="615793" cy="353753"/>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US" sz="1800" kern="0">
                  <a:solidFill>
                    <a:srgbClr val="FFFFFF"/>
                  </a:solidFill>
                </a:endParaRPr>
              </a:p>
            </p:txBody>
          </p:sp>
        </p:grpSp>
      </p:grpSp>
      <p:sp>
        <p:nvSpPr>
          <p:cNvPr id="49" name="Title 1"/>
          <p:cNvSpPr>
            <a:spLocks noGrp="1"/>
          </p:cNvSpPr>
          <p:nvPr userDrawn="1"/>
        </p:nvSpPr>
        <p:spPr bwMode="auto">
          <a:xfrm>
            <a:off x="457581" y="1670061"/>
            <a:ext cx="4963954" cy="4113177"/>
          </a:xfrm>
          <a:prstGeom prst="rect">
            <a:avLst/>
          </a:prstGeom>
          <a:solidFill>
            <a:schemeClr val="bg2">
              <a:alpha val="96000"/>
            </a:schemeClr>
          </a:solidFill>
        </p:spPr>
        <p:txBody>
          <a:bodyPr vert="horz" wrap="square" lIns="146283" tIns="91427" rIns="146283" bIns="91427" rtlCol="0" anchor="t" anchorCtr="0">
            <a:noAutofit/>
          </a:bodyPr>
          <a:lstStyle>
            <a:lvl1pPr algn="l" defTabSz="932742" rtl="0" eaLnBrk="1" latinLnBrk="0" hangingPunct="1">
              <a:lnSpc>
                <a:spcPct val="90000"/>
              </a:lnSpc>
              <a:spcBef>
                <a:spcPct val="0"/>
              </a:spcBef>
              <a:buNone/>
              <a:defRPr lang="en-US" sz="5400" b="0" kern="1200" cap="none" spc="-100" baseline="0">
                <a:ln w="3175">
                  <a:noFill/>
                </a:ln>
                <a:gradFill>
                  <a:gsLst>
                    <a:gs pos="57576">
                      <a:srgbClr val="FFFFFF"/>
                    </a:gs>
                    <a:gs pos="35000">
                      <a:srgbClr val="FFFFFF"/>
                    </a:gs>
                  </a:gsLst>
                  <a:lin ang="5400000" scaled="0"/>
                </a:gradFill>
                <a:effectLst/>
                <a:latin typeface="+mj-lt"/>
                <a:ea typeface="+mn-ea"/>
                <a:cs typeface="Segoe UI" pitchFamily="34" charset="0"/>
              </a:defRPr>
            </a:lvl1pPr>
          </a:lstStyle>
          <a:p>
            <a:pPr defTabSz="932563">
              <a:defRPr/>
            </a:pPr>
            <a:endParaRPr sz="5399" spc="-100">
              <a:solidFill>
                <a:srgbClr val="FFFFFF"/>
              </a:solidFill>
            </a:endParaRPr>
          </a:p>
        </p:txBody>
      </p:sp>
      <p:sp>
        <p:nvSpPr>
          <p:cNvPr id="9" name="Title 1"/>
          <p:cNvSpPr>
            <a:spLocks noGrp="1"/>
          </p:cNvSpPr>
          <p:nvPr userDrawn="1">
            <p:ph type="title" hasCustomPrompt="1"/>
          </p:nvPr>
        </p:nvSpPr>
        <p:spPr bwMode="auto">
          <a:xfrm>
            <a:off x="457581" y="1670060"/>
            <a:ext cx="4963954" cy="1828800"/>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457581" y="3654443"/>
            <a:ext cx="4963954" cy="1825625"/>
          </a:xfrm>
        </p:spPr>
        <p:txBody>
          <a:bodyPr tIns="109728" bIns="109728">
            <a:noAutofit/>
          </a:bodyPr>
          <a:lstStyle>
            <a:lvl1pPr marL="0" indent="0">
              <a:lnSpc>
                <a:spcPct val="100000"/>
              </a:lnSpc>
              <a:spcBef>
                <a:spcPts val="0"/>
              </a:spcBef>
              <a:buNone/>
              <a:defRPr sz="3199">
                <a:solidFill>
                  <a:schemeClr val="tx1"/>
                </a:solidFill>
              </a:defRPr>
            </a:lvl1pPr>
          </a:lstStyle>
          <a:p>
            <a:pPr lvl="0"/>
            <a:r>
              <a:rPr lang="en-US"/>
              <a:t>Speaker Name</a:t>
            </a:r>
          </a:p>
        </p:txBody>
      </p:sp>
      <p:grpSp>
        <p:nvGrpSpPr>
          <p:cNvPr id="166" name="Group 165"/>
          <p:cNvGrpSpPr/>
          <p:nvPr userDrawn="1"/>
        </p:nvGrpSpPr>
        <p:grpSpPr>
          <a:xfrm>
            <a:off x="5519951" y="4012444"/>
            <a:ext cx="2551820" cy="2987664"/>
            <a:chOff x="4332288" y="3989388"/>
            <a:chExt cx="1152525" cy="1349375"/>
          </a:xfrm>
        </p:grpSpPr>
        <p:sp>
          <p:nvSpPr>
            <p:cNvPr id="167" name="Freeform 16"/>
            <p:cNvSpPr>
              <a:spLocks/>
            </p:cNvSpPr>
            <p:nvPr/>
          </p:nvSpPr>
          <p:spPr bwMode="auto">
            <a:xfrm>
              <a:off x="4356100" y="4173538"/>
              <a:ext cx="1104900" cy="1165225"/>
            </a:xfrm>
            <a:custGeom>
              <a:avLst/>
              <a:gdLst>
                <a:gd name="T0" fmla="*/ 1401 w 1479"/>
                <a:gd name="T1" fmla="*/ 0 h 1559"/>
                <a:gd name="T2" fmla="*/ 1293 w 1479"/>
                <a:gd name="T3" fmla="*/ 134 h 1559"/>
                <a:gd name="T4" fmla="*/ 1073 w 1479"/>
                <a:gd name="T5" fmla="*/ 179 h 1559"/>
                <a:gd name="T6" fmla="*/ 898 w 1479"/>
                <a:gd name="T7" fmla="*/ 73 h 1559"/>
                <a:gd name="T8" fmla="*/ 579 w 1479"/>
                <a:gd name="T9" fmla="*/ 74 h 1559"/>
                <a:gd name="T10" fmla="*/ 406 w 1479"/>
                <a:gd name="T11" fmla="*/ 179 h 1559"/>
                <a:gd name="T12" fmla="*/ 186 w 1479"/>
                <a:gd name="T13" fmla="*/ 134 h 1559"/>
                <a:gd name="T14" fmla="*/ 78 w 1479"/>
                <a:gd name="T15" fmla="*/ 0 h 1559"/>
                <a:gd name="T16" fmla="*/ 0 w 1479"/>
                <a:gd name="T17" fmla="*/ 32 h 1559"/>
                <a:gd name="T18" fmla="*/ 139 w 1479"/>
                <a:gd name="T19" fmla="*/ 203 h 1559"/>
                <a:gd name="T20" fmla="*/ 349 w 1479"/>
                <a:gd name="T21" fmla="*/ 268 h 1559"/>
                <a:gd name="T22" fmla="*/ 422 w 1479"/>
                <a:gd name="T23" fmla="*/ 261 h 1559"/>
                <a:gd name="T24" fmla="*/ 579 w 1479"/>
                <a:gd name="T25" fmla="*/ 191 h 1559"/>
                <a:gd name="T26" fmla="*/ 583 w 1479"/>
                <a:gd name="T27" fmla="*/ 583 h 1559"/>
                <a:gd name="T28" fmla="*/ 563 w 1479"/>
                <a:gd name="T29" fmla="*/ 763 h 1559"/>
                <a:gd name="T30" fmla="*/ 598 w 1479"/>
                <a:gd name="T31" fmla="*/ 763 h 1559"/>
                <a:gd name="T32" fmla="*/ 598 w 1479"/>
                <a:gd name="T33" fmla="*/ 1559 h 1559"/>
                <a:gd name="T34" fmla="*/ 702 w 1479"/>
                <a:gd name="T35" fmla="*/ 1559 h 1559"/>
                <a:gd name="T36" fmla="*/ 742 w 1479"/>
                <a:gd name="T37" fmla="*/ 951 h 1559"/>
                <a:gd name="T38" fmla="*/ 798 w 1479"/>
                <a:gd name="T39" fmla="*/ 1559 h 1559"/>
                <a:gd name="T40" fmla="*/ 894 w 1479"/>
                <a:gd name="T41" fmla="*/ 1559 h 1559"/>
                <a:gd name="T42" fmla="*/ 879 w 1479"/>
                <a:gd name="T43" fmla="*/ 771 h 1559"/>
                <a:gd name="T44" fmla="*/ 914 w 1479"/>
                <a:gd name="T45" fmla="*/ 763 h 1559"/>
                <a:gd name="T46" fmla="*/ 886 w 1479"/>
                <a:gd name="T47" fmla="*/ 583 h 1559"/>
                <a:gd name="T48" fmla="*/ 898 w 1479"/>
                <a:gd name="T49" fmla="*/ 190 h 1559"/>
                <a:gd name="T50" fmla="*/ 1129 w 1479"/>
                <a:gd name="T51" fmla="*/ 268 h 1559"/>
                <a:gd name="T52" fmla="*/ 1340 w 1479"/>
                <a:gd name="T53" fmla="*/ 203 h 1559"/>
                <a:gd name="T54" fmla="*/ 1479 w 1479"/>
                <a:gd name="T55" fmla="*/ 32 h 1559"/>
                <a:gd name="T56" fmla="*/ 1401 w 1479"/>
                <a:gd name="T57" fmla="*/ 0 h 1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79" h="1559">
                  <a:moveTo>
                    <a:pt x="1401" y="0"/>
                  </a:moveTo>
                  <a:cubicBezTo>
                    <a:pt x="1379" y="55"/>
                    <a:pt x="1342" y="101"/>
                    <a:pt x="1293" y="134"/>
                  </a:cubicBezTo>
                  <a:cubicBezTo>
                    <a:pt x="1228" y="178"/>
                    <a:pt x="1150" y="194"/>
                    <a:pt x="1073" y="179"/>
                  </a:cubicBezTo>
                  <a:cubicBezTo>
                    <a:pt x="1003" y="165"/>
                    <a:pt x="942" y="128"/>
                    <a:pt x="898" y="73"/>
                  </a:cubicBezTo>
                  <a:cubicBezTo>
                    <a:pt x="579" y="74"/>
                    <a:pt x="579" y="74"/>
                    <a:pt x="579" y="74"/>
                  </a:cubicBezTo>
                  <a:cubicBezTo>
                    <a:pt x="536" y="128"/>
                    <a:pt x="475" y="165"/>
                    <a:pt x="406" y="179"/>
                  </a:cubicBezTo>
                  <a:cubicBezTo>
                    <a:pt x="329" y="194"/>
                    <a:pt x="251" y="178"/>
                    <a:pt x="186" y="134"/>
                  </a:cubicBezTo>
                  <a:cubicBezTo>
                    <a:pt x="137" y="101"/>
                    <a:pt x="100" y="55"/>
                    <a:pt x="78" y="0"/>
                  </a:cubicBezTo>
                  <a:cubicBezTo>
                    <a:pt x="0" y="32"/>
                    <a:pt x="0" y="32"/>
                    <a:pt x="0" y="32"/>
                  </a:cubicBezTo>
                  <a:cubicBezTo>
                    <a:pt x="28" y="102"/>
                    <a:pt x="76" y="161"/>
                    <a:pt x="139" y="203"/>
                  </a:cubicBezTo>
                  <a:cubicBezTo>
                    <a:pt x="202" y="246"/>
                    <a:pt x="275" y="268"/>
                    <a:pt x="349" y="268"/>
                  </a:cubicBezTo>
                  <a:cubicBezTo>
                    <a:pt x="374" y="268"/>
                    <a:pt x="398" y="266"/>
                    <a:pt x="422" y="261"/>
                  </a:cubicBezTo>
                  <a:cubicBezTo>
                    <a:pt x="480" y="250"/>
                    <a:pt x="534" y="226"/>
                    <a:pt x="579" y="191"/>
                  </a:cubicBezTo>
                  <a:cubicBezTo>
                    <a:pt x="583" y="583"/>
                    <a:pt x="583" y="583"/>
                    <a:pt x="583" y="583"/>
                  </a:cubicBezTo>
                  <a:cubicBezTo>
                    <a:pt x="563" y="763"/>
                    <a:pt x="563" y="763"/>
                    <a:pt x="563" y="763"/>
                  </a:cubicBezTo>
                  <a:cubicBezTo>
                    <a:pt x="598" y="763"/>
                    <a:pt x="598" y="763"/>
                    <a:pt x="598" y="763"/>
                  </a:cubicBezTo>
                  <a:cubicBezTo>
                    <a:pt x="598" y="1559"/>
                    <a:pt x="598" y="1559"/>
                    <a:pt x="598" y="1559"/>
                  </a:cubicBezTo>
                  <a:cubicBezTo>
                    <a:pt x="702" y="1559"/>
                    <a:pt x="702" y="1559"/>
                    <a:pt x="702" y="1559"/>
                  </a:cubicBezTo>
                  <a:cubicBezTo>
                    <a:pt x="742" y="951"/>
                    <a:pt x="742" y="951"/>
                    <a:pt x="742" y="951"/>
                  </a:cubicBezTo>
                  <a:cubicBezTo>
                    <a:pt x="798" y="1559"/>
                    <a:pt x="798" y="1559"/>
                    <a:pt x="798" y="1559"/>
                  </a:cubicBezTo>
                  <a:cubicBezTo>
                    <a:pt x="894" y="1559"/>
                    <a:pt x="894" y="1559"/>
                    <a:pt x="894" y="1559"/>
                  </a:cubicBezTo>
                  <a:cubicBezTo>
                    <a:pt x="879" y="771"/>
                    <a:pt x="879" y="771"/>
                    <a:pt x="879" y="771"/>
                  </a:cubicBezTo>
                  <a:cubicBezTo>
                    <a:pt x="914" y="763"/>
                    <a:pt x="914" y="763"/>
                    <a:pt x="914" y="763"/>
                  </a:cubicBezTo>
                  <a:cubicBezTo>
                    <a:pt x="886" y="583"/>
                    <a:pt x="886" y="583"/>
                    <a:pt x="886" y="583"/>
                  </a:cubicBezTo>
                  <a:cubicBezTo>
                    <a:pt x="898" y="190"/>
                    <a:pt x="898" y="190"/>
                    <a:pt x="898" y="190"/>
                  </a:cubicBezTo>
                  <a:cubicBezTo>
                    <a:pt x="965" y="241"/>
                    <a:pt x="1047" y="268"/>
                    <a:pt x="1129" y="268"/>
                  </a:cubicBezTo>
                  <a:cubicBezTo>
                    <a:pt x="1202" y="268"/>
                    <a:pt x="1275" y="247"/>
                    <a:pt x="1340" y="203"/>
                  </a:cubicBezTo>
                  <a:cubicBezTo>
                    <a:pt x="1403" y="161"/>
                    <a:pt x="1451" y="102"/>
                    <a:pt x="1479" y="32"/>
                  </a:cubicBezTo>
                  <a:lnTo>
                    <a:pt x="1401" y="0"/>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68" name="Freeform 17"/>
            <p:cNvSpPr>
              <a:spLocks/>
            </p:cNvSpPr>
            <p:nvPr/>
          </p:nvSpPr>
          <p:spPr bwMode="auto">
            <a:xfrm>
              <a:off x="4691063" y="4229100"/>
              <a:ext cx="346075" cy="658813"/>
            </a:xfrm>
            <a:custGeom>
              <a:avLst/>
              <a:gdLst>
                <a:gd name="T0" fmla="*/ 322 w 463"/>
                <a:gd name="T1" fmla="*/ 720 h 882"/>
                <a:gd name="T2" fmla="*/ 285 w 463"/>
                <a:gd name="T3" fmla="*/ 612 h 882"/>
                <a:gd name="T4" fmla="*/ 334 w 463"/>
                <a:gd name="T5" fmla="*/ 703 h 882"/>
                <a:gd name="T6" fmla="*/ 463 w 463"/>
                <a:gd name="T7" fmla="*/ 675 h 882"/>
                <a:gd name="T8" fmla="*/ 302 w 463"/>
                <a:gd name="T9" fmla="*/ 387 h 882"/>
                <a:gd name="T10" fmla="*/ 375 w 463"/>
                <a:gd name="T11" fmla="*/ 119 h 882"/>
                <a:gd name="T12" fmla="*/ 353 w 463"/>
                <a:gd name="T13" fmla="*/ 108 h 882"/>
                <a:gd name="T14" fmla="*/ 380 w 463"/>
                <a:gd name="T15" fmla="*/ 95 h 882"/>
                <a:gd name="T16" fmla="*/ 353 w 463"/>
                <a:gd name="T17" fmla="*/ 0 h 882"/>
                <a:gd name="T18" fmla="*/ 219 w 463"/>
                <a:gd name="T19" fmla="*/ 1 h 882"/>
                <a:gd name="T20" fmla="*/ 193 w 463"/>
                <a:gd name="T21" fmla="*/ 95 h 882"/>
                <a:gd name="T22" fmla="*/ 219 w 463"/>
                <a:gd name="T23" fmla="*/ 108 h 882"/>
                <a:gd name="T24" fmla="*/ 197 w 463"/>
                <a:gd name="T25" fmla="*/ 119 h 882"/>
                <a:gd name="T26" fmla="*/ 241 w 463"/>
                <a:gd name="T27" fmla="*/ 280 h 882"/>
                <a:gd name="T28" fmla="*/ 134 w 463"/>
                <a:gd name="T29" fmla="*/ 88 h 882"/>
                <a:gd name="T30" fmla="*/ 0 w 463"/>
                <a:gd name="T31" fmla="*/ 182 h 882"/>
                <a:gd name="T32" fmla="*/ 130 w 463"/>
                <a:gd name="T33" fmla="*/ 118 h 882"/>
                <a:gd name="T34" fmla="*/ 134 w 463"/>
                <a:gd name="T35" fmla="*/ 510 h 882"/>
                <a:gd name="T36" fmla="*/ 114 w 463"/>
                <a:gd name="T37" fmla="*/ 690 h 882"/>
                <a:gd name="T38" fmla="*/ 160 w 463"/>
                <a:gd name="T39" fmla="*/ 690 h 882"/>
                <a:gd name="T40" fmla="*/ 221 w 463"/>
                <a:gd name="T41" fmla="*/ 766 h 882"/>
                <a:gd name="T42" fmla="*/ 285 w 463"/>
                <a:gd name="T43" fmla="*/ 842 h 882"/>
                <a:gd name="T44" fmla="*/ 366 w 463"/>
                <a:gd name="T45" fmla="*/ 832 h 882"/>
                <a:gd name="T46" fmla="*/ 438 w 463"/>
                <a:gd name="T47" fmla="*/ 882 h 882"/>
                <a:gd name="T48" fmla="*/ 430 w 463"/>
                <a:gd name="T49" fmla="*/ 698 h 882"/>
                <a:gd name="T50" fmla="*/ 322 w 463"/>
                <a:gd name="T51" fmla="*/ 72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882">
                  <a:moveTo>
                    <a:pt x="322" y="720"/>
                  </a:moveTo>
                  <a:cubicBezTo>
                    <a:pt x="285" y="612"/>
                    <a:pt x="285" y="612"/>
                    <a:pt x="285" y="612"/>
                  </a:cubicBezTo>
                  <a:cubicBezTo>
                    <a:pt x="334" y="703"/>
                    <a:pt x="334" y="703"/>
                    <a:pt x="334" y="703"/>
                  </a:cubicBezTo>
                  <a:cubicBezTo>
                    <a:pt x="463" y="675"/>
                    <a:pt x="463" y="675"/>
                    <a:pt x="463" y="675"/>
                  </a:cubicBezTo>
                  <a:cubicBezTo>
                    <a:pt x="302" y="387"/>
                    <a:pt x="302" y="387"/>
                    <a:pt x="302" y="387"/>
                  </a:cubicBezTo>
                  <a:cubicBezTo>
                    <a:pt x="375" y="119"/>
                    <a:pt x="375" y="119"/>
                    <a:pt x="375" y="119"/>
                  </a:cubicBezTo>
                  <a:cubicBezTo>
                    <a:pt x="353" y="108"/>
                    <a:pt x="353" y="108"/>
                    <a:pt x="353" y="108"/>
                  </a:cubicBezTo>
                  <a:cubicBezTo>
                    <a:pt x="380" y="95"/>
                    <a:pt x="380" y="95"/>
                    <a:pt x="380" y="95"/>
                  </a:cubicBezTo>
                  <a:cubicBezTo>
                    <a:pt x="353" y="0"/>
                    <a:pt x="353" y="0"/>
                    <a:pt x="353" y="0"/>
                  </a:cubicBezTo>
                  <a:cubicBezTo>
                    <a:pt x="219" y="1"/>
                    <a:pt x="219" y="1"/>
                    <a:pt x="219" y="1"/>
                  </a:cubicBezTo>
                  <a:cubicBezTo>
                    <a:pt x="193" y="95"/>
                    <a:pt x="193" y="95"/>
                    <a:pt x="193" y="95"/>
                  </a:cubicBezTo>
                  <a:cubicBezTo>
                    <a:pt x="219" y="108"/>
                    <a:pt x="219" y="108"/>
                    <a:pt x="219" y="108"/>
                  </a:cubicBezTo>
                  <a:cubicBezTo>
                    <a:pt x="197" y="119"/>
                    <a:pt x="197" y="119"/>
                    <a:pt x="197" y="119"/>
                  </a:cubicBezTo>
                  <a:cubicBezTo>
                    <a:pt x="241" y="280"/>
                    <a:pt x="241" y="280"/>
                    <a:pt x="241" y="280"/>
                  </a:cubicBezTo>
                  <a:cubicBezTo>
                    <a:pt x="134" y="88"/>
                    <a:pt x="134" y="88"/>
                    <a:pt x="134" y="88"/>
                  </a:cubicBezTo>
                  <a:cubicBezTo>
                    <a:pt x="0" y="182"/>
                    <a:pt x="0" y="182"/>
                    <a:pt x="0" y="182"/>
                  </a:cubicBezTo>
                  <a:cubicBezTo>
                    <a:pt x="48" y="169"/>
                    <a:pt x="92" y="147"/>
                    <a:pt x="130" y="118"/>
                  </a:cubicBezTo>
                  <a:cubicBezTo>
                    <a:pt x="134" y="510"/>
                    <a:pt x="134" y="510"/>
                    <a:pt x="134" y="510"/>
                  </a:cubicBezTo>
                  <a:cubicBezTo>
                    <a:pt x="114" y="690"/>
                    <a:pt x="114" y="690"/>
                    <a:pt x="114" y="690"/>
                  </a:cubicBezTo>
                  <a:cubicBezTo>
                    <a:pt x="160" y="690"/>
                    <a:pt x="160" y="690"/>
                    <a:pt x="160" y="690"/>
                  </a:cubicBezTo>
                  <a:cubicBezTo>
                    <a:pt x="221" y="766"/>
                    <a:pt x="221" y="766"/>
                    <a:pt x="221" y="766"/>
                  </a:cubicBezTo>
                  <a:cubicBezTo>
                    <a:pt x="285" y="842"/>
                    <a:pt x="285" y="842"/>
                    <a:pt x="285" y="842"/>
                  </a:cubicBezTo>
                  <a:cubicBezTo>
                    <a:pt x="366" y="832"/>
                    <a:pt x="366" y="832"/>
                    <a:pt x="366" y="832"/>
                  </a:cubicBezTo>
                  <a:cubicBezTo>
                    <a:pt x="438" y="882"/>
                    <a:pt x="438" y="882"/>
                    <a:pt x="438" y="882"/>
                  </a:cubicBezTo>
                  <a:cubicBezTo>
                    <a:pt x="430" y="698"/>
                    <a:pt x="430" y="698"/>
                    <a:pt x="430" y="698"/>
                  </a:cubicBezTo>
                  <a:lnTo>
                    <a:pt x="322" y="72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69" name="Freeform 18"/>
            <p:cNvSpPr>
              <a:spLocks/>
            </p:cNvSpPr>
            <p:nvPr/>
          </p:nvSpPr>
          <p:spPr bwMode="auto">
            <a:xfrm>
              <a:off x="4691063" y="4229100"/>
              <a:ext cx="346075" cy="658813"/>
            </a:xfrm>
            <a:custGeom>
              <a:avLst/>
              <a:gdLst>
                <a:gd name="T0" fmla="*/ 322 w 463"/>
                <a:gd name="T1" fmla="*/ 720 h 882"/>
                <a:gd name="T2" fmla="*/ 285 w 463"/>
                <a:gd name="T3" fmla="*/ 612 h 882"/>
                <a:gd name="T4" fmla="*/ 334 w 463"/>
                <a:gd name="T5" fmla="*/ 703 h 882"/>
                <a:gd name="T6" fmla="*/ 463 w 463"/>
                <a:gd name="T7" fmla="*/ 675 h 882"/>
                <a:gd name="T8" fmla="*/ 302 w 463"/>
                <a:gd name="T9" fmla="*/ 387 h 882"/>
                <a:gd name="T10" fmla="*/ 375 w 463"/>
                <a:gd name="T11" fmla="*/ 119 h 882"/>
                <a:gd name="T12" fmla="*/ 353 w 463"/>
                <a:gd name="T13" fmla="*/ 108 h 882"/>
                <a:gd name="T14" fmla="*/ 380 w 463"/>
                <a:gd name="T15" fmla="*/ 95 h 882"/>
                <a:gd name="T16" fmla="*/ 353 w 463"/>
                <a:gd name="T17" fmla="*/ 0 h 882"/>
                <a:gd name="T18" fmla="*/ 219 w 463"/>
                <a:gd name="T19" fmla="*/ 1 h 882"/>
                <a:gd name="T20" fmla="*/ 193 w 463"/>
                <a:gd name="T21" fmla="*/ 95 h 882"/>
                <a:gd name="T22" fmla="*/ 219 w 463"/>
                <a:gd name="T23" fmla="*/ 108 h 882"/>
                <a:gd name="T24" fmla="*/ 197 w 463"/>
                <a:gd name="T25" fmla="*/ 119 h 882"/>
                <a:gd name="T26" fmla="*/ 241 w 463"/>
                <a:gd name="T27" fmla="*/ 280 h 882"/>
                <a:gd name="T28" fmla="*/ 134 w 463"/>
                <a:gd name="T29" fmla="*/ 88 h 882"/>
                <a:gd name="T30" fmla="*/ 0 w 463"/>
                <a:gd name="T31" fmla="*/ 182 h 882"/>
                <a:gd name="T32" fmla="*/ 130 w 463"/>
                <a:gd name="T33" fmla="*/ 118 h 882"/>
                <a:gd name="T34" fmla="*/ 134 w 463"/>
                <a:gd name="T35" fmla="*/ 510 h 882"/>
                <a:gd name="T36" fmla="*/ 114 w 463"/>
                <a:gd name="T37" fmla="*/ 690 h 882"/>
                <a:gd name="T38" fmla="*/ 160 w 463"/>
                <a:gd name="T39" fmla="*/ 690 h 882"/>
                <a:gd name="T40" fmla="*/ 225 w 463"/>
                <a:gd name="T41" fmla="*/ 750 h 882"/>
                <a:gd name="T42" fmla="*/ 297 w 463"/>
                <a:gd name="T43" fmla="*/ 834 h 882"/>
                <a:gd name="T44" fmla="*/ 366 w 463"/>
                <a:gd name="T45" fmla="*/ 832 h 882"/>
                <a:gd name="T46" fmla="*/ 438 w 463"/>
                <a:gd name="T47" fmla="*/ 882 h 882"/>
                <a:gd name="T48" fmla="*/ 430 w 463"/>
                <a:gd name="T49" fmla="*/ 698 h 882"/>
                <a:gd name="T50" fmla="*/ 322 w 463"/>
                <a:gd name="T51" fmla="*/ 72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882">
                  <a:moveTo>
                    <a:pt x="322" y="720"/>
                  </a:moveTo>
                  <a:cubicBezTo>
                    <a:pt x="285" y="612"/>
                    <a:pt x="285" y="612"/>
                    <a:pt x="285" y="612"/>
                  </a:cubicBezTo>
                  <a:cubicBezTo>
                    <a:pt x="334" y="703"/>
                    <a:pt x="334" y="703"/>
                    <a:pt x="334" y="703"/>
                  </a:cubicBezTo>
                  <a:cubicBezTo>
                    <a:pt x="463" y="675"/>
                    <a:pt x="463" y="675"/>
                    <a:pt x="463" y="675"/>
                  </a:cubicBezTo>
                  <a:cubicBezTo>
                    <a:pt x="302" y="387"/>
                    <a:pt x="302" y="387"/>
                    <a:pt x="302" y="387"/>
                  </a:cubicBezTo>
                  <a:cubicBezTo>
                    <a:pt x="375" y="119"/>
                    <a:pt x="375" y="119"/>
                    <a:pt x="375" y="119"/>
                  </a:cubicBezTo>
                  <a:cubicBezTo>
                    <a:pt x="353" y="108"/>
                    <a:pt x="353" y="108"/>
                    <a:pt x="353" y="108"/>
                  </a:cubicBezTo>
                  <a:cubicBezTo>
                    <a:pt x="380" y="95"/>
                    <a:pt x="380" y="95"/>
                    <a:pt x="380" y="95"/>
                  </a:cubicBezTo>
                  <a:cubicBezTo>
                    <a:pt x="353" y="0"/>
                    <a:pt x="353" y="0"/>
                    <a:pt x="353" y="0"/>
                  </a:cubicBezTo>
                  <a:cubicBezTo>
                    <a:pt x="219" y="1"/>
                    <a:pt x="219" y="1"/>
                    <a:pt x="219" y="1"/>
                  </a:cubicBezTo>
                  <a:cubicBezTo>
                    <a:pt x="193" y="95"/>
                    <a:pt x="193" y="95"/>
                    <a:pt x="193" y="95"/>
                  </a:cubicBezTo>
                  <a:cubicBezTo>
                    <a:pt x="219" y="108"/>
                    <a:pt x="219" y="108"/>
                    <a:pt x="219" y="108"/>
                  </a:cubicBezTo>
                  <a:cubicBezTo>
                    <a:pt x="197" y="119"/>
                    <a:pt x="197" y="119"/>
                    <a:pt x="197" y="119"/>
                  </a:cubicBezTo>
                  <a:cubicBezTo>
                    <a:pt x="241" y="280"/>
                    <a:pt x="241" y="280"/>
                    <a:pt x="241" y="280"/>
                  </a:cubicBezTo>
                  <a:cubicBezTo>
                    <a:pt x="134" y="88"/>
                    <a:pt x="134" y="88"/>
                    <a:pt x="134" y="88"/>
                  </a:cubicBezTo>
                  <a:cubicBezTo>
                    <a:pt x="0" y="182"/>
                    <a:pt x="0" y="182"/>
                    <a:pt x="0" y="182"/>
                  </a:cubicBezTo>
                  <a:cubicBezTo>
                    <a:pt x="48" y="169"/>
                    <a:pt x="92" y="147"/>
                    <a:pt x="130" y="118"/>
                  </a:cubicBezTo>
                  <a:cubicBezTo>
                    <a:pt x="134" y="510"/>
                    <a:pt x="134" y="510"/>
                    <a:pt x="134" y="510"/>
                  </a:cubicBezTo>
                  <a:cubicBezTo>
                    <a:pt x="114" y="690"/>
                    <a:pt x="114" y="690"/>
                    <a:pt x="114" y="690"/>
                  </a:cubicBezTo>
                  <a:cubicBezTo>
                    <a:pt x="160" y="690"/>
                    <a:pt x="160" y="690"/>
                    <a:pt x="160" y="690"/>
                  </a:cubicBezTo>
                  <a:cubicBezTo>
                    <a:pt x="225" y="750"/>
                    <a:pt x="225" y="750"/>
                    <a:pt x="225" y="750"/>
                  </a:cubicBezTo>
                  <a:cubicBezTo>
                    <a:pt x="297" y="834"/>
                    <a:pt x="297" y="834"/>
                    <a:pt x="297" y="834"/>
                  </a:cubicBezTo>
                  <a:cubicBezTo>
                    <a:pt x="366" y="832"/>
                    <a:pt x="366" y="832"/>
                    <a:pt x="366" y="832"/>
                  </a:cubicBezTo>
                  <a:cubicBezTo>
                    <a:pt x="438" y="882"/>
                    <a:pt x="438" y="882"/>
                    <a:pt x="438" y="882"/>
                  </a:cubicBezTo>
                  <a:cubicBezTo>
                    <a:pt x="430" y="698"/>
                    <a:pt x="430" y="698"/>
                    <a:pt x="430" y="698"/>
                  </a:cubicBezTo>
                  <a:lnTo>
                    <a:pt x="322" y="72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0" name="Freeform 19"/>
            <p:cNvSpPr>
              <a:spLocks/>
            </p:cNvSpPr>
            <p:nvPr/>
          </p:nvSpPr>
          <p:spPr bwMode="auto">
            <a:xfrm>
              <a:off x="4859338" y="4229100"/>
              <a:ext cx="92075" cy="184150"/>
            </a:xfrm>
            <a:custGeom>
              <a:avLst/>
              <a:gdLst>
                <a:gd name="T0" fmla="*/ 0 w 58"/>
                <a:gd name="T1" fmla="*/ 0 h 116"/>
                <a:gd name="T2" fmla="*/ 15 w 58"/>
                <a:gd name="T3" fmla="*/ 116 h 116"/>
                <a:gd name="T4" fmla="*/ 23 w 58"/>
                <a:gd name="T5" fmla="*/ 48 h 116"/>
                <a:gd name="T6" fmla="*/ 19 w 58"/>
                <a:gd name="T7" fmla="*/ 37 h 116"/>
                <a:gd name="T8" fmla="*/ 24 w 58"/>
                <a:gd name="T9" fmla="*/ 27 h 116"/>
                <a:gd name="T10" fmla="*/ 37 w 58"/>
                <a:gd name="T11" fmla="*/ 27 h 116"/>
                <a:gd name="T12" fmla="*/ 39 w 58"/>
                <a:gd name="T13" fmla="*/ 38 h 116"/>
                <a:gd name="T14" fmla="*/ 35 w 58"/>
                <a:gd name="T15" fmla="*/ 47 h 116"/>
                <a:gd name="T16" fmla="*/ 34 w 58"/>
                <a:gd name="T17" fmla="*/ 113 h 116"/>
                <a:gd name="T18" fmla="*/ 58 w 58"/>
                <a:gd name="T19" fmla="*/ 1 h 116"/>
                <a:gd name="T20" fmla="*/ 0 w 58"/>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116">
                  <a:moveTo>
                    <a:pt x="0" y="0"/>
                  </a:moveTo>
                  <a:lnTo>
                    <a:pt x="15" y="116"/>
                  </a:lnTo>
                  <a:lnTo>
                    <a:pt x="23" y="48"/>
                  </a:lnTo>
                  <a:lnTo>
                    <a:pt x="19" y="37"/>
                  </a:lnTo>
                  <a:lnTo>
                    <a:pt x="24" y="27"/>
                  </a:lnTo>
                  <a:lnTo>
                    <a:pt x="37" y="27"/>
                  </a:lnTo>
                  <a:lnTo>
                    <a:pt x="39" y="38"/>
                  </a:lnTo>
                  <a:lnTo>
                    <a:pt x="35" y="47"/>
                  </a:lnTo>
                  <a:lnTo>
                    <a:pt x="34" y="113"/>
                  </a:lnTo>
                  <a:lnTo>
                    <a:pt x="58" y="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1" name="Freeform 20"/>
            <p:cNvSpPr>
              <a:spLocks/>
            </p:cNvSpPr>
            <p:nvPr/>
          </p:nvSpPr>
          <p:spPr bwMode="auto">
            <a:xfrm>
              <a:off x="5403850" y="4084638"/>
              <a:ext cx="80963" cy="127000"/>
            </a:xfrm>
            <a:custGeom>
              <a:avLst/>
              <a:gdLst>
                <a:gd name="T0" fmla="*/ 102 w 108"/>
                <a:gd name="T1" fmla="*/ 60 h 169"/>
                <a:gd name="T2" fmla="*/ 96 w 108"/>
                <a:gd name="T3" fmla="*/ 60 h 169"/>
                <a:gd name="T4" fmla="*/ 101 w 108"/>
                <a:gd name="T5" fmla="*/ 47 h 169"/>
                <a:gd name="T6" fmla="*/ 97 w 108"/>
                <a:gd name="T7" fmla="*/ 38 h 169"/>
                <a:gd name="T8" fmla="*/ 94 w 108"/>
                <a:gd name="T9" fmla="*/ 37 h 169"/>
                <a:gd name="T10" fmla="*/ 98 w 108"/>
                <a:gd name="T11" fmla="*/ 26 h 169"/>
                <a:gd name="T12" fmla="*/ 93 w 108"/>
                <a:gd name="T13" fmla="*/ 14 h 169"/>
                <a:gd name="T14" fmla="*/ 86 w 108"/>
                <a:gd name="T15" fmla="*/ 15 h 169"/>
                <a:gd name="T16" fmla="*/ 86 w 108"/>
                <a:gd name="T17" fmla="*/ 13 h 169"/>
                <a:gd name="T18" fmla="*/ 81 w 108"/>
                <a:gd name="T19" fmla="*/ 2 h 169"/>
                <a:gd name="T20" fmla="*/ 69 w 108"/>
                <a:gd name="T21" fmla="*/ 7 h 169"/>
                <a:gd name="T22" fmla="*/ 51 w 108"/>
                <a:gd name="T23" fmla="*/ 56 h 169"/>
                <a:gd name="T24" fmla="*/ 44 w 108"/>
                <a:gd name="T25" fmla="*/ 49 h 169"/>
                <a:gd name="T26" fmla="*/ 29 w 108"/>
                <a:gd name="T27" fmla="*/ 55 h 169"/>
                <a:gd name="T28" fmla="*/ 28 w 108"/>
                <a:gd name="T29" fmla="*/ 59 h 169"/>
                <a:gd name="T30" fmla="*/ 16 w 108"/>
                <a:gd name="T31" fmla="*/ 89 h 169"/>
                <a:gd name="T32" fmla="*/ 7 w 108"/>
                <a:gd name="T33" fmla="*/ 112 h 169"/>
                <a:gd name="T34" fmla="*/ 7 w 108"/>
                <a:gd name="T35" fmla="*/ 112 h 169"/>
                <a:gd name="T36" fmla="*/ 30 w 108"/>
                <a:gd name="T37" fmla="*/ 162 h 169"/>
                <a:gd name="T38" fmla="*/ 79 w 108"/>
                <a:gd name="T39" fmla="*/ 140 h 169"/>
                <a:gd name="T40" fmla="*/ 79 w 108"/>
                <a:gd name="T41" fmla="*/ 140 h 169"/>
                <a:gd name="T42" fmla="*/ 89 w 108"/>
                <a:gd name="T43" fmla="*/ 115 h 169"/>
                <a:gd name="T44" fmla="*/ 100 w 108"/>
                <a:gd name="T45" fmla="*/ 86 h 169"/>
                <a:gd name="T46" fmla="*/ 106 w 108"/>
                <a:gd name="T47" fmla="*/ 69 h 169"/>
                <a:gd name="T48" fmla="*/ 102 w 108"/>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169">
                  <a:moveTo>
                    <a:pt x="102" y="60"/>
                  </a:moveTo>
                  <a:cubicBezTo>
                    <a:pt x="100" y="59"/>
                    <a:pt x="98" y="59"/>
                    <a:pt x="96" y="60"/>
                  </a:cubicBezTo>
                  <a:cubicBezTo>
                    <a:pt x="99" y="53"/>
                    <a:pt x="101" y="48"/>
                    <a:pt x="101" y="47"/>
                  </a:cubicBezTo>
                  <a:cubicBezTo>
                    <a:pt x="103" y="43"/>
                    <a:pt x="101" y="39"/>
                    <a:pt x="97" y="38"/>
                  </a:cubicBezTo>
                  <a:cubicBezTo>
                    <a:pt x="96" y="37"/>
                    <a:pt x="95" y="37"/>
                    <a:pt x="94" y="37"/>
                  </a:cubicBezTo>
                  <a:cubicBezTo>
                    <a:pt x="96" y="31"/>
                    <a:pt x="98" y="27"/>
                    <a:pt x="98" y="26"/>
                  </a:cubicBezTo>
                  <a:cubicBezTo>
                    <a:pt x="100" y="21"/>
                    <a:pt x="98" y="16"/>
                    <a:pt x="93" y="14"/>
                  </a:cubicBezTo>
                  <a:cubicBezTo>
                    <a:pt x="91" y="13"/>
                    <a:pt x="88" y="14"/>
                    <a:pt x="86" y="15"/>
                  </a:cubicBezTo>
                  <a:cubicBezTo>
                    <a:pt x="86" y="14"/>
                    <a:pt x="86" y="14"/>
                    <a:pt x="86" y="13"/>
                  </a:cubicBezTo>
                  <a:cubicBezTo>
                    <a:pt x="88" y="9"/>
                    <a:pt x="86" y="3"/>
                    <a:pt x="81" y="2"/>
                  </a:cubicBezTo>
                  <a:cubicBezTo>
                    <a:pt x="76" y="0"/>
                    <a:pt x="71" y="2"/>
                    <a:pt x="69" y="7"/>
                  </a:cubicBezTo>
                  <a:cubicBezTo>
                    <a:pt x="69" y="9"/>
                    <a:pt x="56" y="41"/>
                    <a:pt x="51" y="56"/>
                  </a:cubicBezTo>
                  <a:cubicBezTo>
                    <a:pt x="50" y="53"/>
                    <a:pt x="47" y="50"/>
                    <a:pt x="44" y="49"/>
                  </a:cubicBezTo>
                  <a:cubicBezTo>
                    <a:pt x="38" y="47"/>
                    <a:pt x="32" y="49"/>
                    <a:pt x="29" y="55"/>
                  </a:cubicBezTo>
                  <a:cubicBezTo>
                    <a:pt x="29" y="56"/>
                    <a:pt x="29" y="57"/>
                    <a:pt x="28" y="59"/>
                  </a:cubicBezTo>
                  <a:cubicBezTo>
                    <a:pt x="25" y="67"/>
                    <a:pt x="17" y="86"/>
                    <a:pt x="16" y="89"/>
                  </a:cubicBezTo>
                  <a:cubicBezTo>
                    <a:pt x="7" y="112"/>
                    <a:pt x="7" y="112"/>
                    <a:pt x="7" y="112"/>
                  </a:cubicBezTo>
                  <a:cubicBezTo>
                    <a:pt x="7" y="112"/>
                    <a:pt x="7" y="112"/>
                    <a:pt x="7" y="112"/>
                  </a:cubicBezTo>
                  <a:cubicBezTo>
                    <a:pt x="0" y="132"/>
                    <a:pt x="10" y="154"/>
                    <a:pt x="30" y="162"/>
                  </a:cubicBezTo>
                  <a:cubicBezTo>
                    <a:pt x="49" y="169"/>
                    <a:pt x="72" y="159"/>
                    <a:pt x="79" y="140"/>
                  </a:cubicBezTo>
                  <a:cubicBezTo>
                    <a:pt x="79" y="140"/>
                    <a:pt x="79" y="140"/>
                    <a:pt x="79" y="140"/>
                  </a:cubicBezTo>
                  <a:cubicBezTo>
                    <a:pt x="89" y="115"/>
                    <a:pt x="89" y="115"/>
                    <a:pt x="89" y="115"/>
                  </a:cubicBezTo>
                  <a:cubicBezTo>
                    <a:pt x="89" y="113"/>
                    <a:pt x="95" y="99"/>
                    <a:pt x="100" y="86"/>
                  </a:cubicBezTo>
                  <a:cubicBezTo>
                    <a:pt x="103" y="78"/>
                    <a:pt x="106" y="70"/>
                    <a:pt x="106" y="69"/>
                  </a:cubicBezTo>
                  <a:cubicBezTo>
                    <a:pt x="108" y="66"/>
                    <a:pt x="106" y="61"/>
                    <a:pt x="102" y="6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2" name="Freeform 21"/>
            <p:cNvSpPr>
              <a:spLocks/>
            </p:cNvSpPr>
            <p:nvPr/>
          </p:nvSpPr>
          <p:spPr bwMode="auto">
            <a:xfrm>
              <a:off x="4332288" y="4084638"/>
              <a:ext cx="80963" cy="127000"/>
            </a:xfrm>
            <a:custGeom>
              <a:avLst/>
              <a:gdLst>
                <a:gd name="T0" fmla="*/ 6 w 108"/>
                <a:gd name="T1" fmla="*/ 60 h 169"/>
                <a:gd name="T2" fmla="*/ 11 w 108"/>
                <a:gd name="T3" fmla="*/ 60 h 169"/>
                <a:gd name="T4" fmla="*/ 6 w 108"/>
                <a:gd name="T5" fmla="*/ 47 h 169"/>
                <a:gd name="T6" fmla="*/ 11 w 108"/>
                <a:gd name="T7" fmla="*/ 38 h 169"/>
                <a:gd name="T8" fmla="*/ 13 w 108"/>
                <a:gd name="T9" fmla="*/ 37 h 169"/>
                <a:gd name="T10" fmla="*/ 9 w 108"/>
                <a:gd name="T11" fmla="*/ 26 h 169"/>
                <a:gd name="T12" fmla="*/ 14 w 108"/>
                <a:gd name="T13" fmla="*/ 14 h 169"/>
                <a:gd name="T14" fmla="*/ 22 w 108"/>
                <a:gd name="T15" fmla="*/ 15 h 169"/>
                <a:gd name="T16" fmla="*/ 21 w 108"/>
                <a:gd name="T17" fmla="*/ 13 h 169"/>
                <a:gd name="T18" fmla="*/ 26 w 108"/>
                <a:gd name="T19" fmla="*/ 2 h 169"/>
                <a:gd name="T20" fmla="*/ 38 w 108"/>
                <a:gd name="T21" fmla="*/ 7 h 169"/>
                <a:gd name="T22" fmla="*/ 57 w 108"/>
                <a:gd name="T23" fmla="*/ 56 h 169"/>
                <a:gd name="T24" fmla="*/ 64 w 108"/>
                <a:gd name="T25" fmla="*/ 49 h 169"/>
                <a:gd name="T26" fmla="*/ 78 w 108"/>
                <a:gd name="T27" fmla="*/ 55 h 169"/>
                <a:gd name="T28" fmla="*/ 80 w 108"/>
                <a:gd name="T29" fmla="*/ 59 h 169"/>
                <a:gd name="T30" fmla="*/ 91 w 108"/>
                <a:gd name="T31" fmla="*/ 89 h 169"/>
                <a:gd name="T32" fmla="*/ 100 w 108"/>
                <a:gd name="T33" fmla="*/ 112 h 169"/>
                <a:gd name="T34" fmla="*/ 100 w 108"/>
                <a:gd name="T35" fmla="*/ 112 h 169"/>
                <a:gd name="T36" fmla="*/ 78 w 108"/>
                <a:gd name="T37" fmla="*/ 162 h 169"/>
                <a:gd name="T38" fmla="*/ 28 w 108"/>
                <a:gd name="T39" fmla="*/ 140 h 169"/>
                <a:gd name="T40" fmla="*/ 28 w 108"/>
                <a:gd name="T41" fmla="*/ 140 h 169"/>
                <a:gd name="T42" fmla="*/ 19 w 108"/>
                <a:gd name="T43" fmla="*/ 115 h 169"/>
                <a:gd name="T44" fmla="*/ 8 w 108"/>
                <a:gd name="T45" fmla="*/ 86 h 169"/>
                <a:gd name="T46" fmla="*/ 1 w 108"/>
                <a:gd name="T47" fmla="*/ 69 h 169"/>
                <a:gd name="T48" fmla="*/ 6 w 108"/>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169">
                  <a:moveTo>
                    <a:pt x="6" y="60"/>
                  </a:moveTo>
                  <a:cubicBezTo>
                    <a:pt x="8" y="59"/>
                    <a:pt x="10" y="59"/>
                    <a:pt x="11" y="60"/>
                  </a:cubicBezTo>
                  <a:cubicBezTo>
                    <a:pt x="9" y="53"/>
                    <a:pt x="7" y="48"/>
                    <a:pt x="6" y="47"/>
                  </a:cubicBezTo>
                  <a:cubicBezTo>
                    <a:pt x="5" y="43"/>
                    <a:pt x="7" y="39"/>
                    <a:pt x="11" y="38"/>
                  </a:cubicBezTo>
                  <a:cubicBezTo>
                    <a:pt x="11" y="37"/>
                    <a:pt x="12" y="37"/>
                    <a:pt x="13" y="37"/>
                  </a:cubicBezTo>
                  <a:cubicBezTo>
                    <a:pt x="11" y="31"/>
                    <a:pt x="9" y="27"/>
                    <a:pt x="9" y="26"/>
                  </a:cubicBezTo>
                  <a:cubicBezTo>
                    <a:pt x="7" y="21"/>
                    <a:pt x="10" y="16"/>
                    <a:pt x="14" y="14"/>
                  </a:cubicBezTo>
                  <a:cubicBezTo>
                    <a:pt x="17" y="13"/>
                    <a:pt x="19" y="14"/>
                    <a:pt x="22" y="15"/>
                  </a:cubicBezTo>
                  <a:cubicBezTo>
                    <a:pt x="21" y="14"/>
                    <a:pt x="21" y="14"/>
                    <a:pt x="21" y="13"/>
                  </a:cubicBezTo>
                  <a:cubicBezTo>
                    <a:pt x="19" y="9"/>
                    <a:pt x="22" y="3"/>
                    <a:pt x="26" y="2"/>
                  </a:cubicBezTo>
                  <a:cubicBezTo>
                    <a:pt x="31" y="0"/>
                    <a:pt x="36" y="2"/>
                    <a:pt x="38" y="7"/>
                  </a:cubicBezTo>
                  <a:cubicBezTo>
                    <a:pt x="39" y="9"/>
                    <a:pt x="51" y="41"/>
                    <a:pt x="57" y="56"/>
                  </a:cubicBezTo>
                  <a:cubicBezTo>
                    <a:pt x="58" y="53"/>
                    <a:pt x="60" y="50"/>
                    <a:pt x="64" y="49"/>
                  </a:cubicBezTo>
                  <a:cubicBezTo>
                    <a:pt x="69" y="47"/>
                    <a:pt x="76" y="49"/>
                    <a:pt x="78" y="55"/>
                  </a:cubicBezTo>
                  <a:cubicBezTo>
                    <a:pt x="78" y="56"/>
                    <a:pt x="79" y="57"/>
                    <a:pt x="80" y="59"/>
                  </a:cubicBezTo>
                  <a:cubicBezTo>
                    <a:pt x="83" y="67"/>
                    <a:pt x="90" y="86"/>
                    <a:pt x="91" y="89"/>
                  </a:cubicBezTo>
                  <a:cubicBezTo>
                    <a:pt x="100" y="112"/>
                    <a:pt x="100" y="112"/>
                    <a:pt x="100" y="112"/>
                  </a:cubicBezTo>
                  <a:cubicBezTo>
                    <a:pt x="100" y="112"/>
                    <a:pt x="100" y="112"/>
                    <a:pt x="100" y="112"/>
                  </a:cubicBezTo>
                  <a:cubicBezTo>
                    <a:pt x="108" y="132"/>
                    <a:pt x="98" y="154"/>
                    <a:pt x="78" y="162"/>
                  </a:cubicBezTo>
                  <a:cubicBezTo>
                    <a:pt x="58" y="169"/>
                    <a:pt x="36" y="159"/>
                    <a:pt x="28" y="140"/>
                  </a:cubicBezTo>
                  <a:cubicBezTo>
                    <a:pt x="28" y="140"/>
                    <a:pt x="28" y="140"/>
                    <a:pt x="28" y="140"/>
                  </a:cubicBezTo>
                  <a:cubicBezTo>
                    <a:pt x="19" y="115"/>
                    <a:pt x="19" y="115"/>
                    <a:pt x="19" y="115"/>
                  </a:cubicBezTo>
                  <a:cubicBezTo>
                    <a:pt x="18" y="113"/>
                    <a:pt x="13" y="99"/>
                    <a:pt x="8" y="86"/>
                  </a:cubicBezTo>
                  <a:cubicBezTo>
                    <a:pt x="5" y="78"/>
                    <a:pt x="2" y="70"/>
                    <a:pt x="1" y="69"/>
                  </a:cubicBezTo>
                  <a:cubicBezTo>
                    <a:pt x="0" y="66"/>
                    <a:pt x="2" y="61"/>
                    <a:pt x="6" y="6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3" name="Freeform 22"/>
            <p:cNvSpPr>
              <a:spLocks/>
            </p:cNvSpPr>
            <p:nvPr/>
          </p:nvSpPr>
          <p:spPr bwMode="auto">
            <a:xfrm>
              <a:off x="4727575" y="4016375"/>
              <a:ext cx="265113" cy="255588"/>
            </a:xfrm>
            <a:custGeom>
              <a:avLst/>
              <a:gdLst>
                <a:gd name="T0" fmla="*/ 54 w 355"/>
                <a:gd name="T1" fmla="*/ 0 h 343"/>
                <a:gd name="T2" fmla="*/ 100 w 355"/>
                <a:gd name="T3" fmla="*/ 241 h 343"/>
                <a:gd name="T4" fmla="*/ 169 w 355"/>
                <a:gd name="T5" fmla="*/ 268 h 343"/>
                <a:gd name="T6" fmla="*/ 178 w 355"/>
                <a:gd name="T7" fmla="*/ 286 h 343"/>
                <a:gd name="T8" fmla="*/ 229 w 355"/>
                <a:gd name="T9" fmla="*/ 343 h 343"/>
                <a:gd name="T10" fmla="*/ 255 w 355"/>
                <a:gd name="T11" fmla="*/ 343 h 343"/>
                <a:gd name="T12" fmla="*/ 307 w 355"/>
                <a:gd name="T13" fmla="*/ 286 h 343"/>
                <a:gd name="T14" fmla="*/ 306 w 355"/>
                <a:gd name="T15" fmla="*/ 232 h 343"/>
                <a:gd name="T16" fmla="*/ 341 w 355"/>
                <a:gd name="T17" fmla="*/ 194 h 343"/>
                <a:gd name="T18" fmla="*/ 355 w 355"/>
                <a:gd name="T19" fmla="*/ 169 h 343"/>
                <a:gd name="T20" fmla="*/ 260 w 355"/>
                <a:gd name="T21" fmla="*/ 104 h 343"/>
                <a:gd name="T22" fmla="*/ 277 w 355"/>
                <a:gd name="T23" fmla="*/ 79 h 343"/>
                <a:gd name="T24" fmla="*/ 54 w 355"/>
                <a:gd name="T25"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 h="343">
                  <a:moveTo>
                    <a:pt x="54" y="0"/>
                  </a:moveTo>
                  <a:cubicBezTo>
                    <a:pt x="0" y="79"/>
                    <a:pt x="21" y="187"/>
                    <a:pt x="100" y="241"/>
                  </a:cubicBezTo>
                  <a:cubicBezTo>
                    <a:pt x="121" y="255"/>
                    <a:pt x="145" y="264"/>
                    <a:pt x="169" y="268"/>
                  </a:cubicBezTo>
                  <a:cubicBezTo>
                    <a:pt x="178" y="286"/>
                    <a:pt x="178" y="286"/>
                    <a:pt x="178" y="286"/>
                  </a:cubicBezTo>
                  <a:cubicBezTo>
                    <a:pt x="229" y="343"/>
                    <a:pt x="229" y="343"/>
                    <a:pt x="229" y="343"/>
                  </a:cubicBezTo>
                  <a:cubicBezTo>
                    <a:pt x="255" y="343"/>
                    <a:pt x="255" y="343"/>
                    <a:pt x="255" y="343"/>
                  </a:cubicBezTo>
                  <a:cubicBezTo>
                    <a:pt x="307" y="286"/>
                    <a:pt x="307" y="286"/>
                    <a:pt x="307" y="286"/>
                  </a:cubicBezTo>
                  <a:cubicBezTo>
                    <a:pt x="306" y="232"/>
                    <a:pt x="306" y="232"/>
                    <a:pt x="306" y="232"/>
                  </a:cubicBezTo>
                  <a:cubicBezTo>
                    <a:pt x="319" y="222"/>
                    <a:pt x="331" y="209"/>
                    <a:pt x="341" y="194"/>
                  </a:cubicBezTo>
                  <a:cubicBezTo>
                    <a:pt x="346" y="186"/>
                    <a:pt x="351" y="177"/>
                    <a:pt x="355" y="169"/>
                  </a:cubicBezTo>
                  <a:cubicBezTo>
                    <a:pt x="260" y="104"/>
                    <a:pt x="260" y="104"/>
                    <a:pt x="260" y="104"/>
                  </a:cubicBezTo>
                  <a:cubicBezTo>
                    <a:pt x="277" y="79"/>
                    <a:pt x="277" y="79"/>
                    <a:pt x="277" y="7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4" name="Freeform 23"/>
            <p:cNvSpPr>
              <a:spLocks/>
            </p:cNvSpPr>
            <p:nvPr/>
          </p:nvSpPr>
          <p:spPr bwMode="auto">
            <a:xfrm>
              <a:off x="4837113" y="4056063"/>
              <a:ext cx="11113" cy="11113"/>
            </a:xfrm>
            <a:custGeom>
              <a:avLst/>
              <a:gdLst>
                <a:gd name="T0" fmla="*/ 12 w 16"/>
                <a:gd name="T1" fmla="*/ 2 h 16"/>
                <a:gd name="T2" fmla="*/ 14 w 16"/>
                <a:gd name="T3" fmla="*/ 12 h 16"/>
                <a:gd name="T4" fmla="*/ 4 w 16"/>
                <a:gd name="T5" fmla="*/ 14 h 16"/>
                <a:gd name="T6" fmla="*/ 2 w 16"/>
                <a:gd name="T7" fmla="*/ 4 h 16"/>
                <a:gd name="T8" fmla="*/ 12 w 16"/>
                <a:gd name="T9" fmla="*/ 2 h 16"/>
              </a:gdLst>
              <a:ahLst/>
              <a:cxnLst>
                <a:cxn ang="0">
                  <a:pos x="T0" y="T1"/>
                </a:cxn>
                <a:cxn ang="0">
                  <a:pos x="T2" y="T3"/>
                </a:cxn>
                <a:cxn ang="0">
                  <a:pos x="T4" y="T5"/>
                </a:cxn>
                <a:cxn ang="0">
                  <a:pos x="T6" y="T7"/>
                </a:cxn>
                <a:cxn ang="0">
                  <a:pos x="T8" y="T9"/>
                </a:cxn>
              </a:cxnLst>
              <a:rect l="0" t="0" r="r" b="b"/>
              <a:pathLst>
                <a:path w="16" h="16">
                  <a:moveTo>
                    <a:pt x="12" y="2"/>
                  </a:moveTo>
                  <a:cubicBezTo>
                    <a:pt x="15" y="4"/>
                    <a:pt x="16" y="9"/>
                    <a:pt x="14" y="12"/>
                  </a:cubicBezTo>
                  <a:cubicBezTo>
                    <a:pt x="11" y="16"/>
                    <a:pt x="7" y="16"/>
                    <a:pt x="4" y="14"/>
                  </a:cubicBezTo>
                  <a:cubicBezTo>
                    <a:pt x="0" y="12"/>
                    <a:pt x="0" y="7"/>
                    <a:pt x="2" y="4"/>
                  </a:cubicBezTo>
                  <a:cubicBezTo>
                    <a:pt x="4" y="1"/>
                    <a:pt x="8" y="0"/>
                    <a:pt x="12"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5" name="Oval 32"/>
            <p:cNvSpPr>
              <a:spLocks noChangeArrowheads="1"/>
            </p:cNvSpPr>
            <p:nvPr/>
          </p:nvSpPr>
          <p:spPr bwMode="auto">
            <a:xfrm>
              <a:off x="4891088" y="4529138"/>
              <a:ext cx="14288" cy="14288"/>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6" name="Oval 33"/>
            <p:cNvSpPr>
              <a:spLocks noChangeArrowheads="1"/>
            </p:cNvSpPr>
            <p:nvPr/>
          </p:nvSpPr>
          <p:spPr bwMode="auto">
            <a:xfrm>
              <a:off x="4891088" y="4592638"/>
              <a:ext cx="14288" cy="15875"/>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7" name="Freeform 34"/>
            <p:cNvSpPr>
              <a:spLocks/>
            </p:cNvSpPr>
            <p:nvPr/>
          </p:nvSpPr>
          <p:spPr bwMode="auto">
            <a:xfrm>
              <a:off x="4792663" y="4552950"/>
              <a:ext cx="71438" cy="30163"/>
            </a:xfrm>
            <a:custGeom>
              <a:avLst/>
              <a:gdLst>
                <a:gd name="T0" fmla="*/ 45 w 45"/>
                <a:gd name="T1" fmla="*/ 19 h 19"/>
                <a:gd name="T2" fmla="*/ 0 w 45"/>
                <a:gd name="T3" fmla="*/ 11 h 19"/>
                <a:gd name="T4" fmla="*/ 0 w 45"/>
                <a:gd name="T5" fmla="*/ 0 h 19"/>
                <a:gd name="T6" fmla="*/ 45 w 45"/>
                <a:gd name="T7" fmla="*/ 0 h 19"/>
                <a:gd name="T8" fmla="*/ 45 w 45"/>
                <a:gd name="T9" fmla="*/ 19 h 19"/>
              </a:gdLst>
              <a:ahLst/>
              <a:cxnLst>
                <a:cxn ang="0">
                  <a:pos x="T0" y="T1"/>
                </a:cxn>
                <a:cxn ang="0">
                  <a:pos x="T2" y="T3"/>
                </a:cxn>
                <a:cxn ang="0">
                  <a:pos x="T4" y="T5"/>
                </a:cxn>
                <a:cxn ang="0">
                  <a:pos x="T6" y="T7"/>
                </a:cxn>
                <a:cxn ang="0">
                  <a:pos x="T8" y="T9"/>
                </a:cxn>
              </a:cxnLst>
              <a:rect l="0" t="0" r="r" b="b"/>
              <a:pathLst>
                <a:path w="45" h="19">
                  <a:moveTo>
                    <a:pt x="45" y="19"/>
                  </a:moveTo>
                  <a:lnTo>
                    <a:pt x="0" y="11"/>
                  </a:lnTo>
                  <a:lnTo>
                    <a:pt x="0" y="0"/>
                  </a:lnTo>
                  <a:lnTo>
                    <a:pt x="45" y="0"/>
                  </a:lnTo>
                  <a:lnTo>
                    <a:pt x="45" y="19"/>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8" name="Freeform 35"/>
            <p:cNvSpPr>
              <a:spLocks/>
            </p:cNvSpPr>
            <p:nvPr/>
          </p:nvSpPr>
          <p:spPr bwMode="auto">
            <a:xfrm>
              <a:off x="4929188" y="4552950"/>
              <a:ext cx="73025" cy="30163"/>
            </a:xfrm>
            <a:custGeom>
              <a:avLst/>
              <a:gdLst>
                <a:gd name="T0" fmla="*/ 46 w 46"/>
                <a:gd name="T1" fmla="*/ 19 h 19"/>
                <a:gd name="T2" fmla="*/ 0 w 46"/>
                <a:gd name="T3" fmla="*/ 11 h 19"/>
                <a:gd name="T4" fmla="*/ 0 w 46"/>
                <a:gd name="T5" fmla="*/ 0 h 19"/>
                <a:gd name="T6" fmla="*/ 46 w 46"/>
                <a:gd name="T7" fmla="*/ 0 h 19"/>
                <a:gd name="T8" fmla="*/ 46 w 46"/>
                <a:gd name="T9" fmla="*/ 19 h 19"/>
              </a:gdLst>
              <a:ahLst/>
              <a:cxnLst>
                <a:cxn ang="0">
                  <a:pos x="T0" y="T1"/>
                </a:cxn>
                <a:cxn ang="0">
                  <a:pos x="T2" y="T3"/>
                </a:cxn>
                <a:cxn ang="0">
                  <a:pos x="T4" y="T5"/>
                </a:cxn>
                <a:cxn ang="0">
                  <a:pos x="T6" y="T7"/>
                </a:cxn>
                <a:cxn ang="0">
                  <a:pos x="T8" y="T9"/>
                </a:cxn>
              </a:cxnLst>
              <a:rect l="0" t="0" r="r" b="b"/>
              <a:pathLst>
                <a:path w="46" h="19">
                  <a:moveTo>
                    <a:pt x="46" y="19"/>
                  </a:moveTo>
                  <a:lnTo>
                    <a:pt x="0" y="11"/>
                  </a:lnTo>
                  <a:lnTo>
                    <a:pt x="0" y="0"/>
                  </a:lnTo>
                  <a:lnTo>
                    <a:pt x="46" y="0"/>
                  </a:lnTo>
                  <a:lnTo>
                    <a:pt x="46" y="1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79" name="Freeform 36"/>
            <p:cNvSpPr>
              <a:spLocks/>
            </p:cNvSpPr>
            <p:nvPr/>
          </p:nvSpPr>
          <p:spPr bwMode="auto">
            <a:xfrm>
              <a:off x="4889500" y="4135438"/>
              <a:ext cx="101600" cy="128588"/>
            </a:xfrm>
            <a:custGeom>
              <a:avLst/>
              <a:gdLst>
                <a:gd name="T0" fmla="*/ 88 w 136"/>
                <a:gd name="T1" fmla="*/ 71 h 172"/>
                <a:gd name="T2" fmla="*/ 123 w 136"/>
                <a:gd name="T3" fmla="*/ 33 h 172"/>
                <a:gd name="T4" fmla="*/ 136 w 136"/>
                <a:gd name="T5" fmla="*/ 10 h 172"/>
                <a:gd name="T6" fmla="*/ 135 w 136"/>
                <a:gd name="T7" fmla="*/ 6 h 172"/>
                <a:gd name="T8" fmla="*/ 126 w 136"/>
                <a:gd name="T9" fmla="*/ 0 h 172"/>
                <a:gd name="T10" fmla="*/ 44 w 136"/>
                <a:gd name="T11" fmla="*/ 67 h 172"/>
                <a:gd name="T12" fmla="*/ 0 w 136"/>
                <a:gd name="T13" fmla="*/ 58 h 172"/>
                <a:gd name="T14" fmla="*/ 26 w 136"/>
                <a:gd name="T15" fmla="*/ 164 h 172"/>
                <a:gd name="T16" fmla="*/ 38 w 136"/>
                <a:gd name="T17" fmla="*/ 153 h 172"/>
                <a:gd name="T18" fmla="*/ 46 w 136"/>
                <a:gd name="T19" fmla="*/ 172 h 172"/>
                <a:gd name="T20" fmla="*/ 89 w 136"/>
                <a:gd name="T21" fmla="*/ 125 h 172"/>
                <a:gd name="T22" fmla="*/ 88 w 136"/>
                <a:gd name="T23" fmla="*/ 7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 h="172">
                  <a:moveTo>
                    <a:pt x="88" y="71"/>
                  </a:moveTo>
                  <a:cubicBezTo>
                    <a:pt x="101" y="61"/>
                    <a:pt x="113" y="48"/>
                    <a:pt x="123" y="33"/>
                  </a:cubicBezTo>
                  <a:cubicBezTo>
                    <a:pt x="128" y="26"/>
                    <a:pt x="132" y="18"/>
                    <a:pt x="136" y="10"/>
                  </a:cubicBezTo>
                  <a:cubicBezTo>
                    <a:pt x="135" y="6"/>
                    <a:pt x="135" y="6"/>
                    <a:pt x="135" y="6"/>
                  </a:cubicBezTo>
                  <a:cubicBezTo>
                    <a:pt x="126" y="0"/>
                    <a:pt x="126" y="0"/>
                    <a:pt x="126" y="0"/>
                  </a:cubicBezTo>
                  <a:cubicBezTo>
                    <a:pt x="44" y="67"/>
                    <a:pt x="44" y="67"/>
                    <a:pt x="44" y="67"/>
                  </a:cubicBezTo>
                  <a:cubicBezTo>
                    <a:pt x="0" y="58"/>
                    <a:pt x="0" y="58"/>
                    <a:pt x="0" y="58"/>
                  </a:cubicBezTo>
                  <a:cubicBezTo>
                    <a:pt x="26" y="164"/>
                    <a:pt x="26" y="164"/>
                    <a:pt x="26" y="164"/>
                  </a:cubicBezTo>
                  <a:cubicBezTo>
                    <a:pt x="38" y="153"/>
                    <a:pt x="38" y="153"/>
                    <a:pt x="38" y="153"/>
                  </a:cubicBezTo>
                  <a:cubicBezTo>
                    <a:pt x="46" y="172"/>
                    <a:pt x="46" y="172"/>
                    <a:pt x="46" y="172"/>
                  </a:cubicBezTo>
                  <a:cubicBezTo>
                    <a:pt x="89" y="125"/>
                    <a:pt x="89" y="125"/>
                    <a:pt x="89" y="125"/>
                  </a:cubicBezTo>
                  <a:lnTo>
                    <a:pt x="88" y="71"/>
                  </a:lnTo>
                  <a:close/>
                </a:path>
              </a:pathLst>
            </a:custGeom>
            <a:solidFill>
              <a:srgbClr val="EBE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80" name="Freeform 37"/>
            <p:cNvSpPr>
              <a:spLocks/>
            </p:cNvSpPr>
            <p:nvPr/>
          </p:nvSpPr>
          <p:spPr bwMode="auto">
            <a:xfrm>
              <a:off x="4799013" y="4170363"/>
              <a:ext cx="47625" cy="44450"/>
            </a:xfrm>
            <a:custGeom>
              <a:avLst/>
              <a:gdLst>
                <a:gd name="T0" fmla="*/ 0 w 63"/>
                <a:gd name="T1" fmla="*/ 0 h 59"/>
                <a:gd name="T2" fmla="*/ 0 w 63"/>
                <a:gd name="T3" fmla="*/ 31 h 59"/>
                <a:gd name="T4" fmla="*/ 3 w 63"/>
                <a:gd name="T5" fmla="*/ 34 h 59"/>
                <a:gd name="T6" fmla="*/ 63 w 63"/>
                <a:gd name="T7" fmla="*/ 59 h 59"/>
                <a:gd name="T8" fmla="*/ 63 w 63"/>
                <a:gd name="T9" fmla="*/ 11 h 59"/>
                <a:gd name="T10" fmla="*/ 36 w 63"/>
                <a:gd name="T11" fmla="*/ 19 h 59"/>
                <a:gd name="T12" fmla="*/ 0 w 6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63" h="59">
                  <a:moveTo>
                    <a:pt x="0" y="0"/>
                  </a:moveTo>
                  <a:cubicBezTo>
                    <a:pt x="0" y="31"/>
                    <a:pt x="0" y="31"/>
                    <a:pt x="0" y="31"/>
                  </a:cubicBezTo>
                  <a:cubicBezTo>
                    <a:pt x="1" y="32"/>
                    <a:pt x="2" y="33"/>
                    <a:pt x="3" y="34"/>
                  </a:cubicBezTo>
                  <a:cubicBezTo>
                    <a:pt x="22" y="46"/>
                    <a:pt x="42" y="55"/>
                    <a:pt x="63" y="59"/>
                  </a:cubicBezTo>
                  <a:cubicBezTo>
                    <a:pt x="63" y="11"/>
                    <a:pt x="63" y="11"/>
                    <a:pt x="63" y="11"/>
                  </a:cubicBezTo>
                  <a:cubicBezTo>
                    <a:pt x="55" y="16"/>
                    <a:pt x="46" y="19"/>
                    <a:pt x="36" y="19"/>
                  </a:cubicBezTo>
                  <a:cubicBezTo>
                    <a:pt x="21" y="19"/>
                    <a:pt x="8" y="12"/>
                    <a:pt x="0" y="0"/>
                  </a:cubicBezTo>
                  <a:close/>
                </a:path>
              </a:pathLst>
            </a:custGeom>
            <a:solidFill>
              <a:srgbClr val="EBE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81" name="Freeform 39"/>
            <p:cNvSpPr>
              <a:spLocks/>
            </p:cNvSpPr>
            <p:nvPr/>
          </p:nvSpPr>
          <p:spPr bwMode="auto">
            <a:xfrm>
              <a:off x="5232400" y="4225925"/>
              <a:ext cx="215900" cy="146050"/>
            </a:xfrm>
            <a:custGeom>
              <a:avLst/>
              <a:gdLst>
                <a:gd name="T0" fmla="*/ 0 w 289"/>
                <a:gd name="T1" fmla="*/ 196 h 196"/>
                <a:gd name="T2" fmla="*/ 167 w 289"/>
                <a:gd name="T3" fmla="*/ 134 h 196"/>
                <a:gd name="T4" fmla="*/ 289 w 289"/>
                <a:gd name="T5" fmla="*/ 0 h 196"/>
                <a:gd name="T6" fmla="*/ 0 w 289"/>
                <a:gd name="T7" fmla="*/ 196 h 196"/>
              </a:gdLst>
              <a:ahLst/>
              <a:cxnLst>
                <a:cxn ang="0">
                  <a:pos x="T0" y="T1"/>
                </a:cxn>
                <a:cxn ang="0">
                  <a:pos x="T2" y="T3"/>
                </a:cxn>
                <a:cxn ang="0">
                  <a:pos x="T4" y="T5"/>
                </a:cxn>
                <a:cxn ang="0">
                  <a:pos x="T6" y="T7"/>
                </a:cxn>
              </a:cxnLst>
              <a:rect l="0" t="0" r="r" b="b"/>
              <a:pathLst>
                <a:path w="289" h="196">
                  <a:moveTo>
                    <a:pt x="0" y="196"/>
                  </a:moveTo>
                  <a:cubicBezTo>
                    <a:pt x="58" y="190"/>
                    <a:pt x="115" y="169"/>
                    <a:pt x="167" y="134"/>
                  </a:cubicBezTo>
                  <a:cubicBezTo>
                    <a:pt x="218" y="100"/>
                    <a:pt x="260" y="54"/>
                    <a:pt x="289" y="0"/>
                  </a:cubicBez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sp>
          <p:nvSpPr>
            <p:cNvPr id="182" name="Freeform 40"/>
            <p:cNvSpPr>
              <a:spLocks/>
            </p:cNvSpPr>
            <p:nvPr/>
          </p:nvSpPr>
          <p:spPr bwMode="auto">
            <a:xfrm>
              <a:off x="4678363" y="3989388"/>
              <a:ext cx="153988" cy="225425"/>
            </a:xfrm>
            <a:custGeom>
              <a:avLst/>
              <a:gdLst>
                <a:gd name="T0" fmla="*/ 103 w 207"/>
                <a:gd name="T1" fmla="*/ 18 h 302"/>
                <a:gd name="T2" fmla="*/ 14 w 207"/>
                <a:gd name="T3" fmla="*/ 114 h 302"/>
                <a:gd name="T4" fmla="*/ 19 w 207"/>
                <a:gd name="T5" fmla="*/ 197 h 302"/>
                <a:gd name="T6" fmla="*/ 125 w 207"/>
                <a:gd name="T7" fmla="*/ 281 h 302"/>
                <a:gd name="T8" fmla="*/ 207 w 207"/>
                <a:gd name="T9" fmla="*/ 297 h 302"/>
                <a:gd name="T10" fmla="*/ 195 w 207"/>
                <a:gd name="T11" fmla="*/ 261 h 302"/>
                <a:gd name="T12" fmla="*/ 161 w 207"/>
                <a:gd name="T13" fmla="*/ 243 h 302"/>
                <a:gd name="T14" fmla="*/ 138 w 207"/>
                <a:gd name="T15" fmla="*/ 230 h 302"/>
                <a:gd name="T16" fmla="*/ 130 w 207"/>
                <a:gd name="T17" fmla="*/ 203 h 302"/>
                <a:gd name="T18" fmla="*/ 157 w 207"/>
                <a:gd name="T19" fmla="*/ 195 h 302"/>
                <a:gd name="T20" fmla="*/ 170 w 207"/>
                <a:gd name="T21" fmla="*/ 202 h 302"/>
                <a:gd name="T22" fmla="*/ 177 w 207"/>
                <a:gd name="T23" fmla="*/ 186 h 302"/>
                <a:gd name="T24" fmla="*/ 116 w 207"/>
                <a:gd name="T25" fmla="*/ 99 h 302"/>
                <a:gd name="T26" fmla="*/ 103 w 207"/>
                <a:gd name="T27" fmla="*/ 1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302">
                  <a:moveTo>
                    <a:pt x="103" y="18"/>
                  </a:moveTo>
                  <a:cubicBezTo>
                    <a:pt x="26" y="0"/>
                    <a:pt x="17" y="88"/>
                    <a:pt x="14" y="114"/>
                  </a:cubicBezTo>
                  <a:cubicBezTo>
                    <a:pt x="10" y="140"/>
                    <a:pt x="0" y="155"/>
                    <a:pt x="19" y="197"/>
                  </a:cubicBezTo>
                  <a:cubicBezTo>
                    <a:pt x="35" y="232"/>
                    <a:pt x="92" y="263"/>
                    <a:pt x="125" y="281"/>
                  </a:cubicBezTo>
                  <a:cubicBezTo>
                    <a:pt x="164" y="302"/>
                    <a:pt x="207" y="297"/>
                    <a:pt x="207" y="297"/>
                  </a:cubicBezTo>
                  <a:cubicBezTo>
                    <a:pt x="198" y="279"/>
                    <a:pt x="195" y="276"/>
                    <a:pt x="195" y="261"/>
                  </a:cubicBezTo>
                  <a:cubicBezTo>
                    <a:pt x="194" y="261"/>
                    <a:pt x="161" y="243"/>
                    <a:pt x="161" y="243"/>
                  </a:cubicBezTo>
                  <a:cubicBezTo>
                    <a:pt x="156" y="240"/>
                    <a:pt x="142" y="233"/>
                    <a:pt x="138" y="230"/>
                  </a:cubicBezTo>
                  <a:cubicBezTo>
                    <a:pt x="128" y="225"/>
                    <a:pt x="125" y="213"/>
                    <a:pt x="130" y="203"/>
                  </a:cubicBezTo>
                  <a:cubicBezTo>
                    <a:pt x="135" y="194"/>
                    <a:pt x="147" y="190"/>
                    <a:pt x="157" y="195"/>
                  </a:cubicBezTo>
                  <a:cubicBezTo>
                    <a:pt x="159" y="197"/>
                    <a:pt x="165" y="200"/>
                    <a:pt x="170" y="202"/>
                  </a:cubicBezTo>
                  <a:cubicBezTo>
                    <a:pt x="172" y="197"/>
                    <a:pt x="174" y="192"/>
                    <a:pt x="177" y="186"/>
                  </a:cubicBezTo>
                  <a:cubicBezTo>
                    <a:pt x="177" y="186"/>
                    <a:pt x="112" y="139"/>
                    <a:pt x="116" y="99"/>
                  </a:cubicBezTo>
                  <a:cubicBezTo>
                    <a:pt x="120" y="59"/>
                    <a:pt x="169" y="33"/>
                    <a:pt x="103" y="18"/>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24">
                <a:defRPr/>
              </a:pPr>
              <a:endParaRPr lang="en-IN" sz="1800" kern="0">
                <a:solidFill>
                  <a:srgbClr val="FFFFFF"/>
                </a:solidFill>
              </a:endParaRPr>
            </a:p>
          </p:txBody>
        </p:sp>
      </p:grpSp>
    </p:spTree>
    <p:extLst>
      <p:ext uri="{BB962C8B-B14F-4D97-AF65-F5344CB8AC3E}">
        <p14:creationId xmlns:p14="http://schemas.microsoft.com/office/powerpoint/2010/main" val="129714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274702" y="1718272"/>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548380"/>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bwMode="invGray">
          <a:xfrm>
            <a:off x="457200" y="303486"/>
            <a:ext cx="1645920" cy="352580"/>
          </a:xfrm>
          <a:prstGeom prst="rect">
            <a:avLst/>
          </a:prstGeom>
        </p:spPr>
      </p:pic>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76" y="2554949"/>
            <a:ext cx="12443771" cy="4439576"/>
          </a:xfrm>
          <a:prstGeom prst="rect">
            <a:avLst/>
          </a:prstGeom>
        </p:spPr>
      </p:pic>
    </p:spTree>
    <p:extLst>
      <p:ext uri="{BB962C8B-B14F-4D97-AF65-F5344CB8AC3E}">
        <p14:creationId xmlns:p14="http://schemas.microsoft.com/office/powerpoint/2010/main" val="36032797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37817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solidFill>
                  <a:schemeClr val="bg1"/>
                </a:solidFill>
              </a:defRPr>
            </a:lvl2pPr>
            <a:lvl3pPr marL="228557" indent="0">
              <a:buNone/>
              <a:defRPr>
                <a:solidFill>
                  <a:schemeClr val="bg1"/>
                </a:solidFill>
              </a:defRPr>
            </a:lvl3pPr>
            <a:lvl4pPr marL="457112" indent="0">
              <a:buNone/>
              <a:defRPr>
                <a:solidFill>
                  <a:schemeClr val="bg1"/>
                </a:solidFill>
              </a:defRPr>
            </a:lvl4pPr>
            <a:lvl5pPr marL="685669"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7871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8927" y="347053"/>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46567" y="1729639"/>
            <a:ext cx="10989104" cy="3044250"/>
          </a:xfrm>
        </p:spPr>
        <p:txBody>
          <a:bodyPr lIns="0" tIns="0" rIns="0" bIns="0">
            <a:noAutofit/>
          </a:bodyPr>
          <a:lstStyle>
            <a:lvl1pPr marL="0" marR="0" indent="0" algn="l" defTabSz="508623" rtl="0" eaLnBrk="1" fontAlgn="auto" latinLnBrk="0" hangingPunct="1">
              <a:lnSpc>
                <a:spcPct val="114000"/>
              </a:lnSpc>
              <a:spcBef>
                <a:spcPts val="1800"/>
              </a:spcBef>
              <a:spcAft>
                <a:spcPts val="0"/>
              </a:spcAft>
              <a:buClrTx/>
              <a:buSzTx/>
              <a:buFont typeface="Arial"/>
              <a:buNone/>
              <a:tabLst/>
              <a:defRPr lang="en-US" sz="2000"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95863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72510"/>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7471301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372503"/>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372503"/>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87919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372508"/>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372508"/>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69880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22377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638637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63910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grpSp>
        <p:nvGrpSpPr>
          <p:cNvPr id="5" name="Group 133"/>
          <p:cNvGrpSpPr>
            <a:grpSpLocks noChangeAspect="1"/>
          </p:cNvGrpSpPr>
          <p:nvPr userDrawn="1"/>
        </p:nvGrpSpPr>
        <p:grpSpPr bwMode="auto">
          <a:xfrm>
            <a:off x="-3775" y="2556559"/>
            <a:ext cx="12440253" cy="4437966"/>
            <a:chOff x="4442" y="3197"/>
            <a:chExt cx="3389" cy="1209"/>
          </a:xfrm>
        </p:grpSpPr>
        <p:sp>
          <p:nvSpPr>
            <p:cNvPr id="71" name="Freeform 138"/>
            <p:cNvSpPr>
              <a:spLocks/>
            </p:cNvSpPr>
            <p:nvPr userDrawn="1"/>
          </p:nvSpPr>
          <p:spPr bwMode="auto">
            <a:xfrm>
              <a:off x="4442" y="4304"/>
              <a:ext cx="2356" cy="102"/>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7" name="Freeform 134"/>
            <p:cNvSpPr>
              <a:spLocks/>
            </p:cNvSpPr>
            <p:nvPr userDrawn="1"/>
          </p:nvSpPr>
          <p:spPr bwMode="auto">
            <a:xfrm>
              <a:off x="6204" y="3589"/>
              <a:ext cx="1476" cy="513"/>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 name="Freeform 135"/>
            <p:cNvSpPr>
              <a:spLocks/>
            </p:cNvSpPr>
            <p:nvPr userDrawn="1"/>
          </p:nvSpPr>
          <p:spPr bwMode="auto">
            <a:xfrm>
              <a:off x="6208" y="3197"/>
              <a:ext cx="1491" cy="845"/>
            </a:xfrm>
            <a:custGeom>
              <a:avLst/>
              <a:gdLst>
                <a:gd name="T0" fmla="*/ 14 w 1491"/>
                <a:gd name="T1" fmla="*/ 845 h 845"/>
                <a:gd name="T2" fmla="*/ 0 w 1491"/>
                <a:gd name="T3" fmla="*/ 813 h 845"/>
                <a:gd name="T4" fmla="*/ 348 w 1491"/>
                <a:gd name="T5" fmla="*/ 652 h 845"/>
                <a:gd name="T6" fmla="*/ 562 w 1491"/>
                <a:gd name="T7" fmla="*/ 402 h 845"/>
                <a:gd name="T8" fmla="*/ 915 w 1491"/>
                <a:gd name="T9" fmla="*/ 328 h 845"/>
                <a:gd name="T10" fmla="*/ 1127 w 1491"/>
                <a:gd name="T11" fmla="*/ 77 h 845"/>
                <a:gd name="T12" fmla="*/ 1491 w 1491"/>
                <a:gd name="T13" fmla="*/ 0 h 845"/>
                <a:gd name="T14" fmla="*/ 1491 w 1491"/>
                <a:gd name="T15" fmla="*/ 36 h 845"/>
                <a:gd name="T16" fmla="*/ 1147 w 1491"/>
                <a:gd name="T17" fmla="*/ 111 h 845"/>
                <a:gd name="T18" fmla="*/ 934 w 1491"/>
                <a:gd name="T19" fmla="*/ 360 h 845"/>
                <a:gd name="T20" fmla="*/ 582 w 1491"/>
                <a:gd name="T21" fmla="*/ 434 h 845"/>
                <a:gd name="T22" fmla="*/ 371 w 1491"/>
                <a:gd name="T23" fmla="*/ 682 h 845"/>
                <a:gd name="T24" fmla="*/ 14 w 1491"/>
                <a:gd name="T25" fmla="*/ 84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5">
                  <a:moveTo>
                    <a:pt x="14" y="845"/>
                  </a:moveTo>
                  <a:lnTo>
                    <a:pt x="0" y="813"/>
                  </a:lnTo>
                  <a:lnTo>
                    <a:pt x="348" y="652"/>
                  </a:lnTo>
                  <a:lnTo>
                    <a:pt x="562" y="402"/>
                  </a:lnTo>
                  <a:lnTo>
                    <a:pt x="915" y="328"/>
                  </a:lnTo>
                  <a:lnTo>
                    <a:pt x="1127" y="77"/>
                  </a:lnTo>
                  <a:lnTo>
                    <a:pt x="1491" y="0"/>
                  </a:lnTo>
                  <a:lnTo>
                    <a:pt x="1491" y="36"/>
                  </a:lnTo>
                  <a:lnTo>
                    <a:pt x="1147" y="111"/>
                  </a:lnTo>
                  <a:lnTo>
                    <a:pt x="934" y="360"/>
                  </a:lnTo>
                  <a:lnTo>
                    <a:pt x="582" y="434"/>
                  </a:lnTo>
                  <a:lnTo>
                    <a:pt x="371" y="682"/>
                  </a:lnTo>
                  <a:lnTo>
                    <a:pt x="14" y="84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9" name="Freeform 136"/>
            <p:cNvSpPr>
              <a:spLocks/>
            </p:cNvSpPr>
            <p:nvPr userDrawn="1"/>
          </p:nvSpPr>
          <p:spPr bwMode="auto">
            <a:xfrm>
              <a:off x="6211" y="3810"/>
              <a:ext cx="1469" cy="399"/>
            </a:xfrm>
            <a:custGeom>
              <a:avLst/>
              <a:gdLst>
                <a:gd name="T0" fmla="*/ 5 w 1469"/>
                <a:gd name="T1" fmla="*/ 399 h 399"/>
                <a:gd name="T2" fmla="*/ 0 w 1469"/>
                <a:gd name="T3" fmla="*/ 362 h 399"/>
                <a:gd name="T4" fmla="*/ 340 w 1469"/>
                <a:gd name="T5" fmla="*/ 309 h 399"/>
                <a:gd name="T6" fmla="*/ 624 w 1469"/>
                <a:gd name="T7" fmla="*/ 137 h 399"/>
                <a:gd name="T8" fmla="*/ 968 w 1469"/>
                <a:gd name="T9" fmla="*/ 171 h 399"/>
                <a:gd name="T10" fmla="*/ 1249 w 1469"/>
                <a:gd name="T11" fmla="*/ 0 h 399"/>
                <a:gd name="T12" fmla="*/ 1469 w 1469"/>
                <a:gd name="T13" fmla="*/ 25 h 399"/>
                <a:gd name="T14" fmla="*/ 1469 w 1469"/>
                <a:gd name="T15" fmla="*/ 62 h 399"/>
                <a:gd name="T16" fmla="*/ 1257 w 1469"/>
                <a:gd name="T17" fmla="*/ 36 h 399"/>
                <a:gd name="T18" fmla="*/ 976 w 1469"/>
                <a:gd name="T19" fmla="*/ 208 h 399"/>
                <a:gd name="T20" fmla="*/ 632 w 1469"/>
                <a:gd name="T21" fmla="*/ 174 h 399"/>
                <a:gd name="T22" fmla="*/ 352 w 1469"/>
                <a:gd name="T23" fmla="*/ 344 h 399"/>
                <a:gd name="T24" fmla="*/ 5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5" y="399"/>
                  </a:moveTo>
                  <a:lnTo>
                    <a:pt x="0" y="362"/>
                  </a:lnTo>
                  <a:lnTo>
                    <a:pt x="340" y="309"/>
                  </a:lnTo>
                  <a:lnTo>
                    <a:pt x="624" y="137"/>
                  </a:lnTo>
                  <a:lnTo>
                    <a:pt x="968" y="171"/>
                  </a:lnTo>
                  <a:lnTo>
                    <a:pt x="1249" y="0"/>
                  </a:lnTo>
                  <a:lnTo>
                    <a:pt x="1469" y="25"/>
                  </a:lnTo>
                  <a:lnTo>
                    <a:pt x="1469" y="62"/>
                  </a:lnTo>
                  <a:lnTo>
                    <a:pt x="1257" y="36"/>
                  </a:lnTo>
                  <a:lnTo>
                    <a:pt x="976" y="208"/>
                  </a:lnTo>
                  <a:lnTo>
                    <a:pt x="632" y="174"/>
                  </a:lnTo>
                  <a:lnTo>
                    <a:pt x="352" y="344"/>
                  </a:lnTo>
                  <a:lnTo>
                    <a:pt x="5"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0" name="Freeform 137"/>
            <p:cNvSpPr>
              <a:spLocks/>
            </p:cNvSpPr>
            <p:nvPr userDrawn="1"/>
          </p:nvSpPr>
          <p:spPr bwMode="auto">
            <a:xfrm>
              <a:off x="5660" y="4150"/>
              <a:ext cx="1096" cy="25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 name="Freeform 138"/>
            <p:cNvSpPr>
              <a:spLocks/>
            </p:cNvSpPr>
            <p:nvPr userDrawn="1"/>
          </p:nvSpPr>
          <p:spPr bwMode="auto">
            <a:xfrm>
              <a:off x="6162" y="4025"/>
              <a:ext cx="1669" cy="381"/>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 name="Freeform 139"/>
            <p:cNvSpPr>
              <a:spLocks/>
            </p:cNvSpPr>
            <p:nvPr userDrawn="1"/>
          </p:nvSpPr>
          <p:spPr bwMode="auto">
            <a:xfrm>
              <a:off x="6773" y="4025"/>
              <a:ext cx="589" cy="311"/>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3" name="Freeform 140"/>
            <p:cNvSpPr>
              <a:spLocks/>
            </p:cNvSpPr>
            <p:nvPr userDrawn="1"/>
          </p:nvSpPr>
          <p:spPr bwMode="auto">
            <a:xfrm>
              <a:off x="6804" y="3741"/>
              <a:ext cx="326" cy="297"/>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4" name="Freeform 141"/>
            <p:cNvSpPr>
              <a:spLocks/>
            </p:cNvSpPr>
            <p:nvPr userDrawn="1"/>
          </p:nvSpPr>
          <p:spPr bwMode="auto">
            <a:xfrm>
              <a:off x="6930" y="3818"/>
              <a:ext cx="275" cy="22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5" name="Freeform 142"/>
            <p:cNvSpPr>
              <a:spLocks/>
            </p:cNvSpPr>
            <p:nvPr userDrawn="1"/>
          </p:nvSpPr>
          <p:spPr bwMode="auto">
            <a:xfrm>
              <a:off x="6633" y="3769"/>
              <a:ext cx="297" cy="47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6" name="Freeform 143"/>
            <p:cNvSpPr>
              <a:spLocks/>
            </p:cNvSpPr>
            <p:nvPr userDrawn="1"/>
          </p:nvSpPr>
          <p:spPr bwMode="auto">
            <a:xfrm>
              <a:off x="6930" y="3926"/>
              <a:ext cx="298" cy="112"/>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7" name="Freeform 144"/>
            <p:cNvSpPr>
              <a:spLocks/>
            </p:cNvSpPr>
            <p:nvPr userDrawn="1"/>
          </p:nvSpPr>
          <p:spPr bwMode="auto">
            <a:xfrm>
              <a:off x="6719" y="4038"/>
              <a:ext cx="211" cy="266"/>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8" name="Freeform 145"/>
            <p:cNvSpPr>
              <a:spLocks/>
            </p:cNvSpPr>
            <p:nvPr userDrawn="1"/>
          </p:nvSpPr>
          <p:spPr bwMode="auto">
            <a:xfrm>
              <a:off x="6796" y="4038"/>
              <a:ext cx="432" cy="298"/>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9" name="Freeform 146"/>
            <p:cNvSpPr>
              <a:spLocks/>
            </p:cNvSpPr>
            <p:nvPr userDrawn="1"/>
          </p:nvSpPr>
          <p:spPr bwMode="auto">
            <a:xfrm>
              <a:off x="6798" y="4209"/>
              <a:ext cx="915" cy="197"/>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0" name="Rectangle 147"/>
            <p:cNvSpPr>
              <a:spLocks noChangeArrowheads="1"/>
            </p:cNvSpPr>
            <p:nvPr userDrawn="1"/>
          </p:nvSpPr>
          <p:spPr bwMode="auto">
            <a:xfrm>
              <a:off x="6250" y="4177"/>
              <a:ext cx="76" cy="2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1" name="Freeform 148"/>
            <p:cNvSpPr>
              <a:spLocks/>
            </p:cNvSpPr>
            <p:nvPr userDrawn="1"/>
          </p:nvSpPr>
          <p:spPr bwMode="auto">
            <a:xfrm>
              <a:off x="5975" y="4213"/>
              <a:ext cx="76" cy="193"/>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 name="Freeform 149"/>
            <p:cNvSpPr>
              <a:spLocks/>
            </p:cNvSpPr>
            <p:nvPr userDrawn="1"/>
          </p:nvSpPr>
          <p:spPr bwMode="auto">
            <a:xfrm>
              <a:off x="6067" y="4028"/>
              <a:ext cx="75" cy="378"/>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 name="Freeform 150"/>
            <p:cNvSpPr>
              <a:spLocks/>
            </p:cNvSpPr>
            <p:nvPr userDrawn="1"/>
          </p:nvSpPr>
          <p:spPr bwMode="auto">
            <a:xfrm>
              <a:off x="6158" y="3860"/>
              <a:ext cx="77" cy="546"/>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4" name="Freeform 151"/>
            <p:cNvSpPr>
              <a:spLocks/>
            </p:cNvSpPr>
            <p:nvPr userDrawn="1"/>
          </p:nvSpPr>
          <p:spPr bwMode="auto">
            <a:xfrm>
              <a:off x="6342" y="4034"/>
              <a:ext cx="76" cy="372"/>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 name="Freeform 152"/>
            <p:cNvSpPr>
              <a:spLocks/>
            </p:cNvSpPr>
            <p:nvPr userDrawn="1"/>
          </p:nvSpPr>
          <p:spPr bwMode="auto">
            <a:xfrm>
              <a:off x="5791" y="4221"/>
              <a:ext cx="77" cy="185"/>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6" name="Freeform 153"/>
            <p:cNvSpPr>
              <a:spLocks/>
            </p:cNvSpPr>
            <p:nvPr userDrawn="1"/>
          </p:nvSpPr>
          <p:spPr bwMode="auto">
            <a:xfrm>
              <a:off x="5884" y="3918"/>
              <a:ext cx="75" cy="488"/>
            </a:xfrm>
            <a:custGeom>
              <a:avLst/>
              <a:gdLst>
                <a:gd name="T0" fmla="*/ 0 w 75"/>
                <a:gd name="T1" fmla="*/ 0 h 488"/>
                <a:gd name="T2" fmla="*/ 0 w 75"/>
                <a:gd name="T3" fmla="*/ 371 h 488"/>
                <a:gd name="T4" fmla="*/ 0 w 75"/>
                <a:gd name="T5" fmla="*/ 488 h 488"/>
                <a:gd name="T6" fmla="*/ 75 w 75"/>
                <a:gd name="T7" fmla="*/ 488 h 488"/>
                <a:gd name="T8" fmla="*/ 75 w 75"/>
                <a:gd name="T9" fmla="*/ 340 h 488"/>
                <a:gd name="T10" fmla="*/ 75 w 75"/>
                <a:gd name="T11" fmla="*/ 0 h 488"/>
                <a:gd name="T12" fmla="*/ 0 w 75"/>
                <a:gd name="T13" fmla="*/ 0 h 488"/>
              </a:gdLst>
              <a:ahLst/>
              <a:cxnLst>
                <a:cxn ang="0">
                  <a:pos x="T0" y="T1"/>
                </a:cxn>
                <a:cxn ang="0">
                  <a:pos x="T2" y="T3"/>
                </a:cxn>
                <a:cxn ang="0">
                  <a:pos x="T4" y="T5"/>
                </a:cxn>
                <a:cxn ang="0">
                  <a:pos x="T6" y="T7"/>
                </a:cxn>
                <a:cxn ang="0">
                  <a:pos x="T8" y="T9"/>
                </a:cxn>
                <a:cxn ang="0">
                  <a:pos x="T10" y="T11"/>
                </a:cxn>
                <a:cxn ang="0">
                  <a:pos x="T12" y="T13"/>
                </a:cxn>
              </a:cxnLst>
              <a:rect l="0" t="0" r="r" b="b"/>
              <a:pathLst>
                <a:path w="75" h="488">
                  <a:moveTo>
                    <a:pt x="0" y="0"/>
                  </a:moveTo>
                  <a:lnTo>
                    <a:pt x="0" y="371"/>
                  </a:lnTo>
                  <a:lnTo>
                    <a:pt x="0" y="488"/>
                  </a:lnTo>
                  <a:lnTo>
                    <a:pt x="75" y="488"/>
                  </a:lnTo>
                  <a:lnTo>
                    <a:pt x="75" y="340"/>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7" name="Rectangle 154"/>
            <p:cNvSpPr>
              <a:spLocks noChangeArrowheads="1"/>
            </p:cNvSpPr>
            <p:nvPr userDrawn="1"/>
          </p:nvSpPr>
          <p:spPr bwMode="auto">
            <a:xfrm>
              <a:off x="7273" y="4212"/>
              <a:ext cx="155" cy="5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8" name="Rectangle 155"/>
            <p:cNvSpPr>
              <a:spLocks noChangeArrowheads="1"/>
            </p:cNvSpPr>
            <p:nvPr userDrawn="1"/>
          </p:nvSpPr>
          <p:spPr bwMode="auto">
            <a:xfrm>
              <a:off x="7273" y="4265"/>
              <a:ext cx="155" cy="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 name="Rectangle 156"/>
            <p:cNvSpPr>
              <a:spLocks noChangeArrowheads="1"/>
            </p:cNvSpPr>
            <p:nvPr userDrawn="1"/>
          </p:nvSpPr>
          <p:spPr bwMode="auto">
            <a:xfrm>
              <a:off x="7454" y="3979"/>
              <a:ext cx="156" cy="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 name="Rectangle 157"/>
            <p:cNvSpPr>
              <a:spLocks noChangeArrowheads="1"/>
            </p:cNvSpPr>
            <p:nvPr userDrawn="1"/>
          </p:nvSpPr>
          <p:spPr bwMode="auto">
            <a:xfrm>
              <a:off x="7454" y="4133"/>
              <a:ext cx="156" cy="2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 name="Rectangle 158"/>
            <p:cNvSpPr>
              <a:spLocks noChangeArrowheads="1"/>
            </p:cNvSpPr>
            <p:nvPr userDrawn="1"/>
          </p:nvSpPr>
          <p:spPr bwMode="auto">
            <a:xfrm>
              <a:off x="7636" y="4179"/>
              <a:ext cx="155" cy="1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2" name="Rectangle 159"/>
            <p:cNvSpPr>
              <a:spLocks noChangeArrowheads="1"/>
            </p:cNvSpPr>
            <p:nvPr userDrawn="1"/>
          </p:nvSpPr>
          <p:spPr bwMode="auto">
            <a:xfrm>
              <a:off x="7636" y="4335"/>
              <a:ext cx="155" cy="6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sp>
        <p:nvSpPr>
          <p:cNvPr id="2" name="Title 1"/>
          <p:cNvSpPr>
            <a:spLocks noGrp="1"/>
          </p:cNvSpPr>
          <p:nvPr>
            <p:ph type="title" hasCustomPrompt="1"/>
          </p:nvPr>
        </p:nvSpPr>
        <p:spPr>
          <a:xfrm>
            <a:off x="464820" y="1369716"/>
            <a:ext cx="9128760" cy="2233012"/>
          </a:xfrm>
          <a:noFill/>
        </p:spPr>
        <p:txBody>
          <a:bodyPr wrap="square" tIns="91440" bIns="91440" anchor="t" anchorCtr="0">
            <a:no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509511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2242347"/>
            <a:ext cx="5246914" cy="2509831"/>
          </a:xfrm>
          <a:noFill/>
        </p:spPr>
        <p:txBody>
          <a:bodyPr wrap="square" tIns="91440" bIns="91440" anchor="t" anchorCtr="0">
            <a:noAutofit/>
          </a:bodyPr>
          <a:lstStyle>
            <a:lvl1pPr>
              <a:defRPr sz="7198" spc="-100" baseline="0">
                <a:gradFill>
                  <a:gsLst>
                    <a:gs pos="100000">
                      <a:schemeClr val="tx1"/>
                    </a:gs>
                    <a:gs pos="0">
                      <a:schemeClr val="tx1"/>
                    </a:gs>
                  </a:gsLst>
                  <a:lin ang="5400000" scaled="0"/>
                </a:gradFill>
              </a:defRPr>
            </a:lvl1pPr>
          </a:lstStyle>
          <a:p>
            <a:r>
              <a:rPr lang="en-US"/>
              <a:t>Section title</a:t>
            </a:r>
          </a:p>
        </p:txBody>
      </p:sp>
      <p:sp>
        <p:nvSpPr>
          <p:cNvPr id="10" name="Freeform 9"/>
          <p:cNvSpPr/>
          <p:nvPr userDrawn="1"/>
        </p:nvSpPr>
        <p:spPr bwMode="auto">
          <a:xfrm>
            <a:off x="5442859" y="0"/>
            <a:ext cx="6993616" cy="6994525"/>
          </a:xfrm>
          <a:custGeom>
            <a:avLst/>
            <a:gdLst>
              <a:gd name="connsiteX0" fmla="*/ 3933371 w 6993616"/>
              <a:gd name="connsiteY0" fmla="*/ 0 h 6994525"/>
              <a:gd name="connsiteX1" fmla="*/ 6993616 w 6993616"/>
              <a:gd name="connsiteY1" fmla="*/ 0 h 6994525"/>
              <a:gd name="connsiteX2" fmla="*/ 6993616 w 6993616"/>
              <a:gd name="connsiteY2" fmla="*/ 6994525 h 6994525"/>
              <a:gd name="connsiteX3" fmla="*/ 3061153 w 6993616"/>
              <a:gd name="connsiteY3" fmla="*/ 6994525 h 6994525"/>
              <a:gd name="connsiteX4" fmla="*/ 0 w 6993616"/>
              <a:gd name="connsiteY4" fmla="*/ 3933372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3616" h="6994525">
                <a:moveTo>
                  <a:pt x="3933371" y="0"/>
                </a:moveTo>
                <a:lnTo>
                  <a:pt x="6993616" y="0"/>
                </a:lnTo>
                <a:lnTo>
                  <a:pt x="6993616" y="6994525"/>
                </a:lnTo>
                <a:lnTo>
                  <a:pt x="3061153" y="6994525"/>
                </a:lnTo>
                <a:lnTo>
                  <a:pt x="0" y="3933372"/>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563429" y="4129933"/>
            <a:ext cx="3873046" cy="2582030"/>
          </a:xfrm>
          <a:prstGeom prst="rect">
            <a:avLst/>
          </a:prstGeom>
        </p:spPr>
      </p:pic>
      <p:sp>
        <p:nvSpPr>
          <p:cNvPr id="16" name="Freeform 136"/>
          <p:cNvSpPr>
            <a:spLocks/>
          </p:cNvSpPr>
          <p:nvPr userDrawn="1"/>
        </p:nvSpPr>
        <p:spPr bwMode="auto">
          <a:xfrm>
            <a:off x="9091289" y="417119"/>
            <a:ext cx="2817326" cy="1588288"/>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chemeClr val="accent1">
              <a:lumMod val="50000"/>
            </a:schemeClr>
          </a:solidFill>
          <a:ln>
            <a:noFill/>
          </a:ln>
        </p:spPr>
        <p:txBody>
          <a:bodyPr vert="horz" wrap="square" lIns="91427" tIns="45713" rIns="91427" bIns="45713" numCol="1" anchor="t" anchorCtr="0" compatLnSpc="1">
            <a:prstTxWarp prst="textNoShape">
              <a:avLst/>
            </a:prstTxWarp>
          </a:bodyPr>
          <a:lstStyle/>
          <a:p>
            <a:pPr defTabSz="932563">
              <a:defRPr/>
            </a:pPr>
            <a:endParaRPr lang="en-US" sz="1800">
              <a:solidFill>
                <a:srgbClr val="FFFFFF"/>
              </a:solidFill>
            </a:endParaRPr>
          </a:p>
        </p:txBody>
      </p:sp>
      <p:sp>
        <p:nvSpPr>
          <p:cNvPr id="102" name="Freeform 199"/>
          <p:cNvSpPr>
            <a:spLocks noEditPoints="1"/>
          </p:cNvSpPr>
          <p:nvPr userDrawn="1"/>
        </p:nvSpPr>
        <p:spPr bwMode="auto">
          <a:xfrm>
            <a:off x="8939668" y="1488537"/>
            <a:ext cx="657225" cy="655638"/>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accent4"/>
          </a:solidFill>
          <a:ln>
            <a:noFill/>
          </a:ln>
        </p:spPr>
        <p:txBody>
          <a:bodyPr vert="horz" wrap="square" lIns="91427" tIns="45713" rIns="91427" bIns="45713" numCol="1" anchor="t" anchorCtr="0" compatLnSpc="1">
            <a:prstTxWarp prst="textNoShape">
              <a:avLst/>
            </a:prstTxWarp>
          </a:bodyPr>
          <a:lstStyle/>
          <a:p>
            <a:pPr defTabSz="932563">
              <a:defRPr/>
            </a:pPr>
            <a:endParaRPr lang="en-US" sz="1800">
              <a:solidFill>
                <a:srgbClr val="FFFFFF"/>
              </a:solidFill>
            </a:endParaRPr>
          </a:p>
        </p:txBody>
      </p:sp>
      <p:pic>
        <p:nvPicPr>
          <p:cNvPr id="103" name="Picture 10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899118" y="1675619"/>
            <a:ext cx="467544" cy="880082"/>
          </a:xfrm>
          <a:prstGeom prst="rect">
            <a:avLst/>
          </a:prstGeom>
        </p:spPr>
      </p:pic>
      <p:pic>
        <p:nvPicPr>
          <p:cNvPr id="104" name="Picture 10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89773" y="1715812"/>
            <a:ext cx="569850" cy="579192"/>
          </a:xfrm>
          <a:prstGeom prst="rect">
            <a:avLst/>
          </a:prstGeom>
        </p:spPr>
      </p:pic>
      <p:pic>
        <p:nvPicPr>
          <p:cNvPr id="105" name="Picture 10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36344" y="1449415"/>
            <a:ext cx="544543" cy="694761"/>
          </a:xfrm>
          <a:prstGeom prst="rect">
            <a:avLst/>
          </a:prstGeom>
        </p:spPr>
      </p:pic>
      <p:sp>
        <p:nvSpPr>
          <p:cNvPr id="106" name="Freeform 105"/>
          <p:cNvSpPr/>
          <p:nvPr userDrawn="1"/>
        </p:nvSpPr>
        <p:spPr bwMode="auto">
          <a:xfrm>
            <a:off x="9205361" y="2204608"/>
            <a:ext cx="381740" cy="2620624"/>
          </a:xfrm>
          <a:custGeom>
            <a:avLst/>
            <a:gdLst>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Lst>
            <a:ahLst/>
            <a:cxnLst>
              <a:cxn ang="0">
                <a:pos x="connsiteX0" y="connsiteY0"/>
              </a:cxn>
              <a:cxn ang="0">
                <a:pos x="connsiteX1" y="connsiteY1"/>
              </a:cxn>
              <a:cxn ang="0">
                <a:pos x="connsiteX2" y="connsiteY2"/>
              </a:cxn>
              <a:cxn ang="0">
                <a:pos x="connsiteX3" y="connsiteY3"/>
              </a:cxn>
            </a:cxnLst>
            <a:rect l="l" t="t" r="r" b="b"/>
            <a:pathLst>
              <a:path w="381740" h="2681057">
                <a:moveTo>
                  <a:pt x="0" y="0"/>
                </a:moveTo>
                <a:lnTo>
                  <a:pt x="0" y="994299"/>
                </a:lnTo>
                <a:cubicBezTo>
                  <a:pt x="12947" y="1400946"/>
                  <a:pt x="375143" y="1039242"/>
                  <a:pt x="381740" y="1376039"/>
                </a:cubicBezTo>
                <a:lnTo>
                  <a:pt x="381740" y="2681057"/>
                </a:lnTo>
              </a:path>
            </a:pathLst>
          </a:custGeom>
          <a:noFill/>
          <a:ln w="38100" cap="rnd">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sz="1800">
              <a:solidFill>
                <a:srgbClr val="FFFFFF"/>
              </a:solidFill>
            </a:endParaRPr>
          </a:p>
        </p:txBody>
      </p:sp>
      <p:sp>
        <p:nvSpPr>
          <p:cNvPr id="107" name="Freeform 106"/>
          <p:cNvSpPr/>
          <p:nvPr userDrawn="1"/>
        </p:nvSpPr>
        <p:spPr bwMode="auto">
          <a:xfrm>
            <a:off x="10095224" y="2204608"/>
            <a:ext cx="1758950" cy="2620624"/>
          </a:xfrm>
          <a:custGeom>
            <a:avLst/>
            <a:gdLst>
              <a:gd name="connsiteX0" fmla="*/ 1758950 w 1758950"/>
              <a:gd name="connsiteY0" fmla="*/ 0 h 2559050"/>
              <a:gd name="connsiteX1" fmla="*/ 1758950 w 1758950"/>
              <a:gd name="connsiteY1" fmla="*/ 869950 h 2559050"/>
              <a:gd name="connsiteX2" fmla="*/ 1574800 w 1758950"/>
              <a:gd name="connsiteY2" fmla="*/ 1117600 h 2559050"/>
              <a:gd name="connsiteX3" fmla="*/ 419100 w 1758950"/>
              <a:gd name="connsiteY3" fmla="*/ 1117600 h 2559050"/>
              <a:gd name="connsiteX4" fmla="*/ 0 w 1758950"/>
              <a:gd name="connsiteY4" fmla="*/ 1358900 h 2559050"/>
              <a:gd name="connsiteX5" fmla="*/ 0 w 1758950"/>
              <a:gd name="connsiteY5" fmla="*/ 2559050 h 2559050"/>
              <a:gd name="connsiteX0" fmla="*/ 1762098 w 1762098"/>
              <a:gd name="connsiteY0" fmla="*/ 0 h 2559050"/>
              <a:gd name="connsiteX1" fmla="*/ 1762098 w 1762098"/>
              <a:gd name="connsiteY1" fmla="*/ 869950 h 2559050"/>
              <a:gd name="connsiteX2" fmla="*/ 1577948 w 1762098"/>
              <a:gd name="connsiteY2" fmla="*/ 1117600 h 2559050"/>
              <a:gd name="connsiteX3" fmla="*/ 422248 w 1762098"/>
              <a:gd name="connsiteY3" fmla="*/ 1117600 h 2559050"/>
              <a:gd name="connsiteX4" fmla="*/ 3148 w 1762098"/>
              <a:gd name="connsiteY4" fmla="*/ 1358900 h 2559050"/>
              <a:gd name="connsiteX5" fmla="*/ 3148 w 1762098"/>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58950 w 1758950"/>
              <a:gd name="connsiteY0" fmla="*/ 0 h 2559050"/>
              <a:gd name="connsiteX1" fmla="*/ 1758950 w 1758950"/>
              <a:gd name="connsiteY1" fmla="*/ 869950 h 2559050"/>
              <a:gd name="connsiteX2" fmla="*/ 1574800 w 1758950"/>
              <a:gd name="connsiteY2" fmla="*/ 1117600 h 2559050"/>
              <a:gd name="connsiteX3" fmla="*/ 419100 w 1758950"/>
              <a:gd name="connsiteY3" fmla="*/ 1117600 h 2559050"/>
              <a:gd name="connsiteX4" fmla="*/ 0 w 1758950"/>
              <a:gd name="connsiteY4" fmla="*/ 1358900 h 2559050"/>
              <a:gd name="connsiteX5" fmla="*/ 0 w 1758950"/>
              <a:gd name="connsiteY5" fmla="*/ 2559050 h 255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950" h="2559050">
                <a:moveTo>
                  <a:pt x="1758950" y="0"/>
                </a:moveTo>
                <a:lnTo>
                  <a:pt x="1758950" y="869950"/>
                </a:lnTo>
                <a:cubicBezTo>
                  <a:pt x="1754717" y="1025525"/>
                  <a:pt x="1788583" y="1123950"/>
                  <a:pt x="1574800" y="1117600"/>
                </a:cubicBezTo>
                <a:lnTo>
                  <a:pt x="419100" y="1117600"/>
                </a:lnTo>
                <a:cubicBezTo>
                  <a:pt x="206375" y="1112308"/>
                  <a:pt x="0" y="1091142"/>
                  <a:pt x="0" y="1358900"/>
                </a:cubicBezTo>
                <a:lnTo>
                  <a:pt x="0" y="2559050"/>
                </a:lnTo>
              </a:path>
            </a:pathLst>
          </a:custGeom>
          <a:noFill/>
          <a:ln w="38100" cap="rnd">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sz="1800">
              <a:solidFill>
                <a:srgbClr val="FFFFFF"/>
              </a:solidFill>
            </a:endParaRPr>
          </a:p>
        </p:txBody>
      </p:sp>
      <p:sp>
        <p:nvSpPr>
          <p:cNvPr id="108" name="Freeform 107"/>
          <p:cNvSpPr/>
          <p:nvPr userDrawn="1"/>
        </p:nvSpPr>
        <p:spPr bwMode="auto">
          <a:xfrm>
            <a:off x="9836151" y="2407808"/>
            <a:ext cx="1143000" cy="2417425"/>
          </a:xfrm>
          <a:custGeom>
            <a:avLst/>
            <a:gdLst>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0" h="2451100">
                <a:moveTo>
                  <a:pt x="946150" y="0"/>
                </a:moveTo>
                <a:lnTo>
                  <a:pt x="946150" y="400050"/>
                </a:lnTo>
                <a:cubicBezTo>
                  <a:pt x="945477" y="487662"/>
                  <a:pt x="894738" y="536642"/>
                  <a:pt x="806450" y="539750"/>
                </a:cubicBezTo>
                <a:lnTo>
                  <a:pt x="152400" y="539750"/>
                </a:lnTo>
                <a:cubicBezTo>
                  <a:pt x="72396" y="542262"/>
                  <a:pt x="734" y="525458"/>
                  <a:pt x="0" y="692150"/>
                </a:cubicBezTo>
                <a:lnTo>
                  <a:pt x="0" y="2451100"/>
                </a:lnTo>
              </a:path>
            </a:pathLst>
          </a:custGeom>
          <a:noFill/>
          <a:ln w="38100" cap="rnd">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sz="1800">
              <a:solidFill>
                <a:srgbClr val="FFFFFF"/>
              </a:solidFill>
            </a:endParaRPr>
          </a:p>
        </p:txBody>
      </p:sp>
      <p:sp>
        <p:nvSpPr>
          <p:cNvPr id="109" name="Freeform 108"/>
          <p:cNvSpPr/>
          <p:nvPr userDrawn="1"/>
        </p:nvSpPr>
        <p:spPr bwMode="auto">
          <a:xfrm>
            <a:off x="9309474" y="2598307"/>
            <a:ext cx="785750" cy="2226925"/>
          </a:xfrm>
          <a:custGeom>
            <a:avLst/>
            <a:gdLst>
              <a:gd name="connsiteX0" fmla="*/ 857250 w 857250"/>
              <a:gd name="connsiteY0" fmla="*/ 0 h 2190750"/>
              <a:gd name="connsiteX1" fmla="*/ 857250 w 857250"/>
              <a:gd name="connsiteY1" fmla="*/ 647700 h 2190750"/>
              <a:gd name="connsiteX2" fmla="*/ 508000 w 857250"/>
              <a:gd name="connsiteY2" fmla="*/ 825500 h 2190750"/>
              <a:gd name="connsiteX3" fmla="*/ 114300 w 857250"/>
              <a:gd name="connsiteY3" fmla="*/ 825500 h 2190750"/>
              <a:gd name="connsiteX4" fmla="*/ 0 w 857250"/>
              <a:gd name="connsiteY4" fmla="*/ 939800 h 2190750"/>
              <a:gd name="connsiteX5" fmla="*/ 0 w 857250"/>
              <a:gd name="connsiteY5" fmla="*/ 2190750 h 2190750"/>
              <a:gd name="connsiteX0" fmla="*/ 857250 w 857250"/>
              <a:gd name="connsiteY0" fmla="*/ 0 h 2190750"/>
              <a:gd name="connsiteX1" fmla="*/ 857250 w 857250"/>
              <a:gd name="connsiteY1" fmla="*/ 647700 h 2190750"/>
              <a:gd name="connsiteX2" fmla="*/ 508000 w 857250"/>
              <a:gd name="connsiteY2" fmla="*/ 825500 h 2190750"/>
              <a:gd name="connsiteX3" fmla="*/ 114300 w 857250"/>
              <a:gd name="connsiteY3" fmla="*/ 825500 h 2190750"/>
              <a:gd name="connsiteX4" fmla="*/ 0 w 857250"/>
              <a:gd name="connsiteY4" fmla="*/ 939800 h 2190750"/>
              <a:gd name="connsiteX5" fmla="*/ 0 w 857250"/>
              <a:gd name="connsiteY5" fmla="*/ 2190750 h 2190750"/>
              <a:gd name="connsiteX0" fmla="*/ 859468 w 859468"/>
              <a:gd name="connsiteY0" fmla="*/ 0 h 2190750"/>
              <a:gd name="connsiteX1" fmla="*/ 859468 w 859468"/>
              <a:gd name="connsiteY1" fmla="*/ 647700 h 2190750"/>
              <a:gd name="connsiteX2" fmla="*/ 510218 w 859468"/>
              <a:gd name="connsiteY2" fmla="*/ 825500 h 2190750"/>
              <a:gd name="connsiteX3" fmla="*/ 116518 w 859468"/>
              <a:gd name="connsiteY3" fmla="*/ 825500 h 2190750"/>
              <a:gd name="connsiteX4" fmla="*/ 2218 w 859468"/>
              <a:gd name="connsiteY4" fmla="*/ 939800 h 2190750"/>
              <a:gd name="connsiteX5" fmla="*/ 2218 w 859468"/>
              <a:gd name="connsiteY5" fmla="*/ 2190750 h 2190750"/>
              <a:gd name="connsiteX0" fmla="*/ 857250 w 857250"/>
              <a:gd name="connsiteY0" fmla="*/ 0 h 2190750"/>
              <a:gd name="connsiteX1" fmla="*/ 857250 w 857250"/>
              <a:gd name="connsiteY1" fmla="*/ 647700 h 2190750"/>
              <a:gd name="connsiteX2" fmla="*/ 508000 w 857250"/>
              <a:gd name="connsiteY2" fmla="*/ 825500 h 2190750"/>
              <a:gd name="connsiteX3" fmla="*/ 114300 w 857250"/>
              <a:gd name="connsiteY3" fmla="*/ 825500 h 2190750"/>
              <a:gd name="connsiteX4" fmla="*/ 0 w 857250"/>
              <a:gd name="connsiteY4" fmla="*/ 939800 h 2190750"/>
              <a:gd name="connsiteX5" fmla="*/ 0 w 857250"/>
              <a:gd name="connsiteY5" fmla="*/ 2190750 h 2190750"/>
              <a:gd name="connsiteX0" fmla="*/ 857250 w 857250"/>
              <a:gd name="connsiteY0" fmla="*/ 0 h 2190750"/>
              <a:gd name="connsiteX1" fmla="*/ 857250 w 857250"/>
              <a:gd name="connsiteY1" fmla="*/ 647700 h 2190750"/>
              <a:gd name="connsiteX2" fmla="*/ 712787 w 857250"/>
              <a:gd name="connsiteY2" fmla="*/ 825500 h 2190750"/>
              <a:gd name="connsiteX3" fmla="*/ 114300 w 857250"/>
              <a:gd name="connsiteY3" fmla="*/ 825500 h 2190750"/>
              <a:gd name="connsiteX4" fmla="*/ 0 w 857250"/>
              <a:gd name="connsiteY4" fmla="*/ 939800 h 2190750"/>
              <a:gd name="connsiteX5" fmla="*/ 0 w 857250"/>
              <a:gd name="connsiteY5" fmla="*/ 2190750 h 2190750"/>
              <a:gd name="connsiteX0" fmla="*/ 857250 w 858430"/>
              <a:gd name="connsiteY0" fmla="*/ 0 h 2190750"/>
              <a:gd name="connsiteX1" fmla="*/ 857250 w 858430"/>
              <a:gd name="connsiteY1" fmla="*/ 647700 h 2190750"/>
              <a:gd name="connsiteX2" fmla="*/ 712787 w 858430"/>
              <a:gd name="connsiteY2" fmla="*/ 825500 h 2190750"/>
              <a:gd name="connsiteX3" fmla="*/ 114300 w 858430"/>
              <a:gd name="connsiteY3" fmla="*/ 825500 h 2190750"/>
              <a:gd name="connsiteX4" fmla="*/ 0 w 858430"/>
              <a:gd name="connsiteY4" fmla="*/ 939800 h 2190750"/>
              <a:gd name="connsiteX5" fmla="*/ 0 w 858430"/>
              <a:gd name="connsiteY5" fmla="*/ 2190750 h 2190750"/>
              <a:gd name="connsiteX0" fmla="*/ 857250 w 859709"/>
              <a:gd name="connsiteY0" fmla="*/ 0 h 2190750"/>
              <a:gd name="connsiteX1" fmla="*/ 857250 w 859709"/>
              <a:gd name="connsiteY1" fmla="*/ 647700 h 2190750"/>
              <a:gd name="connsiteX2" fmla="*/ 712787 w 859709"/>
              <a:gd name="connsiteY2" fmla="*/ 825500 h 2190750"/>
              <a:gd name="connsiteX3" fmla="*/ 114300 w 859709"/>
              <a:gd name="connsiteY3" fmla="*/ 825500 h 2190750"/>
              <a:gd name="connsiteX4" fmla="*/ 0 w 859709"/>
              <a:gd name="connsiteY4" fmla="*/ 939800 h 2190750"/>
              <a:gd name="connsiteX5" fmla="*/ 0 w 859709"/>
              <a:gd name="connsiteY5" fmla="*/ 219075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709" h="2190750">
                <a:moveTo>
                  <a:pt x="857250" y="0"/>
                </a:moveTo>
                <a:lnTo>
                  <a:pt x="857250" y="647700"/>
                </a:lnTo>
                <a:cubicBezTo>
                  <a:pt x="871009" y="751476"/>
                  <a:pt x="827616" y="843538"/>
                  <a:pt x="712787" y="825500"/>
                </a:cubicBezTo>
                <a:lnTo>
                  <a:pt x="114300" y="825500"/>
                </a:lnTo>
                <a:cubicBezTo>
                  <a:pt x="23813" y="830803"/>
                  <a:pt x="2381" y="873589"/>
                  <a:pt x="0" y="939800"/>
                </a:cubicBezTo>
                <a:lnTo>
                  <a:pt x="0" y="2190750"/>
                </a:lnTo>
              </a:path>
            </a:pathLst>
          </a:custGeom>
          <a:noFill/>
          <a:ln w="38100" cap="rnd">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sz="1800">
              <a:solidFill>
                <a:srgbClr val="FFFFFF"/>
              </a:solidFill>
            </a:endParaRPr>
          </a:p>
        </p:txBody>
      </p:sp>
      <p:grpSp>
        <p:nvGrpSpPr>
          <p:cNvPr id="111" name="Group 226"/>
          <p:cNvGrpSpPr>
            <a:grpSpLocks noChangeAspect="1"/>
          </p:cNvGrpSpPr>
          <p:nvPr userDrawn="1"/>
        </p:nvGrpSpPr>
        <p:grpSpPr bwMode="auto">
          <a:xfrm>
            <a:off x="7520488" y="2598307"/>
            <a:ext cx="935775" cy="386209"/>
            <a:chOff x="4549" y="1714"/>
            <a:chExt cx="928" cy="383"/>
          </a:xfrm>
        </p:grpSpPr>
        <p:sp>
          <p:nvSpPr>
            <p:cNvPr id="112" name="AutoShape 225"/>
            <p:cNvSpPr>
              <a:spLocks noChangeAspect="1" noChangeArrowheads="1" noTextEdit="1"/>
            </p:cNvSpPr>
            <p:nvPr userDrawn="1"/>
          </p:nvSpPr>
          <p:spPr bwMode="auto">
            <a:xfrm>
              <a:off x="4549" y="1714"/>
              <a:ext cx="928" cy="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3" name="Freeform 227"/>
            <p:cNvSpPr>
              <a:spLocks/>
            </p:cNvSpPr>
            <p:nvPr userDrawn="1"/>
          </p:nvSpPr>
          <p:spPr bwMode="auto">
            <a:xfrm>
              <a:off x="4547" y="1714"/>
              <a:ext cx="930" cy="38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grpSp>
        <p:nvGrpSpPr>
          <p:cNvPr id="114" name="Group 226"/>
          <p:cNvGrpSpPr>
            <a:grpSpLocks noChangeAspect="1"/>
          </p:cNvGrpSpPr>
          <p:nvPr userDrawn="1"/>
        </p:nvGrpSpPr>
        <p:grpSpPr bwMode="auto">
          <a:xfrm>
            <a:off x="6206303" y="3798497"/>
            <a:ext cx="1473200" cy="608013"/>
            <a:chOff x="4549" y="1714"/>
            <a:chExt cx="928" cy="383"/>
          </a:xfrm>
        </p:grpSpPr>
        <p:sp>
          <p:nvSpPr>
            <p:cNvPr id="115" name="AutoShape 225"/>
            <p:cNvSpPr>
              <a:spLocks noChangeAspect="1" noChangeArrowheads="1" noTextEdit="1"/>
            </p:cNvSpPr>
            <p:nvPr userDrawn="1"/>
          </p:nvSpPr>
          <p:spPr bwMode="auto">
            <a:xfrm>
              <a:off x="4549" y="1714"/>
              <a:ext cx="928" cy="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6" name="Freeform 227"/>
            <p:cNvSpPr>
              <a:spLocks/>
            </p:cNvSpPr>
            <p:nvPr userDrawn="1"/>
          </p:nvSpPr>
          <p:spPr bwMode="auto">
            <a:xfrm>
              <a:off x="4547" y="1714"/>
              <a:ext cx="930" cy="38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spTree>
    <p:extLst>
      <p:ext uri="{BB962C8B-B14F-4D97-AF65-F5344CB8AC3E}">
        <p14:creationId xmlns:p14="http://schemas.microsoft.com/office/powerpoint/2010/main" val="135682253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4" name="Rectangle 3"/>
          <p:cNvSpPr/>
          <p:nvPr userDrawn="1"/>
        </p:nvSpPr>
        <p:spPr bwMode="auto">
          <a:xfrm>
            <a:off x="6400801" y="0"/>
            <a:ext cx="5752646" cy="6994525"/>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622143" y="2906332"/>
            <a:ext cx="5309961" cy="1181862"/>
          </a:xfrm>
          <a:noFill/>
        </p:spPr>
        <p:txBody>
          <a:bodyPr wrap="square" tIns="91440" bIns="91440" anchor="ctr"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grpSp>
        <p:nvGrpSpPr>
          <p:cNvPr id="6" name="Group 137"/>
          <p:cNvGrpSpPr>
            <a:grpSpLocks noChangeAspect="1"/>
          </p:cNvGrpSpPr>
          <p:nvPr userDrawn="1"/>
        </p:nvGrpSpPr>
        <p:grpSpPr bwMode="auto">
          <a:xfrm>
            <a:off x="-9525" y="112716"/>
            <a:ext cx="6340476" cy="6896101"/>
            <a:chOff x="-6" y="71"/>
            <a:chExt cx="3994" cy="4344"/>
          </a:xfrm>
        </p:grpSpPr>
        <p:sp>
          <p:nvSpPr>
            <p:cNvPr id="7" name="AutoShape 136"/>
            <p:cNvSpPr>
              <a:spLocks noChangeAspect="1" noChangeArrowheads="1" noTextEdit="1"/>
            </p:cNvSpPr>
            <p:nvPr userDrawn="1"/>
          </p:nvSpPr>
          <p:spPr bwMode="auto">
            <a:xfrm>
              <a:off x="0" y="613"/>
              <a:ext cx="2002" cy="3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8" name="Freeform 138"/>
            <p:cNvSpPr>
              <a:spLocks noEditPoints="1"/>
            </p:cNvSpPr>
            <p:nvPr userDrawn="1"/>
          </p:nvSpPr>
          <p:spPr bwMode="auto">
            <a:xfrm>
              <a:off x="716" y="1597"/>
              <a:ext cx="476" cy="474"/>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9" name="Freeform 139"/>
            <p:cNvSpPr>
              <a:spLocks noEditPoints="1"/>
            </p:cNvSpPr>
            <p:nvPr userDrawn="1"/>
          </p:nvSpPr>
          <p:spPr bwMode="auto">
            <a:xfrm>
              <a:off x="383" y="2323"/>
              <a:ext cx="1433" cy="1427"/>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0" name="Freeform 140"/>
            <p:cNvSpPr>
              <a:spLocks noEditPoints="1"/>
            </p:cNvSpPr>
            <p:nvPr userDrawn="1"/>
          </p:nvSpPr>
          <p:spPr bwMode="auto">
            <a:xfrm>
              <a:off x="815" y="613"/>
              <a:ext cx="674" cy="677"/>
            </a:xfrm>
            <a:custGeom>
              <a:avLst/>
              <a:gdLst>
                <a:gd name="T0" fmla="*/ 106 w 109"/>
                <a:gd name="T1" fmla="*/ 67 h 110"/>
                <a:gd name="T2" fmla="*/ 91 w 109"/>
                <a:gd name="T3" fmla="*/ 57 h 110"/>
                <a:gd name="T4" fmla="*/ 91 w 109"/>
                <a:gd name="T5" fmla="*/ 57 h 110"/>
                <a:gd name="T6" fmla="*/ 90 w 109"/>
                <a:gd name="T7" fmla="*/ 48 h 110"/>
                <a:gd name="T8" fmla="*/ 91 w 109"/>
                <a:gd name="T9" fmla="*/ 48 h 110"/>
                <a:gd name="T10" fmla="*/ 104 w 109"/>
                <a:gd name="T11" fmla="*/ 37 h 110"/>
                <a:gd name="T12" fmla="*/ 106 w 109"/>
                <a:gd name="T13" fmla="*/ 30 h 110"/>
                <a:gd name="T14" fmla="*/ 99 w 109"/>
                <a:gd name="T15" fmla="*/ 27 h 110"/>
                <a:gd name="T16" fmla="*/ 82 w 109"/>
                <a:gd name="T17" fmla="*/ 31 h 110"/>
                <a:gd name="T18" fmla="*/ 82 w 109"/>
                <a:gd name="T19" fmla="*/ 31 h 110"/>
                <a:gd name="T20" fmla="*/ 75 w 109"/>
                <a:gd name="T21" fmla="*/ 25 h 110"/>
                <a:gd name="T22" fmla="*/ 75 w 109"/>
                <a:gd name="T23" fmla="*/ 24 h 110"/>
                <a:gd name="T24" fmla="*/ 77 w 109"/>
                <a:gd name="T25" fmla="*/ 7 h 110"/>
                <a:gd name="T26" fmla="*/ 73 w 109"/>
                <a:gd name="T27" fmla="*/ 1 h 110"/>
                <a:gd name="T28" fmla="*/ 66 w 109"/>
                <a:gd name="T29" fmla="*/ 3 h 110"/>
                <a:gd name="T30" fmla="*/ 57 w 109"/>
                <a:gd name="T31" fmla="*/ 18 h 110"/>
                <a:gd name="T32" fmla="*/ 57 w 109"/>
                <a:gd name="T33" fmla="*/ 18 h 110"/>
                <a:gd name="T34" fmla="*/ 48 w 109"/>
                <a:gd name="T35" fmla="*/ 19 h 110"/>
                <a:gd name="T36" fmla="*/ 47 w 109"/>
                <a:gd name="T37" fmla="*/ 18 h 110"/>
                <a:gd name="T38" fmla="*/ 37 w 109"/>
                <a:gd name="T39" fmla="*/ 5 h 110"/>
                <a:gd name="T40" fmla="*/ 29 w 109"/>
                <a:gd name="T41" fmla="*/ 3 h 110"/>
                <a:gd name="T42" fmla="*/ 26 w 109"/>
                <a:gd name="T43" fmla="*/ 10 h 110"/>
                <a:gd name="T44" fmla="*/ 30 w 109"/>
                <a:gd name="T45" fmla="*/ 27 h 110"/>
                <a:gd name="T46" fmla="*/ 30 w 109"/>
                <a:gd name="T47" fmla="*/ 27 h 110"/>
                <a:gd name="T48" fmla="*/ 24 w 109"/>
                <a:gd name="T49" fmla="*/ 34 h 110"/>
                <a:gd name="T50" fmla="*/ 24 w 109"/>
                <a:gd name="T51" fmla="*/ 34 h 110"/>
                <a:gd name="T52" fmla="*/ 7 w 109"/>
                <a:gd name="T53" fmla="*/ 32 h 110"/>
                <a:gd name="T54" fmla="*/ 0 w 109"/>
                <a:gd name="T55" fmla="*/ 36 h 110"/>
                <a:gd name="T56" fmla="*/ 3 w 109"/>
                <a:gd name="T57" fmla="*/ 43 h 110"/>
                <a:gd name="T58" fmla="*/ 17 w 109"/>
                <a:gd name="T59" fmla="*/ 52 h 110"/>
                <a:gd name="T60" fmla="*/ 18 w 109"/>
                <a:gd name="T61" fmla="*/ 62 h 110"/>
                <a:gd name="T62" fmla="*/ 5 w 109"/>
                <a:gd name="T63" fmla="*/ 73 h 110"/>
                <a:gd name="T64" fmla="*/ 3 w 109"/>
                <a:gd name="T65" fmla="*/ 80 h 110"/>
                <a:gd name="T66" fmla="*/ 10 w 109"/>
                <a:gd name="T67" fmla="*/ 83 h 110"/>
                <a:gd name="T68" fmla="*/ 26 w 109"/>
                <a:gd name="T69" fmla="*/ 79 h 110"/>
                <a:gd name="T70" fmla="*/ 34 w 109"/>
                <a:gd name="T71" fmla="*/ 86 h 110"/>
                <a:gd name="T72" fmla="*/ 32 w 109"/>
                <a:gd name="T73" fmla="*/ 102 h 110"/>
                <a:gd name="T74" fmla="*/ 36 w 109"/>
                <a:gd name="T75" fmla="*/ 109 h 110"/>
                <a:gd name="T76" fmla="*/ 43 w 109"/>
                <a:gd name="T77" fmla="*/ 106 h 110"/>
                <a:gd name="T78" fmla="*/ 51 w 109"/>
                <a:gd name="T79" fmla="*/ 92 h 110"/>
                <a:gd name="T80" fmla="*/ 62 w 109"/>
                <a:gd name="T81" fmla="*/ 91 h 110"/>
                <a:gd name="T82" fmla="*/ 72 w 109"/>
                <a:gd name="T83" fmla="*/ 104 h 110"/>
                <a:gd name="T84" fmla="*/ 79 w 109"/>
                <a:gd name="T85" fmla="*/ 106 h 110"/>
                <a:gd name="T86" fmla="*/ 82 w 109"/>
                <a:gd name="T87" fmla="*/ 99 h 110"/>
                <a:gd name="T88" fmla="*/ 79 w 109"/>
                <a:gd name="T89" fmla="*/ 83 h 110"/>
                <a:gd name="T90" fmla="*/ 85 w 109"/>
                <a:gd name="T91" fmla="*/ 75 h 110"/>
                <a:gd name="T92" fmla="*/ 102 w 109"/>
                <a:gd name="T93" fmla="*/ 77 h 110"/>
                <a:gd name="T94" fmla="*/ 108 w 109"/>
                <a:gd name="T95" fmla="*/ 73 h 110"/>
                <a:gd name="T96" fmla="*/ 106 w 109"/>
                <a:gd name="T97" fmla="*/ 67 h 110"/>
                <a:gd name="T98" fmla="*/ 46 w 109"/>
                <a:gd name="T99" fmla="*/ 78 h 110"/>
                <a:gd name="T100" fmla="*/ 32 w 109"/>
                <a:gd name="T101" fmla="*/ 47 h 110"/>
                <a:gd name="T102" fmla="*/ 62 w 109"/>
                <a:gd name="T103" fmla="*/ 33 h 110"/>
                <a:gd name="T104" fmla="*/ 77 w 109"/>
                <a:gd name="T105" fmla="*/ 63 h 110"/>
                <a:gd name="T106" fmla="*/ 46 w 109"/>
                <a:gd name="T107" fmla="*/ 7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110">
                  <a:moveTo>
                    <a:pt x="106" y="67"/>
                  </a:moveTo>
                  <a:cubicBezTo>
                    <a:pt x="91" y="57"/>
                    <a:pt x="91" y="57"/>
                    <a:pt x="91" y="57"/>
                  </a:cubicBezTo>
                  <a:cubicBezTo>
                    <a:pt x="91" y="57"/>
                    <a:pt x="91" y="57"/>
                    <a:pt x="91" y="57"/>
                  </a:cubicBezTo>
                  <a:cubicBezTo>
                    <a:pt x="91" y="54"/>
                    <a:pt x="91" y="51"/>
                    <a:pt x="90" y="48"/>
                  </a:cubicBezTo>
                  <a:cubicBezTo>
                    <a:pt x="91" y="48"/>
                    <a:pt x="91" y="48"/>
                    <a:pt x="91" y="48"/>
                  </a:cubicBezTo>
                  <a:cubicBezTo>
                    <a:pt x="104" y="37"/>
                    <a:pt x="104" y="37"/>
                    <a:pt x="104" y="37"/>
                  </a:cubicBezTo>
                  <a:cubicBezTo>
                    <a:pt x="106" y="35"/>
                    <a:pt x="107" y="32"/>
                    <a:pt x="106" y="30"/>
                  </a:cubicBezTo>
                  <a:cubicBezTo>
                    <a:pt x="105" y="27"/>
                    <a:pt x="102" y="26"/>
                    <a:pt x="99" y="27"/>
                  </a:cubicBezTo>
                  <a:cubicBezTo>
                    <a:pt x="82" y="31"/>
                    <a:pt x="82" y="31"/>
                    <a:pt x="82" y="31"/>
                  </a:cubicBezTo>
                  <a:cubicBezTo>
                    <a:pt x="82" y="31"/>
                    <a:pt x="82" y="31"/>
                    <a:pt x="82" y="31"/>
                  </a:cubicBezTo>
                  <a:cubicBezTo>
                    <a:pt x="80" y="28"/>
                    <a:pt x="78" y="26"/>
                    <a:pt x="75" y="25"/>
                  </a:cubicBezTo>
                  <a:cubicBezTo>
                    <a:pt x="75" y="24"/>
                    <a:pt x="75" y="24"/>
                    <a:pt x="75" y="24"/>
                  </a:cubicBezTo>
                  <a:cubicBezTo>
                    <a:pt x="77" y="7"/>
                    <a:pt x="77" y="7"/>
                    <a:pt x="77" y="7"/>
                  </a:cubicBezTo>
                  <a:cubicBezTo>
                    <a:pt x="77" y="4"/>
                    <a:pt x="76" y="2"/>
                    <a:pt x="73" y="1"/>
                  </a:cubicBezTo>
                  <a:cubicBezTo>
                    <a:pt x="71" y="0"/>
                    <a:pt x="68" y="1"/>
                    <a:pt x="66" y="3"/>
                  </a:cubicBezTo>
                  <a:cubicBezTo>
                    <a:pt x="57" y="18"/>
                    <a:pt x="57" y="18"/>
                    <a:pt x="57" y="18"/>
                  </a:cubicBezTo>
                  <a:cubicBezTo>
                    <a:pt x="57" y="18"/>
                    <a:pt x="57" y="18"/>
                    <a:pt x="57" y="18"/>
                  </a:cubicBezTo>
                  <a:cubicBezTo>
                    <a:pt x="54" y="18"/>
                    <a:pt x="51" y="18"/>
                    <a:pt x="48" y="19"/>
                  </a:cubicBezTo>
                  <a:cubicBezTo>
                    <a:pt x="47" y="19"/>
                    <a:pt x="47" y="19"/>
                    <a:pt x="47" y="18"/>
                  </a:cubicBezTo>
                  <a:cubicBezTo>
                    <a:pt x="37" y="5"/>
                    <a:pt x="37" y="5"/>
                    <a:pt x="37" y="5"/>
                  </a:cubicBezTo>
                  <a:cubicBezTo>
                    <a:pt x="35" y="3"/>
                    <a:pt x="32" y="2"/>
                    <a:pt x="29" y="3"/>
                  </a:cubicBezTo>
                  <a:cubicBezTo>
                    <a:pt x="27" y="5"/>
                    <a:pt x="26" y="7"/>
                    <a:pt x="26" y="10"/>
                  </a:cubicBezTo>
                  <a:cubicBezTo>
                    <a:pt x="30" y="27"/>
                    <a:pt x="30" y="27"/>
                    <a:pt x="30" y="27"/>
                  </a:cubicBezTo>
                  <a:cubicBezTo>
                    <a:pt x="30" y="27"/>
                    <a:pt x="30" y="27"/>
                    <a:pt x="30" y="27"/>
                  </a:cubicBezTo>
                  <a:cubicBezTo>
                    <a:pt x="28" y="29"/>
                    <a:pt x="26" y="31"/>
                    <a:pt x="24" y="34"/>
                  </a:cubicBezTo>
                  <a:cubicBezTo>
                    <a:pt x="24" y="34"/>
                    <a:pt x="24" y="34"/>
                    <a:pt x="24" y="34"/>
                  </a:cubicBezTo>
                  <a:cubicBezTo>
                    <a:pt x="7" y="32"/>
                    <a:pt x="7" y="32"/>
                    <a:pt x="7" y="32"/>
                  </a:cubicBezTo>
                  <a:cubicBezTo>
                    <a:pt x="4" y="32"/>
                    <a:pt x="1" y="34"/>
                    <a:pt x="0" y="36"/>
                  </a:cubicBezTo>
                  <a:cubicBezTo>
                    <a:pt x="0" y="38"/>
                    <a:pt x="1" y="42"/>
                    <a:pt x="3" y="43"/>
                  </a:cubicBezTo>
                  <a:cubicBezTo>
                    <a:pt x="17" y="52"/>
                    <a:pt x="17" y="52"/>
                    <a:pt x="17" y="52"/>
                  </a:cubicBezTo>
                  <a:cubicBezTo>
                    <a:pt x="17" y="55"/>
                    <a:pt x="17" y="59"/>
                    <a:pt x="18" y="62"/>
                  </a:cubicBezTo>
                  <a:cubicBezTo>
                    <a:pt x="5" y="73"/>
                    <a:pt x="5" y="73"/>
                    <a:pt x="5" y="73"/>
                  </a:cubicBezTo>
                  <a:cubicBezTo>
                    <a:pt x="3" y="74"/>
                    <a:pt x="2" y="77"/>
                    <a:pt x="3" y="80"/>
                  </a:cubicBezTo>
                  <a:cubicBezTo>
                    <a:pt x="4" y="82"/>
                    <a:pt x="7" y="83"/>
                    <a:pt x="10" y="83"/>
                  </a:cubicBezTo>
                  <a:cubicBezTo>
                    <a:pt x="26" y="79"/>
                    <a:pt x="26" y="79"/>
                    <a:pt x="26" y="79"/>
                  </a:cubicBezTo>
                  <a:cubicBezTo>
                    <a:pt x="28" y="82"/>
                    <a:pt x="31" y="84"/>
                    <a:pt x="34" y="86"/>
                  </a:cubicBezTo>
                  <a:cubicBezTo>
                    <a:pt x="32" y="102"/>
                    <a:pt x="32" y="102"/>
                    <a:pt x="32" y="102"/>
                  </a:cubicBezTo>
                  <a:cubicBezTo>
                    <a:pt x="32" y="105"/>
                    <a:pt x="33" y="108"/>
                    <a:pt x="36" y="109"/>
                  </a:cubicBezTo>
                  <a:cubicBezTo>
                    <a:pt x="38" y="110"/>
                    <a:pt x="41" y="108"/>
                    <a:pt x="43" y="106"/>
                  </a:cubicBezTo>
                  <a:cubicBezTo>
                    <a:pt x="51" y="92"/>
                    <a:pt x="51" y="92"/>
                    <a:pt x="51" y="92"/>
                  </a:cubicBezTo>
                  <a:cubicBezTo>
                    <a:pt x="55" y="92"/>
                    <a:pt x="58" y="92"/>
                    <a:pt x="62" y="91"/>
                  </a:cubicBezTo>
                  <a:cubicBezTo>
                    <a:pt x="72" y="104"/>
                    <a:pt x="72" y="104"/>
                    <a:pt x="72" y="104"/>
                  </a:cubicBezTo>
                  <a:cubicBezTo>
                    <a:pt x="74" y="106"/>
                    <a:pt x="77" y="107"/>
                    <a:pt x="79" y="106"/>
                  </a:cubicBezTo>
                  <a:cubicBezTo>
                    <a:pt x="82" y="105"/>
                    <a:pt x="83" y="102"/>
                    <a:pt x="82" y="99"/>
                  </a:cubicBezTo>
                  <a:cubicBezTo>
                    <a:pt x="79" y="83"/>
                    <a:pt x="79" y="83"/>
                    <a:pt x="79" y="83"/>
                  </a:cubicBezTo>
                  <a:cubicBezTo>
                    <a:pt x="81" y="81"/>
                    <a:pt x="83" y="78"/>
                    <a:pt x="85" y="75"/>
                  </a:cubicBezTo>
                  <a:cubicBezTo>
                    <a:pt x="102" y="77"/>
                    <a:pt x="102" y="77"/>
                    <a:pt x="102" y="77"/>
                  </a:cubicBezTo>
                  <a:cubicBezTo>
                    <a:pt x="105" y="78"/>
                    <a:pt x="107" y="76"/>
                    <a:pt x="108" y="73"/>
                  </a:cubicBezTo>
                  <a:cubicBezTo>
                    <a:pt x="109" y="71"/>
                    <a:pt x="108" y="68"/>
                    <a:pt x="106" y="67"/>
                  </a:cubicBezTo>
                  <a:close/>
                  <a:moveTo>
                    <a:pt x="46" y="78"/>
                  </a:moveTo>
                  <a:cubicBezTo>
                    <a:pt x="34" y="73"/>
                    <a:pt x="28" y="60"/>
                    <a:pt x="32" y="47"/>
                  </a:cubicBezTo>
                  <a:cubicBezTo>
                    <a:pt x="36" y="35"/>
                    <a:pt x="50" y="28"/>
                    <a:pt x="62" y="33"/>
                  </a:cubicBezTo>
                  <a:cubicBezTo>
                    <a:pt x="74" y="37"/>
                    <a:pt x="81" y="50"/>
                    <a:pt x="77" y="63"/>
                  </a:cubicBezTo>
                  <a:cubicBezTo>
                    <a:pt x="72" y="75"/>
                    <a:pt x="59" y="82"/>
                    <a:pt x="46" y="7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 name="Freeform 141"/>
            <p:cNvSpPr>
              <a:spLocks noEditPoints="1"/>
            </p:cNvSpPr>
            <p:nvPr userDrawn="1"/>
          </p:nvSpPr>
          <p:spPr bwMode="auto">
            <a:xfrm>
              <a:off x="-6" y="1745"/>
              <a:ext cx="846" cy="843"/>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 name="Freeform 142"/>
            <p:cNvSpPr>
              <a:spLocks noEditPoints="1"/>
            </p:cNvSpPr>
            <p:nvPr userDrawn="1"/>
          </p:nvSpPr>
          <p:spPr bwMode="auto">
            <a:xfrm>
              <a:off x="1211" y="1228"/>
              <a:ext cx="729" cy="726"/>
            </a:xfrm>
            <a:custGeom>
              <a:avLst/>
              <a:gdLst>
                <a:gd name="T0" fmla="*/ 55 w 118"/>
                <a:gd name="T1" fmla="*/ 2 h 118"/>
                <a:gd name="T2" fmla="*/ 2 w 118"/>
                <a:gd name="T3" fmla="*/ 63 h 118"/>
                <a:gd name="T4" fmla="*/ 63 w 118"/>
                <a:gd name="T5" fmla="*/ 116 h 118"/>
                <a:gd name="T6" fmla="*/ 116 w 118"/>
                <a:gd name="T7" fmla="*/ 55 h 118"/>
                <a:gd name="T8" fmla="*/ 55 w 118"/>
                <a:gd name="T9" fmla="*/ 2 h 118"/>
                <a:gd name="T10" fmla="*/ 61 w 118"/>
                <a:gd name="T11" fmla="*/ 86 h 118"/>
                <a:gd name="T12" fmla="*/ 32 w 118"/>
                <a:gd name="T13" fmla="*/ 61 h 118"/>
                <a:gd name="T14" fmla="*/ 57 w 118"/>
                <a:gd name="T15" fmla="*/ 32 h 118"/>
                <a:gd name="T16" fmla="*/ 86 w 118"/>
                <a:gd name="T17" fmla="*/ 57 h 118"/>
                <a:gd name="T18" fmla="*/ 61 w 118"/>
                <a:gd name="T19" fmla="*/ 8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5" y="2"/>
                  </a:moveTo>
                  <a:cubicBezTo>
                    <a:pt x="24" y="4"/>
                    <a:pt x="0" y="31"/>
                    <a:pt x="2" y="63"/>
                  </a:cubicBezTo>
                  <a:cubicBezTo>
                    <a:pt x="4" y="94"/>
                    <a:pt x="31" y="118"/>
                    <a:pt x="63" y="116"/>
                  </a:cubicBezTo>
                  <a:cubicBezTo>
                    <a:pt x="94" y="114"/>
                    <a:pt x="118" y="87"/>
                    <a:pt x="116" y="55"/>
                  </a:cubicBezTo>
                  <a:cubicBezTo>
                    <a:pt x="114" y="24"/>
                    <a:pt x="87" y="0"/>
                    <a:pt x="55" y="2"/>
                  </a:cubicBezTo>
                  <a:close/>
                  <a:moveTo>
                    <a:pt x="61" y="86"/>
                  </a:moveTo>
                  <a:cubicBezTo>
                    <a:pt x="46" y="87"/>
                    <a:pt x="33" y="76"/>
                    <a:pt x="32" y="61"/>
                  </a:cubicBezTo>
                  <a:cubicBezTo>
                    <a:pt x="31" y="46"/>
                    <a:pt x="42" y="33"/>
                    <a:pt x="57" y="32"/>
                  </a:cubicBezTo>
                  <a:cubicBezTo>
                    <a:pt x="72" y="31"/>
                    <a:pt x="85" y="42"/>
                    <a:pt x="86" y="57"/>
                  </a:cubicBezTo>
                  <a:cubicBezTo>
                    <a:pt x="87" y="72"/>
                    <a:pt x="76" y="85"/>
                    <a:pt x="61" y="8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3" name="Freeform 143"/>
            <p:cNvSpPr>
              <a:spLocks/>
            </p:cNvSpPr>
            <p:nvPr userDrawn="1"/>
          </p:nvSpPr>
          <p:spPr bwMode="auto">
            <a:xfrm>
              <a:off x="1495" y="1161"/>
              <a:ext cx="130" cy="209"/>
            </a:xfrm>
            <a:custGeom>
              <a:avLst/>
              <a:gdLst>
                <a:gd name="T0" fmla="*/ 20 w 21"/>
                <a:gd name="T1" fmla="*/ 28 h 34"/>
                <a:gd name="T2" fmla="*/ 17 w 21"/>
                <a:gd name="T3" fmla="*/ 33 h 34"/>
                <a:gd name="T4" fmla="*/ 5 w 21"/>
                <a:gd name="T5" fmla="*/ 34 h 34"/>
                <a:gd name="T6" fmla="*/ 0 w 21"/>
                <a:gd name="T7" fmla="*/ 30 h 34"/>
                <a:gd name="T8" fmla="*/ 2 w 21"/>
                <a:gd name="T9" fmla="*/ 5 h 34"/>
                <a:gd name="T10" fmla="*/ 7 w 21"/>
                <a:gd name="T11" fmla="*/ 0 h 34"/>
                <a:gd name="T12" fmla="*/ 10 w 21"/>
                <a:gd name="T13" fmla="*/ 0 h 34"/>
                <a:gd name="T14" fmla="*/ 15 w 21"/>
                <a:gd name="T15" fmla="*/ 4 h 34"/>
                <a:gd name="T16" fmla="*/ 20 w 21"/>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20" y="28"/>
                  </a:moveTo>
                  <a:cubicBezTo>
                    <a:pt x="21" y="31"/>
                    <a:pt x="19" y="33"/>
                    <a:pt x="17" y="33"/>
                  </a:cubicBezTo>
                  <a:cubicBezTo>
                    <a:pt x="5" y="34"/>
                    <a:pt x="5" y="34"/>
                    <a:pt x="5" y="34"/>
                  </a:cubicBezTo>
                  <a:cubicBezTo>
                    <a:pt x="2" y="34"/>
                    <a:pt x="0" y="32"/>
                    <a:pt x="0" y="30"/>
                  </a:cubicBezTo>
                  <a:cubicBezTo>
                    <a:pt x="2" y="5"/>
                    <a:pt x="2" y="5"/>
                    <a:pt x="2" y="5"/>
                  </a:cubicBezTo>
                  <a:cubicBezTo>
                    <a:pt x="3" y="2"/>
                    <a:pt x="5" y="0"/>
                    <a:pt x="7" y="0"/>
                  </a:cubicBezTo>
                  <a:cubicBezTo>
                    <a:pt x="10" y="0"/>
                    <a:pt x="10" y="0"/>
                    <a:pt x="10" y="0"/>
                  </a:cubicBezTo>
                  <a:cubicBezTo>
                    <a:pt x="12" y="0"/>
                    <a:pt x="14" y="1"/>
                    <a:pt x="15" y="4"/>
                  </a:cubicBezTo>
                  <a:lnTo>
                    <a:pt x="20" y="2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4" name="Freeform 144"/>
            <p:cNvSpPr>
              <a:spLocks/>
            </p:cNvSpPr>
            <p:nvPr userDrawn="1"/>
          </p:nvSpPr>
          <p:spPr bwMode="auto">
            <a:xfrm>
              <a:off x="1526" y="1813"/>
              <a:ext cx="130" cy="209"/>
            </a:xfrm>
            <a:custGeom>
              <a:avLst/>
              <a:gdLst>
                <a:gd name="T0" fmla="*/ 1 w 21"/>
                <a:gd name="T1" fmla="*/ 6 h 34"/>
                <a:gd name="T2" fmla="*/ 4 w 21"/>
                <a:gd name="T3" fmla="*/ 1 h 34"/>
                <a:gd name="T4" fmla="*/ 16 w 21"/>
                <a:gd name="T5" fmla="*/ 0 h 34"/>
                <a:gd name="T6" fmla="*/ 20 w 21"/>
                <a:gd name="T7" fmla="*/ 4 h 34"/>
                <a:gd name="T8" fmla="*/ 19 w 21"/>
                <a:gd name="T9" fmla="*/ 29 h 34"/>
                <a:gd name="T10" fmla="*/ 14 w 21"/>
                <a:gd name="T11" fmla="*/ 34 h 34"/>
                <a:gd name="T12" fmla="*/ 11 w 21"/>
                <a:gd name="T13" fmla="*/ 34 h 34"/>
                <a:gd name="T14" fmla="*/ 6 w 21"/>
                <a:gd name="T15" fmla="*/ 30 h 34"/>
                <a:gd name="T16" fmla="*/ 1 w 21"/>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1" y="6"/>
                  </a:moveTo>
                  <a:cubicBezTo>
                    <a:pt x="0" y="3"/>
                    <a:pt x="2" y="1"/>
                    <a:pt x="4" y="1"/>
                  </a:cubicBezTo>
                  <a:cubicBezTo>
                    <a:pt x="16" y="0"/>
                    <a:pt x="16" y="0"/>
                    <a:pt x="16" y="0"/>
                  </a:cubicBezTo>
                  <a:cubicBezTo>
                    <a:pt x="19" y="0"/>
                    <a:pt x="21" y="2"/>
                    <a:pt x="20" y="4"/>
                  </a:cubicBezTo>
                  <a:cubicBezTo>
                    <a:pt x="19" y="29"/>
                    <a:pt x="19" y="29"/>
                    <a:pt x="19" y="29"/>
                  </a:cubicBezTo>
                  <a:cubicBezTo>
                    <a:pt x="18" y="32"/>
                    <a:pt x="16" y="34"/>
                    <a:pt x="14" y="34"/>
                  </a:cubicBezTo>
                  <a:cubicBezTo>
                    <a:pt x="11" y="34"/>
                    <a:pt x="11" y="34"/>
                    <a:pt x="11" y="34"/>
                  </a:cubicBezTo>
                  <a:cubicBezTo>
                    <a:pt x="9" y="34"/>
                    <a:pt x="7" y="33"/>
                    <a:pt x="6" y="30"/>
                  </a:cubicBezTo>
                  <a:lnTo>
                    <a:pt x="1" y="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5" name="Freeform 145"/>
            <p:cNvSpPr>
              <a:spLocks/>
            </p:cNvSpPr>
            <p:nvPr userDrawn="1"/>
          </p:nvSpPr>
          <p:spPr bwMode="auto">
            <a:xfrm>
              <a:off x="1143" y="1542"/>
              <a:ext cx="210" cy="129"/>
            </a:xfrm>
            <a:custGeom>
              <a:avLst/>
              <a:gdLst>
                <a:gd name="T0" fmla="*/ 28 w 34"/>
                <a:gd name="T1" fmla="*/ 1 h 21"/>
                <a:gd name="T2" fmla="*/ 33 w 34"/>
                <a:gd name="T3" fmla="*/ 4 h 21"/>
                <a:gd name="T4" fmla="*/ 34 w 34"/>
                <a:gd name="T5" fmla="*/ 16 h 21"/>
                <a:gd name="T6" fmla="*/ 30 w 34"/>
                <a:gd name="T7" fmla="*/ 20 h 21"/>
                <a:gd name="T8" fmla="*/ 5 w 34"/>
                <a:gd name="T9" fmla="*/ 19 h 21"/>
                <a:gd name="T10" fmla="*/ 0 w 34"/>
                <a:gd name="T11" fmla="*/ 14 h 21"/>
                <a:gd name="T12" fmla="*/ 0 w 34"/>
                <a:gd name="T13" fmla="*/ 11 h 21"/>
                <a:gd name="T14" fmla="*/ 4 w 34"/>
                <a:gd name="T15" fmla="*/ 6 h 21"/>
                <a:gd name="T16" fmla="*/ 28 w 34"/>
                <a:gd name="T1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1">
                  <a:moveTo>
                    <a:pt x="28" y="1"/>
                  </a:moveTo>
                  <a:cubicBezTo>
                    <a:pt x="31" y="0"/>
                    <a:pt x="33" y="2"/>
                    <a:pt x="33" y="4"/>
                  </a:cubicBezTo>
                  <a:cubicBezTo>
                    <a:pt x="34" y="16"/>
                    <a:pt x="34" y="16"/>
                    <a:pt x="34" y="16"/>
                  </a:cubicBezTo>
                  <a:cubicBezTo>
                    <a:pt x="34" y="19"/>
                    <a:pt x="32" y="21"/>
                    <a:pt x="30" y="20"/>
                  </a:cubicBezTo>
                  <a:cubicBezTo>
                    <a:pt x="5" y="19"/>
                    <a:pt x="5" y="19"/>
                    <a:pt x="5" y="19"/>
                  </a:cubicBezTo>
                  <a:cubicBezTo>
                    <a:pt x="2" y="18"/>
                    <a:pt x="0" y="16"/>
                    <a:pt x="0" y="14"/>
                  </a:cubicBezTo>
                  <a:cubicBezTo>
                    <a:pt x="0" y="11"/>
                    <a:pt x="0" y="11"/>
                    <a:pt x="0" y="11"/>
                  </a:cubicBezTo>
                  <a:cubicBezTo>
                    <a:pt x="0" y="9"/>
                    <a:pt x="1" y="7"/>
                    <a:pt x="4" y="6"/>
                  </a:cubicBezTo>
                  <a:lnTo>
                    <a:pt x="28" y="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6" name="Freeform 146"/>
            <p:cNvSpPr>
              <a:spLocks/>
            </p:cNvSpPr>
            <p:nvPr userDrawn="1"/>
          </p:nvSpPr>
          <p:spPr bwMode="auto">
            <a:xfrm>
              <a:off x="1798" y="1511"/>
              <a:ext cx="210" cy="129"/>
            </a:xfrm>
            <a:custGeom>
              <a:avLst/>
              <a:gdLst>
                <a:gd name="T0" fmla="*/ 6 w 34"/>
                <a:gd name="T1" fmla="*/ 20 h 21"/>
                <a:gd name="T2" fmla="*/ 1 w 34"/>
                <a:gd name="T3" fmla="*/ 17 h 21"/>
                <a:gd name="T4" fmla="*/ 0 w 34"/>
                <a:gd name="T5" fmla="*/ 5 h 21"/>
                <a:gd name="T6" fmla="*/ 4 w 34"/>
                <a:gd name="T7" fmla="*/ 1 h 21"/>
                <a:gd name="T8" fmla="*/ 29 w 34"/>
                <a:gd name="T9" fmla="*/ 2 h 21"/>
                <a:gd name="T10" fmla="*/ 34 w 34"/>
                <a:gd name="T11" fmla="*/ 7 h 21"/>
                <a:gd name="T12" fmla="*/ 34 w 34"/>
                <a:gd name="T13" fmla="*/ 10 h 21"/>
                <a:gd name="T14" fmla="*/ 30 w 34"/>
                <a:gd name="T15" fmla="*/ 15 h 21"/>
                <a:gd name="T16" fmla="*/ 6 w 34"/>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1">
                  <a:moveTo>
                    <a:pt x="6" y="20"/>
                  </a:moveTo>
                  <a:cubicBezTo>
                    <a:pt x="3" y="21"/>
                    <a:pt x="1" y="19"/>
                    <a:pt x="1" y="17"/>
                  </a:cubicBezTo>
                  <a:cubicBezTo>
                    <a:pt x="0" y="5"/>
                    <a:pt x="0" y="5"/>
                    <a:pt x="0" y="5"/>
                  </a:cubicBezTo>
                  <a:cubicBezTo>
                    <a:pt x="0" y="2"/>
                    <a:pt x="2" y="0"/>
                    <a:pt x="4" y="1"/>
                  </a:cubicBezTo>
                  <a:cubicBezTo>
                    <a:pt x="29" y="2"/>
                    <a:pt x="29" y="2"/>
                    <a:pt x="29" y="2"/>
                  </a:cubicBezTo>
                  <a:cubicBezTo>
                    <a:pt x="32" y="3"/>
                    <a:pt x="34" y="5"/>
                    <a:pt x="34" y="7"/>
                  </a:cubicBezTo>
                  <a:cubicBezTo>
                    <a:pt x="34" y="10"/>
                    <a:pt x="34" y="10"/>
                    <a:pt x="34" y="10"/>
                  </a:cubicBezTo>
                  <a:cubicBezTo>
                    <a:pt x="34" y="12"/>
                    <a:pt x="33" y="14"/>
                    <a:pt x="30" y="15"/>
                  </a:cubicBezTo>
                  <a:lnTo>
                    <a:pt x="6" y="2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7" name="Freeform 147"/>
            <p:cNvSpPr>
              <a:spLocks/>
            </p:cNvSpPr>
            <p:nvPr userDrawn="1"/>
          </p:nvSpPr>
          <p:spPr bwMode="auto">
            <a:xfrm>
              <a:off x="1235" y="1284"/>
              <a:ext cx="204" cy="197"/>
            </a:xfrm>
            <a:custGeom>
              <a:avLst/>
              <a:gdLst>
                <a:gd name="T0" fmla="*/ 31 w 33"/>
                <a:gd name="T1" fmla="*/ 16 h 32"/>
                <a:gd name="T2" fmla="*/ 31 w 33"/>
                <a:gd name="T3" fmla="*/ 21 h 32"/>
                <a:gd name="T4" fmla="*/ 23 w 33"/>
                <a:gd name="T5" fmla="*/ 30 h 32"/>
                <a:gd name="T6" fmla="*/ 18 w 33"/>
                <a:gd name="T7" fmla="*/ 30 h 32"/>
                <a:gd name="T8" fmla="*/ 1 w 33"/>
                <a:gd name="T9" fmla="*/ 11 h 32"/>
                <a:gd name="T10" fmla="*/ 1 w 33"/>
                <a:gd name="T11" fmla="*/ 5 h 32"/>
                <a:gd name="T12" fmla="*/ 3 w 33"/>
                <a:gd name="T13" fmla="*/ 3 h 32"/>
                <a:gd name="T14" fmla="*/ 10 w 33"/>
                <a:gd name="T15" fmla="*/ 2 h 32"/>
                <a:gd name="T16" fmla="*/ 31 w 33"/>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1" y="16"/>
                  </a:moveTo>
                  <a:cubicBezTo>
                    <a:pt x="33" y="17"/>
                    <a:pt x="33" y="20"/>
                    <a:pt x="31" y="21"/>
                  </a:cubicBezTo>
                  <a:cubicBezTo>
                    <a:pt x="23" y="30"/>
                    <a:pt x="23" y="30"/>
                    <a:pt x="23" y="30"/>
                  </a:cubicBezTo>
                  <a:cubicBezTo>
                    <a:pt x="22" y="32"/>
                    <a:pt x="19" y="32"/>
                    <a:pt x="18" y="30"/>
                  </a:cubicBezTo>
                  <a:cubicBezTo>
                    <a:pt x="1" y="11"/>
                    <a:pt x="1" y="11"/>
                    <a:pt x="1" y="11"/>
                  </a:cubicBezTo>
                  <a:cubicBezTo>
                    <a:pt x="0" y="9"/>
                    <a:pt x="0" y="6"/>
                    <a:pt x="1" y="5"/>
                  </a:cubicBezTo>
                  <a:cubicBezTo>
                    <a:pt x="3" y="3"/>
                    <a:pt x="3" y="3"/>
                    <a:pt x="3" y="3"/>
                  </a:cubicBezTo>
                  <a:cubicBezTo>
                    <a:pt x="5" y="1"/>
                    <a:pt x="7" y="0"/>
                    <a:pt x="10" y="2"/>
                  </a:cubicBezTo>
                  <a:lnTo>
                    <a:pt x="31" y="1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8" name="Freeform 148"/>
            <p:cNvSpPr>
              <a:spLocks/>
            </p:cNvSpPr>
            <p:nvPr userDrawn="1"/>
          </p:nvSpPr>
          <p:spPr bwMode="auto">
            <a:xfrm>
              <a:off x="1711" y="1702"/>
              <a:ext cx="204" cy="197"/>
            </a:xfrm>
            <a:custGeom>
              <a:avLst/>
              <a:gdLst>
                <a:gd name="T0" fmla="*/ 2 w 33"/>
                <a:gd name="T1" fmla="*/ 16 h 32"/>
                <a:gd name="T2" fmla="*/ 2 w 33"/>
                <a:gd name="T3" fmla="*/ 11 h 32"/>
                <a:gd name="T4" fmla="*/ 9 w 33"/>
                <a:gd name="T5" fmla="*/ 2 h 32"/>
                <a:gd name="T6" fmla="*/ 15 w 33"/>
                <a:gd name="T7" fmla="*/ 2 h 32"/>
                <a:gd name="T8" fmla="*/ 32 w 33"/>
                <a:gd name="T9" fmla="*/ 21 h 32"/>
                <a:gd name="T10" fmla="*/ 32 w 33"/>
                <a:gd name="T11" fmla="*/ 27 h 32"/>
                <a:gd name="T12" fmla="*/ 30 w 33"/>
                <a:gd name="T13" fmla="*/ 29 h 32"/>
                <a:gd name="T14" fmla="*/ 23 w 33"/>
                <a:gd name="T15" fmla="*/ 30 h 32"/>
                <a:gd name="T16" fmla="*/ 2 w 33"/>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2" y="16"/>
                  </a:moveTo>
                  <a:cubicBezTo>
                    <a:pt x="0" y="15"/>
                    <a:pt x="0" y="12"/>
                    <a:pt x="2" y="11"/>
                  </a:cubicBezTo>
                  <a:cubicBezTo>
                    <a:pt x="9" y="2"/>
                    <a:pt x="9" y="2"/>
                    <a:pt x="9" y="2"/>
                  </a:cubicBezTo>
                  <a:cubicBezTo>
                    <a:pt x="11" y="0"/>
                    <a:pt x="14" y="0"/>
                    <a:pt x="15" y="2"/>
                  </a:cubicBezTo>
                  <a:cubicBezTo>
                    <a:pt x="32" y="21"/>
                    <a:pt x="32" y="21"/>
                    <a:pt x="32" y="21"/>
                  </a:cubicBezTo>
                  <a:cubicBezTo>
                    <a:pt x="33" y="23"/>
                    <a:pt x="33" y="26"/>
                    <a:pt x="32" y="27"/>
                  </a:cubicBezTo>
                  <a:cubicBezTo>
                    <a:pt x="30" y="29"/>
                    <a:pt x="30" y="29"/>
                    <a:pt x="30" y="29"/>
                  </a:cubicBezTo>
                  <a:cubicBezTo>
                    <a:pt x="28" y="31"/>
                    <a:pt x="25" y="32"/>
                    <a:pt x="23" y="30"/>
                  </a:cubicBezTo>
                  <a:lnTo>
                    <a:pt x="2" y="1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9" name="Freeform 149"/>
            <p:cNvSpPr>
              <a:spLocks/>
            </p:cNvSpPr>
            <p:nvPr userDrawn="1"/>
          </p:nvSpPr>
          <p:spPr bwMode="auto">
            <a:xfrm>
              <a:off x="1266" y="1727"/>
              <a:ext cx="198" cy="203"/>
            </a:xfrm>
            <a:custGeom>
              <a:avLst/>
              <a:gdLst>
                <a:gd name="T0" fmla="*/ 16 w 32"/>
                <a:gd name="T1" fmla="*/ 2 h 33"/>
                <a:gd name="T2" fmla="*/ 21 w 32"/>
                <a:gd name="T3" fmla="*/ 2 h 33"/>
                <a:gd name="T4" fmla="*/ 30 w 32"/>
                <a:gd name="T5" fmla="*/ 9 h 33"/>
                <a:gd name="T6" fmla="*/ 30 w 32"/>
                <a:gd name="T7" fmla="*/ 15 h 33"/>
                <a:gd name="T8" fmla="*/ 11 w 32"/>
                <a:gd name="T9" fmla="*/ 32 h 33"/>
                <a:gd name="T10" fmla="*/ 5 w 32"/>
                <a:gd name="T11" fmla="*/ 32 h 33"/>
                <a:gd name="T12" fmla="*/ 3 w 32"/>
                <a:gd name="T13" fmla="*/ 30 h 33"/>
                <a:gd name="T14" fmla="*/ 2 w 32"/>
                <a:gd name="T15" fmla="*/ 23 h 33"/>
                <a:gd name="T16" fmla="*/ 16 w 32"/>
                <a:gd name="T17"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16" y="2"/>
                  </a:moveTo>
                  <a:cubicBezTo>
                    <a:pt x="17" y="0"/>
                    <a:pt x="20" y="0"/>
                    <a:pt x="21" y="2"/>
                  </a:cubicBezTo>
                  <a:cubicBezTo>
                    <a:pt x="30" y="9"/>
                    <a:pt x="30" y="9"/>
                    <a:pt x="30" y="9"/>
                  </a:cubicBezTo>
                  <a:cubicBezTo>
                    <a:pt x="32" y="11"/>
                    <a:pt x="32" y="14"/>
                    <a:pt x="30" y="15"/>
                  </a:cubicBezTo>
                  <a:cubicBezTo>
                    <a:pt x="11" y="32"/>
                    <a:pt x="11" y="32"/>
                    <a:pt x="11" y="32"/>
                  </a:cubicBezTo>
                  <a:cubicBezTo>
                    <a:pt x="9" y="33"/>
                    <a:pt x="6" y="33"/>
                    <a:pt x="5" y="32"/>
                  </a:cubicBezTo>
                  <a:cubicBezTo>
                    <a:pt x="3" y="30"/>
                    <a:pt x="3" y="30"/>
                    <a:pt x="3" y="30"/>
                  </a:cubicBezTo>
                  <a:cubicBezTo>
                    <a:pt x="1" y="28"/>
                    <a:pt x="0" y="25"/>
                    <a:pt x="2" y="23"/>
                  </a:cubicBezTo>
                  <a:lnTo>
                    <a:pt x="16" y="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0" name="Freeform 150"/>
            <p:cNvSpPr>
              <a:spLocks/>
            </p:cNvSpPr>
            <p:nvPr userDrawn="1"/>
          </p:nvSpPr>
          <p:spPr bwMode="auto">
            <a:xfrm>
              <a:off x="1687" y="1253"/>
              <a:ext cx="197" cy="203"/>
            </a:xfrm>
            <a:custGeom>
              <a:avLst/>
              <a:gdLst>
                <a:gd name="T0" fmla="*/ 16 w 32"/>
                <a:gd name="T1" fmla="*/ 31 h 33"/>
                <a:gd name="T2" fmla="*/ 11 w 32"/>
                <a:gd name="T3" fmla="*/ 31 h 33"/>
                <a:gd name="T4" fmla="*/ 2 w 32"/>
                <a:gd name="T5" fmla="*/ 24 h 33"/>
                <a:gd name="T6" fmla="*/ 2 w 32"/>
                <a:gd name="T7" fmla="*/ 18 h 33"/>
                <a:gd name="T8" fmla="*/ 21 w 32"/>
                <a:gd name="T9" fmla="*/ 1 h 33"/>
                <a:gd name="T10" fmla="*/ 27 w 32"/>
                <a:gd name="T11" fmla="*/ 1 h 33"/>
                <a:gd name="T12" fmla="*/ 29 w 32"/>
                <a:gd name="T13" fmla="*/ 3 h 33"/>
                <a:gd name="T14" fmla="*/ 30 w 32"/>
                <a:gd name="T15" fmla="*/ 10 h 33"/>
                <a:gd name="T16" fmla="*/ 16 w 32"/>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16" y="31"/>
                  </a:moveTo>
                  <a:cubicBezTo>
                    <a:pt x="15" y="33"/>
                    <a:pt x="12" y="33"/>
                    <a:pt x="11" y="31"/>
                  </a:cubicBezTo>
                  <a:cubicBezTo>
                    <a:pt x="2" y="24"/>
                    <a:pt x="2" y="24"/>
                    <a:pt x="2" y="24"/>
                  </a:cubicBezTo>
                  <a:cubicBezTo>
                    <a:pt x="0" y="22"/>
                    <a:pt x="0" y="19"/>
                    <a:pt x="2" y="18"/>
                  </a:cubicBezTo>
                  <a:cubicBezTo>
                    <a:pt x="21" y="1"/>
                    <a:pt x="21" y="1"/>
                    <a:pt x="21" y="1"/>
                  </a:cubicBezTo>
                  <a:cubicBezTo>
                    <a:pt x="23" y="0"/>
                    <a:pt x="26" y="0"/>
                    <a:pt x="27" y="1"/>
                  </a:cubicBezTo>
                  <a:cubicBezTo>
                    <a:pt x="29" y="3"/>
                    <a:pt x="29" y="3"/>
                    <a:pt x="29" y="3"/>
                  </a:cubicBezTo>
                  <a:cubicBezTo>
                    <a:pt x="31" y="5"/>
                    <a:pt x="32" y="8"/>
                    <a:pt x="30" y="10"/>
                  </a:cubicBezTo>
                  <a:lnTo>
                    <a:pt x="16" y="3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1" name="Freeform 151"/>
            <p:cNvSpPr>
              <a:spLocks/>
            </p:cNvSpPr>
            <p:nvPr userDrawn="1"/>
          </p:nvSpPr>
          <p:spPr bwMode="auto">
            <a:xfrm>
              <a:off x="1353" y="1191"/>
              <a:ext cx="173" cy="222"/>
            </a:xfrm>
            <a:custGeom>
              <a:avLst/>
              <a:gdLst>
                <a:gd name="T0" fmla="*/ 26 w 28"/>
                <a:gd name="T1" fmla="*/ 24 h 36"/>
                <a:gd name="T2" fmla="*/ 25 w 28"/>
                <a:gd name="T3" fmla="*/ 30 h 36"/>
                <a:gd name="T4" fmla="*/ 14 w 28"/>
                <a:gd name="T5" fmla="*/ 35 h 36"/>
                <a:gd name="T6" fmla="*/ 9 w 28"/>
                <a:gd name="T7" fmla="*/ 33 h 36"/>
                <a:gd name="T8" fmla="*/ 1 w 28"/>
                <a:gd name="T9" fmla="*/ 9 h 36"/>
                <a:gd name="T10" fmla="*/ 3 w 28"/>
                <a:gd name="T11" fmla="*/ 3 h 36"/>
                <a:gd name="T12" fmla="*/ 5 w 28"/>
                <a:gd name="T13" fmla="*/ 2 h 36"/>
                <a:gd name="T14" fmla="*/ 12 w 28"/>
                <a:gd name="T15" fmla="*/ 3 h 36"/>
                <a:gd name="T16" fmla="*/ 26 w 28"/>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6" y="24"/>
                  </a:moveTo>
                  <a:cubicBezTo>
                    <a:pt x="28" y="26"/>
                    <a:pt x="27" y="28"/>
                    <a:pt x="25" y="30"/>
                  </a:cubicBezTo>
                  <a:cubicBezTo>
                    <a:pt x="14" y="35"/>
                    <a:pt x="14" y="35"/>
                    <a:pt x="14" y="35"/>
                  </a:cubicBezTo>
                  <a:cubicBezTo>
                    <a:pt x="12" y="36"/>
                    <a:pt x="10" y="35"/>
                    <a:pt x="9" y="33"/>
                  </a:cubicBezTo>
                  <a:cubicBezTo>
                    <a:pt x="1" y="9"/>
                    <a:pt x="1" y="9"/>
                    <a:pt x="1" y="9"/>
                  </a:cubicBezTo>
                  <a:cubicBezTo>
                    <a:pt x="0" y="7"/>
                    <a:pt x="1" y="4"/>
                    <a:pt x="3" y="3"/>
                  </a:cubicBezTo>
                  <a:cubicBezTo>
                    <a:pt x="5" y="2"/>
                    <a:pt x="5" y="2"/>
                    <a:pt x="5" y="2"/>
                  </a:cubicBezTo>
                  <a:cubicBezTo>
                    <a:pt x="8" y="0"/>
                    <a:pt x="11" y="1"/>
                    <a:pt x="12" y="3"/>
                  </a:cubicBezTo>
                  <a:lnTo>
                    <a:pt x="26" y="2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 name="Freeform 152"/>
            <p:cNvSpPr>
              <a:spLocks/>
            </p:cNvSpPr>
            <p:nvPr userDrawn="1"/>
          </p:nvSpPr>
          <p:spPr bwMode="auto">
            <a:xfrm>
              <a:off x="1625" y="1770"/>
              <a:ext cx="173" cy="221"/>
            </a:xfrm>
            <a:custGeom>
              <a:avLst/>
              <a:gdLst>
                <a:gd name="T0" fmla="*/ 2 w 28"/>
                <a:gd name="T1" fmla="*/ 12 h 36"/>
                <a:gd name="T2" fmla="*/ 3 w 28"/>
                <a:gd name="T3" fmla="*/ 6 h 36"/>
                <a:gd name="T4" fmla="*/ 14 w 28"/>
                <a:gd name="T5" fmla="*/ 1 h 36"/>
                <a:gd name="T6" fmla="*/ 19 w 28"/>
                <a:gd name="T7" fmla="*/ 3 h 36"/>
                <a:gd name="T8" fmla="*/ 27 w 28"/>
                <a:gd name="T9" fmla="*/ 27 h 36"/>
                <a:gd name="T10" fmla="*/ 25 w 28"/>
                <a:gd name="T11" fmla="*/ 33 h 36"/>
                <a:gd name="T12" fmla="*/ 23 w 28"/>
                <a:gd name="T13" fmla="*/ 34 h 36"/>
                <a:gd name="T14" fmla="*/ 16 w 28"/>
                <a:gd name="T15" fmla="*/ 33 h 36"/>
                <a:gd name="T16" fmla="*/ 2 w 28"/>
                <a:gd name="T17"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 y="12"/>
                  </a:moveTo>
                  <a:cubicBezTo>
                    <a:pt x="0" y="10"/>
                    <a:pt x="1" y="7"/>
                    <a:pt x="3" y="6"/>
                  </a:cubicBezTo>
                  <a:cubicBezTo>
                    <a:pt x="14" y="1"/>
                    <a:pt x="14" y="1"/>
                    <a:pt x="14" y="1"/>
                  </a:cubicBezTo>
                  <a:cubicBezTo>
                    <a:pt x="16" y="0"/>
                    <a:pt x="18" y="1"/>
                    <a:pt x="19" y="3"/>
                  </a:cubicBezTo>
                  <a:cubicBezTo>
                    <a:pt x="27" y="27"/>
                    <a:pt x="27" y="27"/>
                    <a:pt x="27" y="27"/>
                  </a:cubicBezTo>
                  <a:cubicBezTo>
                    <a:pt x="28" y="29"/>
                    <a:pt x="27" y="32"/>
                    <a:pt x="25" y="33"/>
                  </a:cubicBezTo>
                  <a:cubicBezTo>
                    <a:pt x="23" y="34"/>
                    <a:pt x="23" y="34"/>
                    <a:pt x="23" y="34"/>
                  </a:cubicBezTo>
                  <a:cubicBezTo>
                    <a:pt x="20" y="36"/>
                    <a:pt x="17" y="35"/>
                    <a:pt x="16" y="33"/>
                  </a:cubicBezTo>
                  <a:lnTo>
                    <a:pt x="2" y="1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 name="Freeform 153"/>
            <p:cNvSpPr>
              <a:spLocks/>
            </p:cNvSpPr>
            <p:nvPr userDrawn="1"/>
          </p:nvSpPr>
          <p:spPr bwMode="auto">
            <a:xfrm>
              <a:off x="1174" y="1640"/>
              <a:ext cx="222" cy="173"/>
            </a:xfrm>
            <a:custGeom>
              <a:avLst/>
              <a:gdLst>
                <a:gd name="T0" fmla="*/ 24 w 36"/>
                <a:gd name="T1" fmla="*/ 2 h 28"/>
                <a:gd name="T2" fmla="*/ 30 w 36"/>
                <a:gd name="T3" fmla="*/ 3 h 28"/>
                <a:gd name="T4" fmla="*/ 35 w 36"/>
                <a:gd name="T5" fmla="*/ 14 h 28"/>
                <a:gd name="T6" fmla="*/ 33 w 36"/>
                <a:gd name="T7" fmla="*/ 19 h 28"/>
                <a:gd name="T8" fmla="*/ 9 w 36"/>
                <a:gd name="T9" fmla="*/ 27 h 28"/>
                <a:gd name="T10" fmla="*/ 3 w 36"/>
                <a:gd name="T11" fmla="*/ 25 h 28"/>
                <a:gd name="T12" fmla="*/ 2 w 36"/>
                <a:gd name="T13" fmla="*/ 23 h 28"/>
                <a:gd name="T14" fmla="*/ 3 w 36"/>
                <a:gd name="T15" fmla="*/ 16 h 28"/>
                <a:gd name="T16" fmla="*/ 24 w 36"/>
                <a:gd name="T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8">
                  <a:moveTo>
                    <a:pt x="24" y="2"/>
                  </a:moveTo>
                  <a:cubicBezTo>
                    <a:pt x="26" y="0"/>
                    <a:pt x="28" y="1"/>
                    <a:pt x="30" y="3"/>
                  </a:cubicBezTo>
                  <a:cubicBezTo>
                    <a:pt x="35" y="14"/>
                    <a:pt x="35" y="14"/>
                    <a:pt x="35" y="14"/>
                  </a:cubicBezTo>
                  <a:cubicBezTo>
                    <a:pt x="36" y="16"/>
                    <a:pt x="35" y="18"/>
                    <a:pt x="33" y="19"/>
                  </a:cubicBezTo>
                  <a:cubicBezTo>
                    <a:pt x="9" y="27"/>
                    <a:pt x="9" y="27"/>
                    <a:pt x="9" y="27"/>
                  </a:cubicBezTo>
                  <a:cubicBezTo>
                    <a:pt x="7" y="28"/>
                    <a:pt x="4" y="27"/>
                    <a:pt x="3" y="25"/>
                  </a:cubicBezTo>
                  <a:cubicBezTo>
                    <a:pt x="2" y="23"/>
                    <a:pt x="2" y="23"/>
                    <a:pt x="2" y="23"/>
                  </a:cubicBezTo>
                  <a:cubicBezTo>
                    <a:pt x="0" y="20"/>
                    <a:pt x="1" y="17"/>
                    <a:pt x="3" y="16"/>
                  </a:cubicBezTo>
                  <a:lnTo>
                    <a:pt x="24" y="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4" name="Freeform 154"/>
            <p:cNvSpPr>
              <a:spLocks/>
            </p:cNvSpPr>
            <p:nvPr userDrawn="1"/>
          </p:nvSpPr>
          <p:spPr bwMode="auto">
            <a:xfrm>
              <a:off x="1755" y="1370"/>
              <a:ext cx="216" cy="172"/>
            </a:xfrm>
            <a:custGeom>
              <a:avLst/>
              <a:gdLst>
                <a:gd name="T0" fmla="*/ 12 w 35"/>
                <a:gd name="T1" fmla="*/ 26 h 28"/>
                <a:gd name="T2" fmla="*/ 6 w 35"/>
                <a:gd name="T3" fmla="*/ 25 h 28"/>
                <a:gd name="T4" fmla="*/ 1 w 35"/>
                <a:gd name="T5" fmla="*/ 14 h 28"/>
                <a:gd name="T6" fmla="*/ 3 w 35"/>
                <a:gd name="T7" fmla="*/ 9 h 28"/>
                <a:gd name="T8" fmla="*/ 27 w 35"/>
                <a:gd name="T9" fmla="*/ 1 h 28"/>
                <a:gd name="T10" fmla="*/ 33 w 35"/>
                <a:gd name="T11" fmla="*/ 3 h 28"/>
                <a:gd name="T12" fmla="*/ 34 w 35"/>
                <a:gd name="T13" fmla="*/ 5 h 28"/>
                <a:gd name="T14" fmla="*/ 33 w 35"/>
                <a:gd name="T15" fmla="*/ 12 h 28"/>
                <a:gd name="T16" fmla="*/ 12 w 35"/>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8">
                  <a:moveTo>
                    <a:pt x="12" y="26"/>
                  </a:moveTo>
                  <a:cubicBezTo>
                    <a:pt x="10" y="28"/>
                    <a:pt x="7" y="27"/>
                    <a:pt x="6" y="25"/>
                  </a:cubicBezTo>
                  <a:cubicBezTo>
                    <a:pt x="1" y="14"/>
                    <a:pt x="1" y="14"/>
                    <a:pt x="1" y="14"/>
                  </a:cubicBezTo>
                  <a:cubicBezTo>
                    <a:pt x="0" y="12"/>
                    <a:pt x="1" y="10"/>
                    <a:pt x="3" y="9"/>
                  </a:cubicBezTo>
                  <a:cubicBezTo>
                    <a:pt x="27" y="1"/>
                    <a:pt x="27" y="1"/>
                    <a:pt x="27" y="1"/>
                  </a:cubicBezTo>
                  <a:cubicBezTo>
                    <a:pt x="29" y="0"/>
                    <a:pt x="32" y="1"/>
                    <a:pt x="33" y="3"/>
                  </a:cubicBezTo>
                  <a:cubicBezTo>
                    <a:pt x="34" y="5"/>
                    <a:pt x="34" y="5"/>
                    <a:pt x="34" y="5"/>
                  </a:cubicBezTo>
                  <a:cubicBezTo>
                    <a:pt x="35" y="8"/>
                    <a:pt x="35" y="11"/>
                    <a:pt x="33" y="12"/>
                  </a:cubicBezTo>
                  <a:lnTo>
                    <a:pt x="12" y="2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 name="Freeform 155"/>
            <p:cNvSpPr>
              <a:spLocks/>
            </p:cNvSpPr>
            <p:nvPr userDrawn="1"/>
          </p:nvSpPr>
          <p:spPr bwMode="auto">
            <a:xfrm>
              <a:off x="1155" y="1425"/>
              <a:ext cx="223" cy="154"/>
            </a:xfrm>
            <a:custGeom>
              <a:avLst/>
              <a:gdLst>
                <a:gd name="T0" fmla="*/ 32 w 36"/>
                <a:gd name="T1" fmla="*/ 5 h 25"/>
                <a:gd name="T2" fmla="*/ 35 w 36"/>
                <a:gd name="T3" fmla="*/ 10 h 25"/>
                <a:gd name="T4" fmla="*/ 31 w 36"/>
                <a:gd name="T5" fmla="*/ 21 h 25"/>
                <a:gd name="T6" fmla="*/ 26 w 36"/>
                <a:gd name="T7" fmla="*/ 23 h 25"/>
                <a:gd name="T8" fmla="*/ 3 w 36"/>
                <a:gd name="T9" fmla="*/ 12 h 25"/>
                <a:gd name="T10" fmla="*/ 1 w 36"/>
                <a:gd name="T11" fmla="*/ 6 h 25"/>
                <a:gd name="T12" fmla="*/ 2 w 36"/>
                <a:gd name="T13" fmla="*/ 4 h 25"/>
                <a:gd name="T14" fmla="*/ 7 w 36"/>
                <a:gd name="T15" fmla="*/ 0 h 25"/>
                <a:gd name="T16" fmla="*/ 32 w 36"/>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5">
                  <a:moveTo>
                    <a:pt x="32" y="5"/>
                  </a:moveTo>
                  <a:cubicBezTo>
                    <a:pt x="35" y="5"/>
                    <a:pt x="36" y="8"/>
                    <a:pt x="35" y="10"/>
                  </a:cubicBezTo>
                  <a:cubicBezTo>
                    <a:pt x="31" y="21"/>
                    <a:pt x="31" y="21"/>
                    <a:pt x="31" y="21"/>
                  </a:cubicBezTo>
                  <a:cubicBezTo>
                    <a:pt x="31" y="24"/>
                    <a:pt x="28" y="25"/>
                    <a:pt x="26" y="23"/>
                  </a:cubicBezTo>
                  <a:cubicBezTo>
                    <a:pt x="3" y="12"/>
                    <a:pt x="3" y="12"/>
                    <a:pt x="3" y="12"/>
                  </a:cubicBezTo>
                  <a:cubicBezTo>
                    <a:pt x="1" y="11"/>
                    <a:pt x="0" y="8"/>
                    <a:pt x="1" y="6"/>
                  </a:cubicBezTo>
                  <a:cubicBezTo>
                    <a:pt x="2" y="4"/>
                    <a:pt x="2" y="4"/>
                    <a:pt x="2" y="4"/>
                  </a:cubicBezTo>
                  <a:cubicBezTo>
                    <a:pt x="2" y="1"/>
                    <a:pt x="5" y="0"/>
                    <a:pt x="7" y="0"/>
                  </a:cubicBezTo>
                  <a:lnTo>
                    <a:pt x="32" y="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6" name="Freeform 156"/>
            <p:cNvSpPr>
              <a:spLocks/>
            </p:cNvSpPr>
            <p:nvPr userDrawn="1"/>
          </p:nvSpPr>
          <p:spPr bwMode="auto">
            <a:xfrm>
              <a:off x="1773" y="1604"/>
              <a:ext cx="223" cy="153"/>
            </a:xfrm>
            <a:custGeom>
              <a:avLst/>
              <a:gdLst>
                <a:gd name="T0" fmla="*/ 4 w 36"/>
                <a:gd name="T1" fmla="*/ 20 h 25"/>
                <a:gd name="T2" fmla="*/ 1 w 36"/>
                <a:gd name="T3" fmla="*/ 15 h 25"/>
                <a:gd name="T4" fmla="*/ 5 w 36"/>
                <a:gd name="T5" fmla="*/ 4 h 25"/>
                <a:gd name="T6" fmla="*/ 10 w 36"/>
                <a:gd name="T7" fmla="*/ 2 h 25"/>
                <a:gd name="T8" fmla="*/ 33 w 36"/>
                <a:gd name="T9" fmla="*/ 13 h 25"/>
                <a:gd name="T10" fmla="*/ 35 w 36"/>
                <a:gd name="T11" fmla="*/ 19 h 25"/>
                <a:gd name="T12" fmla="*/ 34 w 36"/>
                <a:gd name="T13" fmla="*/ 21 h 25"/>
                <a:gd name="T14" fmla="*/ 29 w 36"/>
                <a:gd name="T15" fmla="*/ 25 h 25"/>
                <a:gd name="T16" fmla="*/ 4 w 36"/>
                <a:gd name="T1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5">
                  <a:moveTo>
                    <a:pt x="4" y="20"/>
                  </a:moveTo>
                  <a:cubicBezTo>
                    <a:pt x="1" y="20"/>
                    <a:pt x="0" y="17"/>
                    <a:pt x="1" y="15"/>
                  </a:cubicBezTo>
                  <a:cubicBezTo>
                    <a:pt x="5" y="4"/>
                    <a:pt x="5" y="4"/>
                    <a:pt x="5" y="4"/>
                  </a:cubicBezTo>
                  <a:cubicBezTo>
                    <a:pt x="5" y="1"/>
                    <a:pt x="8" y="0"/>
                    <a:pt x="10" y="2"/>
                  </a:cubicBezTo>
                  <a:cubicBezTo>
                    <a:pt x="33" y="13"/>
                    <a:pt x="33" y="13"/>
                    <a:pt x="33" y="13"/>
                  </a:cubicBezTo>
                  <a:cubicBezTo>
                    <a:pt x="35" y="14"/>
                    <a:pt x="36" y="17"/>
                    <a:pt x="35" y="19"/>
                  </a:cubicBezTo>
                  <a:cubicBezTo>
                    <a:pt x="34" y="21"/>
                    <a:pt x="34" y="21"/>
                    <a:pt x="34" y="21"/>
                  </a:cubicBezTo>
                  <a:cubicBezTo>
                    <a:pt x="34" y="24"/>
                    <a:pt x="31" y="25"/>
                    <a:pt x="29" y="25"/>
                  </a:cubicBezTo>
                  <a:lnTo>
                    <a:pt x="4" y="2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7" name="Freeform 157"/>
            <p:cNvSpPr>
              <a:spLocks/>
            </p:cNvSpPr>
            <p:nvPr userDrawn="1"/>
          </p:nvSpPr>
          <p:spPr bwMode="auto">
            <a:xfrm>
              <a:off x="1409" y="1788"/>
              <a:ext cx="154" cy="222"/>
            </a:xfrm>
            <a:custGeom>
              <a:avLst/>
              <a:gdLst>
                <a:gd name="T0" fmla="*/ 5 w 25"/>
                <a:gd name="T1" fmla="*/ 4 h 36"/>
                <a:gd name="T2" fmla="*/ 10 w 25"/>
                <a:gd name="T3" fmla="*/ 1 h 36"/>
                <a:gd name="T4" fmla="*/ 21 w 25"/>
                <a:gd name="T5" fmla="*/ 5 h 36"/>
                <a:gd name="T6" fmla="*/ 23 w 25"/>
                <a:gd name="T7" fmla="*/ 10 h 36"/>
                <a:gd name="T8" fmla="*/ 12 w 25"/>
                <a:gd name="T9" fmla="*/ 33 h 36"/>
                <a:gd name="T10" fmla="*/ 6 w 25"/>
                <a:gd name="T11" fmla="*/ 35 h 36"/>
                <a:gd name="T12" fmla="*/ 4 w 25"/>
                <a:gd name="T13" fmla="*/ 34 h 36"/>
                <a:gd name="T14" fmla="*/ 0 w 25"/>
                <a:gd name="T15" fmla="*/ 29 h 36"/>
                <a:gd name="T16" fmla="*/ 5 w 25"/>
                <a:gd name="T1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5" y="4"/>
                  </a:moveTo>
                  <a:cubicBezTo>
                    <a:pt x="5" y="1"/>
                    <a:pt x="7" y="0"/>
                    <a:pt x="10" y="1"/>
                  </a:cubicBezTo>
                  <a:cubicBezTo>
                    <a:pt x="21" y="5"/>
                    <a:pt x="21" y="5"/>
                    <a:pt x="21" y="5"/>
                  </a:cubicBezTo>
                  <a:cubicBezTo>
                    <a:pt x="24" y="5"/>
                    <a:pt x="25" y="8"/>
                    <a:pt x="23" y="10"/>
                  </a:cubicBezTo>
                  <a:cubicBezTo>
                    <a:pt x="12" y="33"/>
                    <a:pt x="12" y="33"/>
                    <a:pt x="12" y="33"/>
                  </a:cubicBezTo>
                  <a:cubicBezTo>
                    <a:pt x="11" y="35"/>
                    <a:pt x="8" y="36"/>
                    <a:pt x="6" y="35"/>
                  </a:cubicBezTo>
                  <a:cubicBezTo>
                    <a:pt x="4" y="34"/>
                    <a:pt x="4" y="34"/>
                    <a:pt x="4" y="34"/>
                  </a:cubicBezTo>
                  <a:cubicBezTo>
                    <a:pt x="1" y="34"/>
                    <a:pt x="0" y="31"/>
                    <a:pt x="0" y="29"/>
                  </a:cubicBezTo>
                  <a:lnTo>
                    <a:pt x="5" y="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8" name="Freeform 158"/>
            <p:cNvSpPr>
              <a:spLocks/>
            </p:cNvSpPr>
            <p:nvPr userDrawn="1"/>
          </p:nvSpPr>
          <p:spPr bwMode="auto">
            <a:xfrm>
              <a:off x="1588" y="1173"/>
              <a:ext cx="154" cy="221"/>
            </a:xfrm>
            <a:custGeom>
              <a:avLst/>
              <a:gdLst>
                <a:gd name="T0" fmla="*/ 20 w 25"/>
                <a:gd name="T1" fmla="*/ 32 h 36"/>
                <a:gd name="T2" fmla="*/ 15 w 25"/>
                <a:gd name="T3" fmla="*/ 35 h 36"/>
                <a:gd name="T4" fmla="*/ 4 w 25"/>
                <a:gd name="T5" fmla="*/ 31 h 36"/>
                <a:gd name="T6" fmla="*/ 2 w 25"/>
                <a:gd name="T7" fmla="*/ 26 h 36"/>
                <a:gd name="T8" fmla="*/ 13 w 25"/>
                <a:gd name="T9" fmla="*/ 3 h 36"/>
                <a:gd name="T10" fmla="*/ 19 w 25"/>
                <a:gd name="T11" fmla="*/ 1 h 36"/>
                <a:gd name="T12" fmla="*/ 21 w 25"/>
                <a:gd name="T13" fmla="*/ 2 h 36"/>
                <a:gd name="T14" fmla="*/ 25 w 25"/>
                <a:gd name="T15" fmla="*/ 7 h 36"/>
                <a:gd name="T16" fmla="*/ 20 w 25"/>
                <a:gd name="T1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2"/>
                  </a:moveTo>
                  <a:cubicBezTo>
                    <a:pt x="20" y="35"/>
                    <a:pt x="17" y="36"/>
                    <a:pt x="15" y="35"/>
                  </a:cubicBezTo>
                  <a:cubicBezTo>
                    <a:pt x="4" y="31"/>
                    <a:pt x="4" y="31"/>
                    <a:pt x="4" y="31"/>
                  </a:cubicBezTo>
                  <a:cubicBezTo>
                    <a:pt x="1" y="31"/>
                    <a:pt x="0" y="28"/>
                    <a:pt x="2" y="26"/>
                  </a:cubicBezTo>
                  <a:cubicBezTo>
                    <a:pt x="13" y="3"/>
                    <a:pt x="13" y="3"/>
                    <a:pt x="13" y="3"/>
                  </a:cubicBezTo>
                  <a:cubicBezTo>
                    <a:pt x="14" y="1"/>
                    <a:pt x="17" y="0"/>
                    <a:pt x="19" y="1"/>
                  </a:cubicBezTo>
                  <a:cubicBezTo>
                    <a:pt x="21" y="2"/>
                    <a:pt x="21" y="2"/>
                    <a:pt x="21" y="2"/>
                  </a:cubicBezTo>
                  <a:cubicBezTo>
                    <a:pt x="24" y="2"/>
                    <a:pt x="25" y="5"/>
                    <a:pt x="25" y="7"/>
                  </a:cubicBezTo>
                  <a:lnTo>
                    <a:pt x="20" y="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 name="Freeform 159"/>
            <p:cNvSpPr>
              <a:spLocks/>
            </p:cNvSpPr>
            <p:nvPr userDrawn="1"/>
          </p:nvSpPr>
          <p:spPr bwMode="auto">
            <a:xfrm>
              <a:off x="383" y="3037"/>
              <a:ext cx="1619" cy="1372"/>
            </a:xfrm>
            <a:custGeom>
              <a:avLst/>
              <a:gdLst>
                <a:gd name="T0" fmla="*/ 1433 w 1619"/>
                <a:gd name="T1" fmla="*/ 363 h 1372"/>
                <a:gd name="T2" fmla="*/ 1433 w 1619"/>
                <a:gd name="T3" fmla="*/ 0 h 1372"/>
                <a:gd name="T4" fmla="*/ 1279 w 1619"/>
                <a:gd name="T5" fmla="*/ 0 h 1372"/>
                <a:gd name="T6" fmla="*/ 1254 w 1619"/>
                <a:gd name="T7" fmla="*/ 0 h 1372"/>
                <a:gd name="T8" fmla="*/ 0 w 1619"/>
                <a:gd name="T9" fmla="*/ 0 h 1372"/>
                <a:gd name="T10" fmla="*/ 0 w 1619"/>
                <a:gd name="T11" fmla="*/ 1372 h 1372"/>
                <a:gd name="T12" fmla="*/ 1341 w 1619"/>
                <a:gd name="T13" fmla="*/ 1372 h 1372"/>
                <a:gd name="T14" fmla="*/ 1341 w 1619"/>
                <a:gd name="T15" fmla="*/ 775 h 1372"/>
                <a:gd name="T16" fmla="*/ 1619 w 1619"/>
                <a:gd name="T17" fmla="*/ 775 h 1372"/>
                <a:gd name="T18" fmla="*/ 1433 w 1619"/>
                <a:gd name="T19" fmla="*/ 363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9" h="1372">
                  <a:moveTo>
                    <a:pt x="1433" y="363"/>
                  </a:moveTo>
                  <a:lnTo>
                    <a:pt x="1433" y="0"/>
                  </a:lnTo>
                  <a:lnTo>
                    <a:pt x="1279" y="0"/>
                  </a:lnTo>
                  <a:lnTo>
                    <a:pt x="1254" y="0"/>
                  </a:lnTo>
                  <a:lnTo>
                    <a:pt x="0" y="0"/>
                  </a:lnTo>
                  <a:lnTo>
                    <a:pt x="0" y="1372"/>
                  </a:lnTo>
                  <a:lnTo>
                    <a:pt x="1341" y="1372"/>
                  </a:lnTo>
                  <a:lnTo>
                    <a:pt x="1341" y="775"/>
                  </a:lnTo>
                  <a:lnTo>
                    <a:pt x="1619" y="775"/>
                  </a:lnTo>
                  <a:lnTo>
                    <a:pt x="1433" y="363"/>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 name="Oval 160"/>
            <p:cNvSpPr>
              <a:spLocks noChangeArrowheads="1"/>
            </p:cNvSpPr>
            <p:nvPr userDrawn="1"/>
          </p:nvSpPr>
          <p:spPr bwMode="auto">
            <a:xfrm>
              <a:off x="1341" y="3295"/>
              <a:ext cx="191" cy="191"/>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 name="Freeform 161"/>
            <p:cNvSpPr>
              <a:spLocks/>
            </p:cNvSpPr>
            <p:nvPr userDrawn="1"/>
          </p:nvSpPr>
          <p:spPr bwMode="auto">
            <a:xfrm>
              <a:off x="667" y="3338"/>
              <a:ext cx="179" cy="351"/>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noFill/>
            <a:ln w="58738"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3" name="Freeform 138"/>
            <p:cNvSpPr>
              <a:spLocks noEditPoints="1"/>
            </p:cNvSpPr>
            <p:nvPr userDrawn="1"/>
          </p:nvSpPr>
          <p:spPr bwMode="auto">
            <a:xfrm>
              <a:off x="1813" y="1959"/>
              <a:ext cx="851" cy="847"/>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4" name="Freeform 141"/>
            <p:cNvSpPr>
              <a:spLocks noEditPoints="1"/>
            </p:cNvSpPr>
            <p:nvPr userDrawn="1"/>
          </p:nvSpPr>
          <p:spPr bwMode="auto">
            <a:xfrm>
              <a:off x="1687" y="132"/>
              <a:ext cx="846" cy="843"/>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5" name="Freeform 140"/>
            <p:cNvSpPr>
              <a:spLocks noEditPoints="1"/>
            </p:cNvSpPr>
            <p:nvPr userDrawn="1"/>
          </p:nvSpPr>
          <p:spPr bwMode="auto">
            <a:xfrm>
              <a:off x="2126" y="1372"/>
              <a:ext cx="337" cy="339"/>
            </a:xfrm>
            <a:custGeom>
              <a:avLst/>
              <a:gdLst>
                <a:gd name="T0" fmla="*/ 106 w 109"/>
                <a:gd name="T1" fmla="*/ 67 h 110"/>
                <a:gd name="T2" fmla="*/ 91 w 109"/>
                <a:gd name="T3" fmla="*/ 57 h 110"/>
                <a:gd name="T4" fmla="*/ 91 w 109"/>
                <a:gd name="T5" fmla="*/ 57 h 110"/>
                <a:gd name="T6" fmla="*/ 90 w 109"/>
                <a:gd name="T7" fmla="*/ 48 h 110"/>
                <a:gd name="T8" fmla="*/ 91 w 109"/>
                <a:gd name="T9" fmla="*/ 48 h 110"/>
                <a:gd name="T10" fmla="*/ 104 w 109"/>
                <a:gd name="T11" fmla="*/ 37 h 110"/>
                <a:gd name="T12" fmla="*/ 106 w 109"/>
                <a:gd name="T13" fmla="*/ 30 h 110"/>
                <a:gd name="T14" fmla="*/ 99 w 109"/>
                <a:gd name="T15" fmla="*/ 27 h 110"/>
                <a:gd name="T16" fmla="*/ 82 w 109"/>
                <a:gd name="T17" fmla="*/ 31 h 110"/>
                <a:gd name="T18" fmla="*/ 82 w 109"/>
                <a:gd name="T19" fmla="*/ 31 h 110"/>
                <a:gd name="T20" fmla="*/ 75 w 109"/>
                <a:gd name="T21" fmla="*/ 25 h 110"/>
                <a:gd name="T22" fmla="*/ 75 w 109"/>
                <a:gd name="T23" fmla="*/ 24 h 110"/>
                <a:gd name="T24" fmla="*/ 77 w 109"/>
                <a:gd name="T25" fmla="*/ 7 h 110"/>
                <a:gd name="T26" fmla="*/ 73 w 109"/>
                <a:gd name="T27" fmla="*/ 1 h 110"/>
                <a:gd name="T28" fmla="*/ 66 w 109"/>
                <a:gd name="T29" fmla="*/ 3 h 110"/>
                <a:gd name="T30" fmla="*/ 57 w 109"/>
                <a:gd name="T31" fmla="*/ 18 h 110"/>
                <a:gd name="T32" fmla="*/ 57 w 109"/>
                <a:gd name="T33" fmla="*/ 18 h 110"/>
                <a:gd name="T34" fmla="*/ 48 w 109"/>
                <a:gd name="T35" fmla="*/ 19 h 110"/>
                <a:gd name="T36" fmla="*/ 47 w 109"/>
                <a:gd name="T37" fmla="*/ 18 h 110"/>
                <a:gd name="T38" fmla="*/ 37 w 109"/>
                <a:gd name="T39" fmla="*/ 5 h 110"/>
                <a:gd name="T40" fmla="*/ 29 w 109"/>
                <a:gd name="T41" fmla="*/ 3 h 110"/>
                <a:gd name="T42" fmla="*/ 26 w 109"/>
                <a:gd name="T43" fmla="*/ 10 h 110"/>
                <a:gd name="T44" fmla="*/ 30 w 109"/>
                <a:gd name="T45" fmla="*/ 27 h 110"/>
                <a:gd name="T46" fmla="*/ 30 w 109"/>
                <a:gd name="T47" fmla="*/ 27 h 110"/>
                <a:gd name="T48" fmla="*/ 24 w 109"/>
                <a:gd name="T49" fmla="*/ 34 h 110"/>
                <a:gd name="T50" fmla="*/ 24 w 109"/>
                <a:gd name="T51" fmla="*/ 34 h 110"/>
                <a:gd name="T52" fmla="*/ 7 w 109"/>
                <a:gd name="T53" fmla="*/ 32 h 110"/>
                <a:gd name="T54" fmla="*/ 0 w 109"/>
                <a:gd name="T55" fmla="*/ 36 h 110"/>
                <a:gd name="T56" fmla="*/ 3 w 109"/>
                <a:gd name="T57" fmla="*/ 43 h 110"/>
                <a:gd name="T58" fmla="*/ 17 w 109"/>
                <a:gd name="T59" fmla="*/ 52 h 110"/>
                <a:gd name="T60" fmla="*/ 18 w 109"/>
                <a:gd name="T61" fmla="*/ 62 h 110"/>
                <a:gd name="T62" fmla="*/ 5 w 109"/>
                <a:gd name="T63" fmla="*/ 73 h 110"/>
                <a:gd name="T64" fmla="*/ 3 w 109"/>
                <a:gd name="T65" fmla="*/ 80 h 110"/>
                <a:gd name="T66" fmla="*/ 10 w 109"/>
                <a:gd name="T67" fmla="*/ 83 h 110"/>
                <a:gd name="T68" fmla="*/ 26 w 109"/>
                <a:gd name="T69" fmla="*/ 79 h 110"/>
                <a:gd name="T70" fmla="*/ 34 w 109"/>
                <a:gd name="T71" fmla="*/ 86 h 110"/>
                <a:gd name="T72" fmla="*/ 32 w 109"/>
                <a:gd name="T73" fmla="*/ 102 h 110"/>
                <a:gd name="T74" fmla="*/ 36 w 109"/>
                <a:gd name="T75" fmla="*/ 109 h 110"/>
                <a:gd name="T76" fmla="*/ 43 w 109"/>
                <a:gd name="T77" fmla="*/ 106 h 110"/>
                <a:gd name="T78" fmla="*/ 51 w 109"/>
                <a:gd name="T79" fmla="*/ 92 h 110"/>
                <a:gd name="T80" fmla="*/ 62 w 109"/>
                <a:gd name="T81" fmla="*/ 91 h 110"/>
                <a:gd name="T82" fmla="*/ 72 w 109"/>
                <a:gd name="T83" fmla="*/ 104 h 110"/>
                <a:gd name="T84" fmla="*/ 79 w 109"/>
                <a:gd name="T85" fmla="*/ 106 h 110"/>
                <a:gd name="T86" fmla="*/ 82 w 109"/>
                <a:gd name="T87" fmla="*/ 99 h 110"/>
                <a:gd name="T88" fmla="*/ 79 w 109"/>
                <a:gd name="T89" fmla="*/ 83 h 110"/>
                <a:gd name="T90" fmla="*/ 85 w 109"/>
                <a:gd name="T91" fmla="*/ 75 h 110"/>
                <a:gd name="T92" fmla="*/ 102 w 109"/>
                <a:gd name="T93" fmla="*/ 77 h 110"/>
                <a:gd name="T94" fmla="*/ 108 w 109"/>
                <a:gd name="T95" fmla="*/ 73 h 110"/>
                <a:gd name="T96" fmla="*/ 106 w 109"/>
                <a:gd name="T97" fmla="*/ 67 h 110"/>
                <a:gd name="T98" fmla="*/ 46 w 109"/>
                <a:gd name="T99" fmla="*/ 78 h 110"/>
                <a:gd name="T100" fmla="*/ 32 w 109"/>
                <a:gd name="T101" fmla="*/ 47 h 110"/>
                <a:gd name="T102" fmla="*/ 62 w 109"/>
                <a:gd name="T103" fmla="*/ 33 h 110"/>
                <a:gd name="T104" fmla="*/ 77 w 109"/>
                <a:gd name="T105" fmla="*/ 63 h 110"/>
                <a:gd name="T106" fmla="*/ 46 w 109"/>
                <a:gd name="T107" fmla="*/ 7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110">
                  <a:moveTo>
                    <a:pt x="106" y="67"/>
                  </a:moveTo>
                  <a:cubicBezTo>
                    <a:pt x="91" y="57"/>
                    <a:pt x="91" y="57"/>
                    <a:pt x="91" y="57"/>
                  </a:cubicBezTo>
                  <a:cubicBezTo>
                    <a:pt x="91" y="57"/>
                    <a:pt x="91" y="57"/>
                    <a:pt x="91" y="57"/>
                  </a:cubicBezTo>
                  <a:cubicBezTo>
                    <a:pt x="91" y="54"/>
                    <a:pt x="91" y="51"/>
                    <a:pt x="90" y="48"/>
                  </a:cubicBezTo>
                  <a:cubicBezTo>
                    <a:pt x="91" y="48"/>
                    <a:pt x="91" y="48"/>
                    <a:pt x="91" y="48"/>
                  </a:cubicBezTo>
                  <a:cubicBezTo>
                    <a:pt x="104" y="37"/>
                    <a:pt x="104" y="37"/>
                    <a:pt x="104" y="37"/>
                  </a:cubicBezTo>
                  <a:cubicBezTo>
                    <a:pt x="106" y="35"/>
                    <a:pt x="107" y="32"/>
                    <a:pt x="106" y="30"/>
                  </a:cubicBezTo>
                  <a:cubicBezTo>
                    <a:pt x="105" y="27"/>
                    <a:pt x="102" y="26"/>
                    <a:pt x="99" y="27"/>
                  </a:cubicBezTo>
                  <a:cubicBezTo>
                    <a:pt x="82" y="31"/>
                    <a:pt x="82" y="31"/>
                    <a:pt x="82" y="31"/>
                  </a:cubicBezTo>
                  <a:cubicBezTo>
                    <a:pt x="82" y="31"/>
                    <a:pt x="82" y="31"/>
                    <a:pt x="82" y="31"/>
                  </a:cubicBezTo>
                  <a:cubicBezTo>
                    <a:pt x="80" y="28"/>
                    <a:pt x="78" y="26"/>
                    <a:pt x="75" y="25"/>
                  </a:cubicBezTo>
                  <a:cubicBezTo>
                    <a:pt x="75" y="24"/>
                    <a:pt x="75" y="24"/>
                    <a:pt x="75" y="24"/>
                  </a:cubicBezTo>
                  <a:cubicBezTo>
                    <a:pt x="77" y="7"/>
                    <a:pt x="77" y="7"/>
                    <a:pt x="77" y="7"/>
                  </a:cubicBezTo>
                  <a:cubicBezTo>
                    <a:pt x="77" y="4"/>
                    <a:pt x="76" y="2"/>
                    <a:pt x="73" y="1"/>
                  </a:cubicBezTo>
                  <a:cubicBezTo>
                    <a:pt x="71" y="0"/>
                    <a:pt x="68" y="1"/>
                    <a:pt x="66" y="3"/>
                  </a:cubicBezTo>
                  <a:cubicBezTo>
                    <a:pt x="57" y="18"/>
                    <a:pt x="57" y="18"/>
                    <a:pt x="57" y="18"/>
                  </a:cubicBezTo>
                  <a:cubicBezTo>
                    <a:pt x="57" y="18"/>
                    <a:pt x="57" y="18"/>
                    <a:pt x="57" y="18"/>
                  </a:cubicBezTo>
                  <a:cubicBezTo>
                    <a:pt x="54" y="18"/>
                    <a:pt x="51" y="18"/>
                    <a:pt x="48" y="19"/>
                  </a:cubicBezTo>
                  <a:cubicBezTo>
                    <a:pt x="47" y="19"/>
                    <a:pt x="47" y="19"/>
                    <a:pt x="47" y="18"/>
                  </a:cubicBezTo>
                  <a:cubicBezTo>
                    <a:pt x="37" y="5"/>
                    <a:pt x="37" y="5"/>
                    <a:pt x="37" y="5"/>
                  </a:cubicBezTo>
                  <a:cubicBezTo>
                    <a:pt x="35" y="3"/>
                    <a:pt x="32" y="2"/>
                    <a:pt x="29" y="3"/>
                  </a:cubicBezTo>
                  <a:cubicBezTo>
                    <a:pt x="27" y="5"/>
                    <a:pt x="26" y="7"/>
                    <a:pt x="26" y="10"/>
                  </a:cubicBezTo>
                  <a:cubicBezTo>
                    <a:pt x="30" y="27"/>
                    <a:pt x="30" y="27"/>
                    <a:pt x="30" y="27"/>
                  </a:cubicBezTo>
                  <a:cubicBezTo>
                    <a:pt x="30" y="27"/>
                    <a:pt x="30" y="27"/>
                    <a:pt x="30" y="27"/>
                  </a:cubicBezTo>
                  <a:cubicBezTo>
                    <a:pt x="28" y="29"/>
                    <a:pt x="26" y="31"/>
                    <a:pt x="24" y="34"/>
                  </a:cubicBezTo>
                  <a:cubicBezTo>
                    <a:pt x="24" y="34"/>
                    <a:pt x="24" y="34"/>
                    <a:pt x="24" y="34"/>
                  </a:cubicBezTo>
                  <a:cubicBezTo>
                    <a:pt x="7" y="32"/>
                    <a:pt x="7" y="32"/>
                    <a:pt x="7" y="32"/>
                  </a:cubicBezTo>
                  <a:cubicBezTo>
                    <a:pt x="4" y="32"/>
                    <a:pt x="1" y="34"/>
                    <a:pt x="0" y="36"/>
                  </a:cubicBezTo>
                  <a:cubicBezTo>
                    <a:pt x="0" y="38"/>
                    <a:pt x="1" y="42"/>
                    <a:pt x="3" y="43"/>
                  </a:cubicBezTo>
                  <a:cubicBezTo>
                    <a:pt x="17" y="52"/>
                    <a:pt x="17" y="52"/>
                    <a:pt x="17" y="52"/>
                  </a:cubicBezTo>
                  <a:cubicBezTo>
                    <a:pt x="17" y="55"/>
                    <a:pt x="17" y="59"/>
                    <a:pt x="18" y="62"/>
                  </a:cubicBezTo>
                  <a:cubicBezTo>
                    <a:pt x="5" y="73"/>
                    <a:pt x="5" y="73"/>
                    <a:pt x="5" y="73"/>
                  </a:cubicBezTo>
                  <a:cubicBezTo>
                    <a:pt x="3" y="74"/>
                    <a:pt x="2" y="77"/>
                    <a:pt x="3" y="80"/>
                  </a:cubicBezTo>
                  <a:cubicBezTo>
                    <a:pt x="4" y="82"/>
                    <a:pt x="7" y="83"/>
                    <a:pt x="10" y="83"/>
                  </a:cubicBezTo>
                  <a:cubicBezTo>
                    <a:pt x="26" y="79"/>
                    <a:pt x="26" y="79"/>
                    <a:pt x="26" y="79"/>
                  </a:cubicBezTo>
                  <a:cubicBezTo>
                    <a:pt x="28" y="82"/>
                    <a:pt x="31" y="84"/>
                    <a:pt x="34" y="86"/>
                  </a:cubicBezTo>
                  <a:cubicBezTo>
                    <a:pt x="32" y="102"/>
                    <a:pt x="32" y="102"/>
                    <a:pt x="32" y="102"/>
                  </a:cubicBezTo>
                  <a:cubicBezTo>
                    <a:pt x="32" y="105"/>
                    <a:pt x="33" y="108"/>
                    <a:pt x="36" y="109"/>
                  </a:cubicBezTo>
                  <a:cubicBezTo>
                    <a:pt x="38" y="110"/>
                    <a:pt x="41" y="108"/>
                    <a:pt x="43" y="106"/>
                  </a:cubicBezTo>
                  <a:cubicBezTo>
                    <a:pt x="51" y="92"/>
                    <a:pt x="51" y="92"/>
                    <a:pt x="51" y="92"/>
                  </a:cubicBezTo>
                  <a:cubicBezTo>
                    <a:pt x="55" y="92"/>
                    <a:pt x="58" y="92"/>
                    <a:pt x="62" y="91"/>
                  </a:cubicBezTo>
                  <a:cubicBezTo>
                    <a:pt x="72" y="104"/>
                    <a:pt x="72" y="104"/>
                    <a:pt x="72" y="104"/>
                  </a:cubicBezTo>
                  <a:cubicBezTo>
                    <a:pt x="74" y="106"/>
                    <a:pt x="77" y="107"/>
                    <a:pt x="79" y="106"/>
                  </a:cubicBezTo>
                  <a:cubicBezTo>
                    <a:pt x="82" y="105"/>
                    <a:pt x="83" y="102"/>
                    <a:pt x="82" y="99"/>
                  </a:cubicBezTo>
                  <a:cubicBezTo>
                    <a:pt x="79" y="83"/>
                    <a:pt x="79" y="83"/>
                    <a:pt x="79" y="83"/>
                  </a:cubicBezTo>
                  <a:cubicBezTo>
                    <a:pt x="81" y="81"/>
                    <a:pt x="83" y="78"/>
                    <a:pt x="85" y="75"/>
                  </a:cubicBezTo>
                  <a:cubicBezTo>
                    <a:pt x="102" y="77"/>
                    <a:pt x="102" y="77"/>
                    <a:pt x="102" y="77"/>
                  </a:cubicBezTo>
                  <a:cubicBezTo>
                    <a:pt x="105" y="78"/>
                    <a:pt x="107" y="76"/>
                    <a:pt x="108" y="73"/>
                  </a:cubicBezTo>
                  <a:cubicBezTo>
                    <a:pt x="109" y="71"/>
                    <a:pt x="108" y="68"/>
                    <a:pt x="106" y="67"/>
                  </a:cubicBezTo>
                  <a:close/>
                  <a:moveTo>
                    <a:pt x="46" y="78"/>
                  </a:moveTo>
                  <a:cubicBezTo>
                    <a:pt x="34" y="73"/>
                    <a:pt x="28" y="60"/>
                    <a:pt x="32" y="47"/>
                  </a:cubicBezTo>
                  <a:cubicBezTo>
                    <a:pt x="36" y="35"/>
                    <a:pt x="50" y="28"/>
                    <a:pt x="62" y="33"/>
                  </a:cubicBezTo>
                  <a:cubicBezTo>
                    <a:pt x="74" y="37"/>
                    <a:pt x="81" y="50"/>
                    <a:pt x="77" y="63"/>
                  </a:cubicBezTo>
                  <a:cubicBezTo>
                    <a:pt x="72" y="75"/>
                    <a:pt x="59" y="82"/>
                    <a:pt x="46" y="78"/>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6" name="Freeform 139"/>
            <p:cNvSpPr>
              <a:spLocks noEditPoints="1"/>
            </p:cNvSpPr>
            <p:nvPr userDrawn="1"/>
          </p:nvSpPr>
          <p:spPr bwMode="auto">
            <a:xfrm>
              <a:off x="2555" y="386"/>
              <a:ext cx="1433" cy="1427"/>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7" name="Freeform 138"/>
            <p:cNvSpPr>
              <a:spLocks noEditPoints="1"/>
            </p:cNvSpPr>
            <p:nvPr userDrawn="1"/>
          </p:nvSpPr>
          <p:spPr bwMode="auto">
            <a:xfrm>
              <a:off x="87" y="71"/>
              <a:ext cx="851" cy="847"/>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8" name="Freeform 140"/>
            <p:cNvSpPr>
              <a:spLocks noEditPoints="1"/>
            </p:cNvSpPr>
            <p:nvPr userDrawn="1"/>
          </p:nvSpPr>
          <p:spPr bwMode="auto">
            <a:xfrm>
              <a:off x="343" y="1236"/>
              <a:ext cx="337" cy="339"/>
            </a:xfrm>
            <a:custGeom>
              <a:avLst/>
              <a:gdLst>
                <a:gd name="T0" fmla="*/ 106 w 109"/>
                <a:gd name="T1" fmla="*/ 67 h 110"/>
                <a:gd name="T2" fmla="*/ 91 w 109"/>
                <a:gd name="T3" fmla="*/ 57 h 110"/>
                <a:gd name="T4" fmla="*/ 91 w 109"/>
                <a:gd name="T5" fmla="*/ 57 h 110"/>
                <a:gd name="T6" fmla="*/ 90 w 109"/>
                <a:gd name="T7" fmla="*/ 48 h 110"/>
                <a:gd name="T8" fmla="*/ 91 w 109"/>
                <a:gd name="T9" fmla="*/ 48 h 110"/>
                <a:gd name="T10" fmla="*/ 104 w 109"/>
                <a:gd name="T11" fmla="*/ 37 h 110"/>
                <a:gd name="T12" fmla="*/ 106 w 109"/>
                <a:gd name="T13" fmla="*/ 30 h 110"/>
                <a:gd name="T14" fmla="*/ 99 w 109"/>
                <a:gd name="T15" fmla="*/ 27 h 110"/>
                <a:gd name="T16" fmla="*/ 82 w 109"/>
                <a:gd name="T17" fmla="*/ 31 h 110"/>
                <a:gd name="T18" fmla="*/ 82 w 109"/>
                <a:gd name="T19" fmla="*/ 31 h 110"/>
                <a:gd name="T20" fmla="*/ 75 w 109"/>
                <a:gd name="T21" fmla="*/ 25 h 110"/>
                <a:gd name="T22" fmla="*/ 75 w 109"/>
                <a:gd name="T23" fmla="*/ 24 h 110"/>
                <a:gd name="T24" fmla="*/ 77 w 109"/>
                <a:gd name="T25" fmla="*/ 7 h 110"/>
                <a:gd name="T26" fmla="*/ 73 w 109"/>
                <a:gd name="T27" fmla="*/ 1 h 110"/>
                <a:gd name="T28" fmla="*/ 66 w 109"/>
                <a:gd name="T29" fmla="*/ 3 h 110"/>
                <a:gd name="T30" fmla="*/ 57 w 109"/>
                <a:gd name="T31" fmla="*/ 18 h 110"/>
                <a:gd name="T32" fmla="*/ 57 w 109"/>
                <a:gd name="T33" fmla="*/ 18 h 110"/>
                <a:gd name="T34" fmla="*/ 48 w 109"/>
                <a:gd name="T35" fmla="*/ 19 h 110"/>
                <a:gd name="T36" fmla="*/ 47 w 109"/>
                <a:gd name="T37" fmla="*/ 18 h 110"/>
                <a:gd name="T38" fmla="*/ 37 w 109"/>
                <a:gd name="T39" fmla="*/ 5 h 110"/>
                <a:gd name="T40" fmla="*/ 29 w 109"/>
                <a:gd name="T41" fmla="*/ 3 h 110"/>
                <a:gd name="T42" fmla="*/ 26 w 109"/>
                <a:gd name="T43" fmla="*/ 10 h 110"/>
                <a:gd name="T44" fmla="*/ 30 w 109"/>
                <a:gd name="T45" fmla="*/ 27 h 110"/>
                <a:gd name="T46" fmla="*/ 30 w 109"/>
                <a:gd name="T47" fmla="*/ 27 h 110"/>
                <a:gd name="T48" fmla="*/ 24 w 109"/>
                <a:gd name="T49" fmla="*/ 34 h 110"/>
                <a:gd name="T50" fmla="*/ 24 w 109"/>
                <a:gd name="T51" fmla="*/ 34 h 110"/>
                <a:gd name="T52" fmla="*/ 7 w 109"/>
                <a:gd name="T53" fmla="*/ 32 h 110"/>
                <a:gd name="T54" fmla="*/ 0 w 109"/>
                <a:gd name="T55" fmla="*/ 36 h 110"/>
                <a:gd name="T56" fmla="*/ 3 w 109"/>
                <a:gd name="T57" fmla="*/ 43 h 110"/>
                <a:gd name="T58" fmla="*/ 17 w 109"/>
                <a:gd name="T59" fmla="*/ 52 h 110"/>
                <a:gd name="T60" fmla="*/ 18 w 109"/>
                <a:gd name="T61" fmla="*/ 62 h 110"/>
                <a:gd name="T62" fmla="*/ 5 w 109"/>
                <a:gd name="T63" fmla="*/ 73 h 110"/>
                <a:gd name="T64" fmla="*/ 3 w 109"/>
                <a:gd name="T65" fmla="*/ 80 h 110"/>
                <a:gd name="T66" fmla="*/ 10 w 109"/>
                <a:gd name="T67" fmla="*/ 83 h 110"/>
                <a:gd name="T68" fmla="*/ 26 w 109"/>
                <a:gd name="T69" fmla="*/ 79 h 110"/>
                <a:gd name="T70" fmla="*/ 34 w 109"/>
                <a:gd name="T71" fmla="*/ 86 h 110"/>
                <a:gd name="T72" fmla="*/ 32 w 109"/>
                <a:gd name="T73" fmla="*/ 102 h 110"/>
                <a:gd name="T74" fmla="*/ 36 w 109"/>
                <a:gd name="T75" fmla="*/ 109 h 110"/>
                <a:gd name="T76" fmla="*/ 43 w 109"/>
                <a:gd name="T77" fmla="*/ 106 h 110"/>
                <a:gd name="T78" fmla="*/ 51 w 109"/>
                <a:gd name="T79" fmla="*/ 92 h 110"/>
                <a:gd name="T80" fmla="*/ 62 w 109"/>
                <a:gd name="T81" fmla="*/ 91 h 110"/>
                <a:gd name="T82" fmla="*/ 72 w 109"/>
                <a:gd name="T83" fmla="*/ 104 h 110"/>
                <a:gd name="T84" fmla="*/ 79 w 109"/>
                <a:gd name="T85" fmla="*/ 106 h 110"/>
                <a:gd name="T86" fmla="*/ 82 w 109"/>
                <a:gd name="T87" fmla="*/ 99 h 110"/>
                <a:gd name="T88" fmla="*/ 79 w 109"/>
                <a:gd name="T89" fmla="*/ 83 h 110"/>
                <a:gd name="T90" fmla="*/ 85 w 109"/>
                <a:gd name="T91" fmla="*/ 75 h 110"/>
                <a:gd name="T92" fmla="*/ 102 w 109"/>
                <a:gd name="T93" fmla="*/ 77 h 110"/>
                <a:gd name="T94" fmla="*/ 108 w 109"/>
                <a:gd name="T95" fmla="*/ 73 h 110"/>
                <a:gd name="T96" fmla="*/ 106 w 109"/>
                <a:gd name="T97" fmla="*/ 67 h 110"/>
                <a:gd name="T98" fmla="*/ 46 w 109"/>
                <a:gd name="T99" fmla="*/ 78 h 110"/>
                <a:gd name="T100" fmla="*/ 32 w 109"/>
                <a:gd name="T101" fmla="*/ 47 h 110"/>
                <a:gd name="T102" fmla="*/ 62 w 109"/>
                <a:gd name="T103" fmla="*/ 33 h 110"/>
                <a:gd name="T104" fmla="*/ 77 w 109"/>
                <a:gd name="T105" fmla="*/ 63 h 110"/>
                <a:gd name="T106" fmla="*/ 46 w 109"/>
                <a:gd name="T107" fmla="*/ 7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110">
                  <a:moveTo>
                    <a:pt x="106" y="67"/>
                  </a:moveTo>
                  <a:cubicBezTo>
                    <a:pt x="91" y="57"/>
                    <a:pt x="91" y="57"/>
                    <a:pt x="91" y="57"/>
                  </a:cubicBezTo>
                  <a:cubicBezTo>
                    <a:pt x="91" y="57"/>
                    <a:pt x="91" y="57"/>
                    <a:pt x="91" y="57"/>
                  </a:cubicBezTo>
                  <a:cubicBezTo>
                    <a:pt x="91" y="54"/>
                    <a:pt x="91" y="51"/>
                    <a:pt x="90" y="48"/>
                  </a:cubicBezTo>
                  <a:cubicBezTo>
                    <a:pt x="91" y="48"/>
                    <a:pt x="91" y="48"/>
                    <a:pt x="91" y="48"/>
                  </a:cubicBezTo>
                  <a:cubicBezTo>
                    <a:pt x="104" y="37"/>
                    <a:pt x="104" y="37"/>
                    <a:pt x="104" y="37"/>
                  </a:cubicBezTo>
                  <a:cubicBezTo>
                    <a:pt x="106" y="35"/>
                    <a:pt x="107" y="32"/>
                    <a:pt x="106" y="30"/>
                  </a:cubicBezTo>
                  <a:cubicBezTo>
                    <a:pt x="105" y="27"/>
                    <a:pt x="102" y="26"/>
                    <a:pt x="99" y="27"/>
                  </a:cubicBezTo>
                  <a:cubicBezTo>
                    <a:pt x="82" y="31"/>
                    <a:pt x="82" y="31"/>
                    <a:pt x="82" y="31"/>
                  </a:cubicBezTo>
                  <a:cubicBezTo>
                    <a:pt x="82" y="31"/>
                    <a:pt x="82" y="31"/>
                    <a:pt x="82" y="31"/>
                  </a:cubicBezTo>
                  <a:cubicBezTo>
                    <a:pt x="80" y="28"/>
                    <a:pt x="78" y="26"/>
                    <a:pt x="75" y="25"/>
                  </a:cubicBezTo>
                  <a:cubicBezTo>
                    <a:pt x="75" y="24"/>
                    <a:pt x="75" y="24"/>
                    <a:pt x="75" y="24"/>
                  </a:cubicBezTo>
                  <a:cubicBezTo>
                    <a:pt x="77" y="7"/>
                    <a:pt x="77" y="7"/>
                    <a:pt x="77" y="7"/>
                  </a:cubicBezTo>
                  <a:cubicBezTo>
                    <a:pt x="77" y="4"/>
                    <a:pt x="76" y="2"/>
                    <a:pt x="73" y="1"/>
                  </a:cubicBezTo>
                  <a:cubicBezTo>
                    <a:pt x="71" y="0"/>
                    <a:pt x="68" y="1"/>
                    <a:pt x="66" y="3"/>
                  </a:cubicBezTo>
                  <a:cubicBezTo>
                    <a:pt x="57" y="18"/>
                    <a:pt x="57" y="18"/>
                    <a:pt x="57" y="18"/>
                  </a:cubicBezTo>
                  <a:cubicBezTo>
                    <a:pt x="57" y="18"/>
                    <a:pt x="57" y="18"/>
                    <a:pt x="57" y="18"/>
                  </a:cubicBezTo>
                  <a:cubicBezTo>
                    <a:pt x="54" y="18"/>
                    <a:pt x="51" y="18"/>
                    <a:pt x="48" y="19"/>
                  </a:cubicBezTo>
                  <a:cubicBezTo>
                    <a:pt x="47" y="19"/>
                    <a:pt x="47" y="19"/>
                    <a:pt x="47" y="18"/>
                  </a:cubicBezTo>
                  <a:cubicBezTo>
                    <a:pt x="37" y="5"/>
                    <a:pt x="37" y="5"/>
                    <a:pt x="37" y="5"/>
                  </a:cubicBezTo>
                  <a:cubicBezTo>
                    <a:pt x="35" y="3"/>
                    <a:pt x="32" y="2"/>
                    <a:pt x="29" y="3"/>
                  </a:cubicBezTo>
                  <a:cubicBezTo>
                    <a:pt x="27" y="5"/>
                    <a:pt x="26" y="7"/>
                    <a:pt x="26" y="10"/>
                  </a:cubicBezTo>
                  <a:cubicBezTo>
                    <a:pt x="30" y="27"/>
                    <a:pt x="30" y="27"/>
                    <a:pt x="30" y="27"/>
                  </a:cubicBezTo>
                  <a:cubicBezTo>
                    <a:pt x="30" y="27"/>
                    <a:pt x="30" y="27"/>
                    <a:pt x="30" y="27"/>
                  </a:cubicBezTo>
                  <a:cubicBezTo>
                    <a:pt x="28" y="29"/>
                    <a:pt x="26" y="31"/>
                    <a:pt x="24" y="34"/>
                  </a:cubicBezTo>
                  <a:cubicBezTo>
                    <a:pt x="24" y="34"/>
                    <a:pt x="24" y="34"/>
                    <a:pt x="24" y="34"/>
                  </a:cubicBezTo>
                  <a:cubicBezTo>
                    <a:pt x="7" y="32"/>
                    <a:pt x="7" y="32"/>
                    <a:pt x="7" y="32"/>
                  </a:cubicBezTo>
                  <a:cubicBezTo>
                    <a:pt x="4" y="32"/>
                    <a:pt x="1" y="34"/>
                    <a:pt x="0" y="36"/>
                  </a:cubicBezTo>
                  <a:cubicBezTo>
                    <a:pt x="0" y="38"/>
                    <a:pt x="1" y="42"/>
                    <a:pt x="3" y="43"/>
                  </a:cubicBezTo>
                  <a:cubicBezTo>
                    <a:pt x="17" y="52"/>
                    <a:pt x="17" y="52"/>
                    <a:pt x="17" y="52"/>
                  </a:cubicBezTo>
                  <a:cubicBezTo>
                    <a:pt x="17" y="55"/>
                    <a:pt x="17" y="59"/>
                    <a:pt x="18" y="62"/>
                  </a:cubicBezTo>
                  <a:cubicBezTo>
                    <a:pt x="5" y="73"/>
                    <a:pt x="5" y="73"/>
                    <a:pt x="5" y="73"/>
                  </a:cubicBezTo>
                  <a:cubicBezTo>
                    <a:pt x="3" y="74"/>
                    <a:pt x="2" y="77"/>
                    <a:pt x="3" y="80"/>
                  </a:cubicBezTo>
                  <a:cubicBezTo>
                    <a:pt x="4" y="82"/>
                    <a:pt x="7" y="83"/>
                    <a:pt x="10" y="83"/>
                  </a:cubicBezTo>
                  <a:cubicBezTo>
                    <a:pt x="26" y="79"/>
                    <a:pt x="26" y="79"/>
                    <a:pt x="26" y="79"/>
                  </a:cubicBezTo>
                  <a:cubicBezTo>
                    <a:pt x="28" y="82"/>
                    <a:pt x="31" y="84"/>
                    <a:pt x="34" y="86"/>
                  </a:cubicBezTo>
                  <a:cubicBezTo>
                    <a:pt x="32" y="102"/>
                    <a:pt x="32" y="102"/>
                    <a:pt x="32" y="102"/>
                  </a:cubicBezTo>
                  <a:cubicBezTo>
                    <a:pt x="32" y="105"/>
                    <a:pt x="33" y="108"/>
                    <a:pt x="36" y="109"/>
                  </a:cubicBezTo>
                  <a:cubicBezTo>
                    <a:pt x="38" y="110"/>
                    <a:pt x="41" y="108"/>
                    <a:pt x="43" y="106"/>
                  </a:cubicBezTo>
                  <a:cubicBezTo>
                    <a:pt x="51" y="92"/>
                    <a:pt x="51" y="92"/>
                    <a:pt x="51" y="92"/>
                  </a:cubicBezTo>
                  <a:cubicBezTo>
                    <a:pt x="55" y="92"/>
                    <a:pt x="58" y="92"/>
                    <a:pt x="62" y="91"/>
                  </a:cubicBezTo>
                  <a:cubicBezTo>
                    <a:pt x="72" y="104"/>
                    <a:pt x="72" y="104"/>
                    <a:pt x="72" y="104"/>
                  </a:cubicBezTo>
                  <a:cubicBezTo>
                    <a:pt x="74" y="106"/>
                    <a:pt x="77" y="107"/>
                    <a:pt x="79" y="106"/>
                  </a:cubicBezTo>
                  <a:cubicBezTo>
                    <a:pt x="82" y="105"/>
                    <a:pt x="83" y="102"/>
                    <a:pt x="82" y="99"/>
                  </a:cubicBezTo>
                  <a:cubicBezTo>
                    <a:pt x="79" y="83"/>
                    <a:pt x="79" y="83"/>
                    <a:pt x="79" y="83"/>
                  </a:cubicBezTo>
                  <a:cubicBezTo>
                    <a:pt x="81" y="81"/>
                    <a:pt x="83" y="78"/>
                    <a:pt x="85" y="75"/>
                  </a:cubicBezTo>
                  <a:cubicBezTo>
                    <a:pt x="102" y="77"/>
                    <a:pt x="102" y="77"/>
                    <a:pt x="102" y="77"/>
                  </a:cubicBezTo>
                  <a:cubicBezTo>
                    <a:pt x="105" y="78"/>
                    <a:pt x="107" y="76"/>
                    <a:pt x="108" y="73"/>
                  </a:cubicBezTo>
                  <a:cubicBezTo>
                    <a:pt x="109" y="71"/>
                    <a:pt x="108" y="68"/>
                    <a:pt x="106" y="67"/>
                  </a:cubicBezTo>
                  <a:close/>
                  <a:moveTo>
                    <a:pt x="46" y="78"/>
                  </a:moveTo>
                  <a:cubicBezTo>
                    <a:pt x="34" y="73"/>
                    <a:pt x="28" y="60"/>
                    <a:pt x="32" y="47"/>
                  </a:cubicBezTo>
                  <a:cubicBezTo>
                    <a:pt x="36" y="35"/>
                    <a:pt x="50" y="28"/>
                    <a:pt x="62" y="33"/>
                  </a:cubicBezTo>
                  <a:cubicBezTo>
                    <a:pt x="74" y="37"/>
                    <a:pt x="81" y="50"/>
                    <a:pt x="77" y="63"/>
                  </a:cubicBezTo>
                  <a:cubicBezTo>
                    <a:pt x="72" y="75"/>
                    <a:pt x="59" y="82"/>
                    <a:pt x="46" y="78"/>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spTree>
    <p:extLst>
      <p:ext uri="{BB962C8B-B14F-4D97-AF65-F5344CB8AC3E}">
        <p14:creationId xmlns:p14="http://schemas.microsoft.com/office/powerpoint/2010/main" val="65616673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863229" y="2906332"/>
            <a:ext cx="7298610"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grpSp>
        <p:nvGrpSpPr>
          <p:cNvPr id="6" name="Group 139"/>
          <p:cNvGrpSpPr>
            <a:grpSpLocks noChangeAspect="1"/>
          </p:cNvGrpSpPr>
          <p:nvPr userDrawn="1"/>
        </p:nvGrpSpPr>
        <p:grpSpPr bwMode="auto">
          <a:xfrm>
            <a:off x="0" y="1589"/>
            <a:ext cx="5392144" cy="6992937"/>
            <a:chOff x="0" y="1"/>
            <a:chExt cx="1152" cy="1494"/>
          </a:xfrm>
        </p:grpSpPr>
        <p:sp>
          <p:nvSpPr>
            <p:cNvPr id="9" name="Rectangle 141"/>
            <p:cNvSpPr>
              <a:spLocks noChangeArrowheads="1"/>
            </p:cNvSpPr>
            <p:nvPr userDrawn="1"/>
          </p:nvSpPr>
          <p:spPr bwMode="auto">
            <a:xfrm>
              <a:off x="329" y="1"/>
              <a:ext cx="823" cy="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0" name="Freeform 142"/>
            <p:cNvSpPr>
              <a:spLocks/>
            </p:cNvSpPr>
            <p:nvPr userDrawn="1"/>
          </p:nvSpPr>
          <p:spPr bwMode="auto">
            <a:xfrm>
              <a:off x="0" y="1"/>
              <a:ext cx="1065" cy="1494"/>
            </a:xfrm>
            <a:custGeom>
              <a:avLst/>
              <a:gdLst>
                <a:gd name="T0" fmla="*/ 0 w 1065"/>
                <a:gd name="T1" fmla="*/ 0 h 1494"/>
                <a:gd name="T2" fmla="*/ 0 w 1065"/>
                <a:gd name="T3" fmla="*/ 689 h 1494"/>
                <a:gd name="T4" fmla="*/ 0 w 1065"/>
                <a:gd name="T5" fmla="*/ 1054 h 1494"/>
                <a:gd name="T6" fmla="*/ 0 w 1065"/>
                <a:gd name="T7" fmla="*/ 1494 h 1494"/>
                <a:gd name="T8" fmla="*/ 654 w 1065"/>
                <a:gd name="T9" fmla="*/ 1494 h 1494"/>
                <a:gd name="T10" fmla="*/ 567 w 1065"/>
                <a:gd name="T11" fmla="*/ 996 h 1494"/>
                <a:gd name="T12" fmla="*/ 656 w 1065"/>
                <a:gd name="T13" fmla="*/ 764 h 1494"/>
                <a:gd name="T14" fmla="*/ 797 w 1065"/>
                <a:gd name="T15" fmla="*/ 1288 h 1494"/>
                <a:gd name="T16" fmla="*/ 787 w 1065"/>
                <a:gd name="T17" fmla="*/ 1493 h 1494"/>
                <a:gd name="T18" fmla="*/ 1050 w 1065"/>
                <a:gd name="T19" fmla="*/ 1493 h 1494"/>
                <a:gd name="T20" fmla="*/ 1065 w 1065"/>
                <a:gd name="T21" fmla="*/ 1254 h 1494"/>
                <a:gd name="T22" fmla="*/ 785 w 1065"/>
                <a:gd name="T23" fmla="*/ 111 h 1494"/>
                <a:gd name="T24" fmla="*/ 567 w 1065"/>
                <a:gd name="T25" fmla="*/ 0 h 1494"/>
                <a:gd name="T26" fmla="*/ 0 w 1065"/>
                <a:gd name="T27" fmla="*/ 0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5" h="1494">
                  <a:moveTo>
                    <a:pt x="0" y="0"/>
                  </a:moveTo>
                  <a:lnTo>
                    <a:pt x="0" y="689"/>
                  </a:lnTo>
                  <a:lnTo>
                    <a:pt x="0" y="1054"/>
                  </a:lnTo>
                  <a:lnTo>
                    <a:pt x="0" y="1494"/>
                  </a:lnTo>
                  <a:lnTo>
                    <a:pt x="654" y="1494"/>
                  </a:lnTo>
                  <a:lnTo>
                    <a:pt x="567" y="996"/>
                  </a:lnTo>
                  <a:lnTo>
                    <a:pt x="656" y="764"/>
                  </a:lnTo>
                  <a:lnTo>
                    <a:pt x="797" y="1288"/>
                  </a:lnTo>
                  <a:lnTo>
                    <a:pt x="787" y="1493"/>
                  </a:lnTo>
                  <a:lnTo>
                    <a:pt x="1050" y="1493"/>
                  </a:lnTo>
                  <a:lnTo>
                    <a:pt x="1065" y="1254"/>
                  </a:lnTo>
                  <a:lnTo>
                    <a:pt x="785" y="111"/>
                  </a:lnTo>
                  <a:lnTo>
                    <a:pt x="567"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1" name="Freeform 143"/>
            <p:cNvSpPr>
              <a:spLocks/>
            </p:cNvSpPr>
            <p:nvPr userDrawn="1"/>
          </p:nvSpPr>
          <p:spPr bwMode="auto">
            <a:xfrm>
              <a:off x="0" y="1"/>
              <a:ext cx="1065" cy="1494"/>
            </a:xfrm>
            <a:custGeom>
              <a:avLst/>
              <a:gdLst>
                <a:gd name="T0" fmla="*/ 0 w 1065"/>
                <a:gd name="T1" fmla="*/ 0 h 1494"/>
                <a:gd name="T2" fmla="*/ 0 w 1065"/>
                <a:gd name="T3" fmla="*/ 689 h 1494"/>
                <a:gd name="T4" fmla="*/ 0 w 1065"/>
                <a:gd name="T5" fmla="*/ 1054 h 1494"/>
                <a:gd name="T6" fmla="*/ 0 w 1065"/>
                <a:gd name="T7" fmla="*/ 1494 h 1494"/>
                <a:gd name="T8" fmla="*/ 654 w 1065"/>
                <a:gd name="T9" fmla="*/ 1494 h 1494"/>
                <a:gd name="T10" fmla="*/ 567 w 1065"/>
                <a:gd name="T11" fmla="*/ 996 h 1494"/>
                <a:gd name="T12" fmla="*/ 656 w 1065"/>
                <a:gd name="T13" fmla="*/ 764 h 1494"/>
                <a:gd name="T14" fmla="*/ 797 w 1065"/>
                <a:gd name="T15" fmla="*/ 1288 h 1494"/>
                <a:gd name="T16" fmla="*/ 787 w 1065"/>
                <a:gd name="T17" fmla="*/ 1493 h 1494"/>
                <a:gd name="T18" fmla="*/ 1050 w 1065"/>
                <a:gd name="T19" fmla="*/ 1493 h 1494"/>
                <a:gd name="T20" fmla="*/ 1065 w 1065"/>
                <a:gd name="T21" fmla="*/ 1254 h 1494"/>
                <a:gd name="T22" fmla="*/ 785 w 1065"/>
                <a:gd name="T23" fmla="*/ 111 h 1494"/>
                <a:gd name="T24" fmla="*/ 567 w 1065"/>
                <a:gd name="T25" fmla="*/ 0 h 1494"/>
                <a:gd name="T26" fmla="*/ 0 w 1065"/>
                <a:gd name="T27" fmla="*/ 0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5" h="1494">
                  <a:moveTo>
                    <a:pt x="0" y="0"/>
                  </a:moveTo>
                  <a:lnTo>
                    <a:pt x="0" y="689"/>
                  </a:lnTo>
                  <a:lnTo>
                    <a:pt x="0" y="1054"/>
                  </a:lnTo>
                  <a:lnTo>
                    <a:pt x="0" y="1494"/>
                  </a:lnTo>
                  <a:lnTo>
                    <a:pt x="654" y="1494"/>
                  </a:lnTo>
                  <a:lnTo>
                    <a:pt x="567" y="996"/>
                  </a:lnTo>
                  <a:lnTo>
                    <a:pt x="656" y="764"/>
                  </a:lnTo>
                  <a:lnTo>
                    <a:pt x="797" y="1288"/>
                  </a:lnTo>
                  <a:lnTo>
                    <a:pt x="787" y="1493"/>
                  </a:lnTo>
                  <a:lnTo>
                    <a:pt x="1050" y="1493"/>
                  </a:lnTo>
                  <a:lnTo>
                    <a:pt x="1065" y="1254"/>
                  </a:lnTo>
                  <a:lnTo>
                    <a:pt x="785" y="111"/>
                  </a:lnTo>
                  <a:lnTo>
                    <a:pt x="56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2" name="Freeform 144"/>
            <p:cNvSpPr>
              <a:spLocks/>
            </p:cNvSpPr>
            <p:nvPr userDrawn="1"/>
          </p:nvSpPr>
          <p:spPr bwMode="auto">
            <a:xfrm>
              <a:off x="457" y="459"/>
              <a:ext cx="19" cy="360"/>
            </a:xfrm>
            <a:custGeom>
              <a:avLst/>
              <a:gdLst>
                <a:gd name="T0" fmla="*/ 19 w 19"/>
                <a:gd name="T1" fmla="*/ 360 h 360"/>
                <a:gd name="T2" fmla="*/ 0 w 19"/>
                <a:gd name="T3" fmla="*/ 360 h 360"/>
                <a:gd name="T4" fmla="*/ 0 w 19"/>
                <a:gd name="T5" fmla="*/ 0 h 360"/>
                <a:gd name="T6" fmla="*/ 19 w 19"/>
                <a:gd name="T7" fmla="*/ 41 h 360"/>
                <a:gd name="T8" fmla="*/ 19 w 19"/>
                <a:gd name="T9" fmla="*/ 360 h 360"/>
              </a:gdLst>
              <a:ahLst/>
              <a:cxnLst>
                <a:cxn ang="0">
                  <a:pos x="T0" y="T1"/>
                </a:cxn>
                <a:cxn ang="0">
                  <a:pos x="T2" y="T3"/>
                </a:cxn>
                <a:cxn ang="0">
                  <a:pos x="T4" y="T5"/>
                </a:cxn>
                <a:cxn ang="0">
                  <a:pos x="T6" y="T7"/>
                </a:cxn>
                <a:cxn ang="0">
                  <a:pos x="T8" y="T9"/>
                </a:cxn>
              </a:cxnLst>
              <a:rect l="0" t="0" r="r" b="b"/>
              <a:pathLst>
                <a:path w="19" h="360">
                  <a:moveTo>
                    <a:pt x="19" y="360"/>
                  </a:moveTo>
                  <a:lnTo>
                    <a:pt x="0" y="360"/>
                  </a:lnTo>
                  <a:lnTo>
                    <a:pt x="0" y="0"/>
                  </a:lnTo>
                  <a:lnTo>
                    <a:pt x="19" y="41"/>
                  </a:lnTo>
                  <a:lnTo>
                    <a:pt x="19" y="36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3" name="Rectangle 145"/>
            <p:cNvSpPr>
              <a:spLocks noChangeArrowheads="1"/>
            </p:cNvSpPr>
            <p:nvPr userDrawn="1"/>
          </p:nvSpPr>
          <p:spPr bwMode="auto">
            <a:xfrm>
              <a:off x="508" y="577"/>
              <a:ext cx="28" cy="24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4" name="Rectangle 146"/>
            <p:cNvSpPr>
              <a:spLocks noChangeArrowheads="1"/>
            </p:cNvSpPr>
            <p:nvPr userDrawn="1"/>
          </p:nvSpPr>
          <p:spPr bwMode="auto">
            <a:xfrm>
              <a:off x="536" y="577"/>
              <a:ext cx="15" cy="24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5" name="Rectangle 147"/>
            <p:cNvSpPr>
              <a:spLocks noChangeArrowheads="1"/>
            </p:cNvSpPr>
            <p:nvPr userDrawn="1"/>
          </p:nvSpPr>
          <p:spPr bwMode="auto">
            <a:xfrm>
              <a:off x="508" y="528"/>
              <a:ext cx="28" cy="49"/>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6" name="Rectangle 148"/>
            <p:cNvSpPr>
              <a:spLocks noChangeArrowheads="1"/>
            </p:cNvSpPr>
            <p:nvPr userDrawn="1"/>
          </p:nvSpPr>
          <p:spPr bwMode="auto">
            <a:xfrm>
              <a:off x="536" y="528"/>
              <a:ext cx="15" cy="49"/>
            </a:xfrm>
            <a:prstGeom prst="rect">
              <a:avLst/>
            </a:prstGeom>
            <a:solidFill>
              <a:srgbClr val="008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7" name="Freeform 149"/>
            <p:cNvSpPr>
              <a:spLocks/>
            </p:cNvSpPr>
            <p:nvPr userDrawn="1"/>
          </p:nvSpPr>
          <p:spPr bwMode="auto">
            <a:xfrm>
              <a:off x="508" y="499"/>
              <a:ext cx="43" cy="29"/>
            </a:xfrm>
            <a:custGeom>
              <a:avLst/>
              <a:gdLst>
                <a:gd name="T0" fmla="*/ 91 w 91"/>
                <a:gd name="T1" fmla="*/ 61 h 61"/>
                <a:gd name="T2" fmla="*/ 91 w 91"/>
                <a:gd name="T3" fmla="*/ 30 h 61"/>
                <a:gd name="T4" fmla="*/ 61 w 91"/>
                <a:gd name="T5" fmla="*/ 0 h 61"/>
                <a:gd name="T6" fmla="*/ 29 w 91"/>
                <a:gd name="T7" fmla="*/ 0 h 61"/>
                <a:gd name="T8" fmla="*/ 0 w 91"/>
                <a:gd name="T9" fmla="*/ 30 h 61"/>
                <a:gd name="T10" fmla="*/ 0 w 91"/>
                <a:gd name="T11" fmla="*/ 61 h 61"/>
                <a:gd name="T12" fmla="*/ 91 w 91"/>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91" h="61">
                  <a:moveTo>
                    <a:pt x="91" y="61"/>
                  </a:moveTo>
                  <a:cubicBezTo>
                    <a:pt x="91" y="30"/>
                    <a:pt x="91" y="30"/>
                    <a:pt x="91" y="30"/>
                  </a:cubicBezTo>
                  <a:cubicBezTo>
                    <a:pt x="91" y="30"/>
                    <a:pt x="91" y="0"/>
                    <a:pt x="61" y="0"/>
                  </a:cubicBezTo>
                  <a:cubicBezTo>
                    <a:pt x="29" y="0"/>
                    <a:pt x="29" y="0"/>
                    <a:pt x="29" y="0"/>
                  </a:cubicBezTo>
                  <a:cubicBezTo>
                    <a:pt x="29" y="0"/>
                    <a:pt x="0" y="0"/>
                    <a:pt x="0" y="30"/>
                  </a:cubicBezTo>
                  <a:cubicBezTo>
                    <a:pt x="0" y="61"/>
                    <a:pt x="0" y="61"/>
                    <a:pt x="0" y="61"/>
                  </a:cubicBezTo>
                  <a:lnTo>
                    <a:pt x="91" y="61"/>
                  </a:lnTo>
                  <a:close/>
                </a:path>
              </a:pathLst>
            </a:custGeom>
            <a:solidFill>
              <a:srgbClr val="EC0B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8" name="Freeform 150"/>
            <p:cNvSpPr>
              <a:spLocks/>
            </p:cNvSpPr>
            <p:nvPr userDrawn="1"/>
          </p:nvSpPr>
          <p:spPr bwMode="auto">
            <a:xfrm>
              <a:off x="454" y="289"/>
              <a:ext cx="76" cy="162"/>
            </a:xfrm>
            <a:custGeom>
              <a:avLst/>
              <a:gdLst>
                <a:gd name="T0" fmla="*/ 0 w 76"/>
                <a:gd name="T1" fmla="*/ 0 h 162"/>
                <a:gd name="T2" fmla="*/ 0 w 76"/>
                <a:gd name="T3" fmla="*/ 119 h 162"/>
                <a:gd name="T4" fmla="*/ 20 w 76"/>
                <a:gd name="T5" fmla="*/ 162 h 162"/>
                <a:gd name="T6" fmla="*/ 56 w 76"/>
                <a:gd name="T7" fmla="*/ 162 h 162"/>
                <a:gd name="T8" fmla="*/ 76 w 76"/>
                <a:gd name="T9" fmla="*/ 119 h 162"/>
                <a:gd name="T10" fmla="*/ 76 w 76"/>
                <a:gd name="T11" fmla="*/ 0 h 162"/>
                <a:gd name="T12" fmla="*/ 0 w 76"/>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76" h="162">
                  <a:moveTo>
                    <a:pt x="0" y="0"/>
                  </a:moveTo>
                  <a:lnTo>
                    <a:pt x="0" y="119"/>
                  </a:lnTo>
                  <a:lnTo>
                    <a:pt x="20" y="162"/>
                  </a:lnTo>
                  <a:lnTo>
                    <a:pt x="56" y="162"/>
                  </a:lnTo>
                  <a:lnTo>
                    <a:pt x="76" y="119"/>
                  </a:lnTo>
                  <a:lnTo>
                    <a:pt x="76" y="0"/>
                  </a:ln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19" name="Rectangle 151"/>
            <p:cNvSpPr>
              <a:spLocks noChangeArrowheads="1"/>
            </p:cNvSpPr>
            <p:nvPr userDrawn="1"/>
          </p:nvSpPr>
          <p:spPr bwMode="auto">
            <a:xfrm>
              <a:off x="465" y="300"/>
              <a:ext cx="54" cy="9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0" name="Rectangle 152"/>
            <p:cNvSpPr>
              <a:spLocks noChangeArrowheads="1"/>
            </p:cNvSpPr>
            <p:nvPr userDrawn="1"/>
          </p:nvSpPr>
          <p:spPr bwMode="auto">
            <a:xfrm>
              <a:off x="484" y="445"/>
              <a:ext cx="15" cy="2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1" name="Rectangle 153"/>
            <p:cNvSpPr>
              <a:spLocks noChangeArrowheads="1"/>
            </p:cNvSpPr>
            <p:nvPr userDrawn="1"/>
          </p:nvSpPr>
          <p:spPr bwMode="auto">
            <a:xfrm>
              <a:off x="465" y="263"/>
              <a:ext cx="54"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2" name="Rectangle 154"/>
            <p:cNvSpPr>
              <a:spLocks noChangeArrowheads="1"/>
            </p:cNvSpPr>
            <p:nvPr userDrawn="1"/>
          </p:nvSpPr>
          <p:spPr bwMode="auto">
            <a:xfrm>
              <a:off x="490" y="472"/>
              <a:ext cx="4" cy="3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3" name="Rectangle 155"/>
            <p:cNvSpPr>
              <a:spLocks noChangeArrowheads="1"/>
            </p:cNvSpPr>
            <p:nvPr userDrawn="1"/>
          </p:nvSpPr>
          <p:spPr bwMode="auto">
            <a:xfrm>
              <a:off x="508" y="526"/>
              <a:ext cx="43"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4" name="Freeform 156"/>
            <p:cNvSpPr>
              <a:spLocks/>
            </p:cNvSpPr>
            <p:nvPr userDrawn="1"/>
          </p:nvSpPr>
          <p:spPr bwMode="auto">
            <a:xfrm>
              <a:off x="508" y="526"/>
              <a:ext cx="43" cy="7"/>
            </a:xfrm>
            <a:custGeom>
              <a:avLst/>
              <a:gdLst>
                <a:gd name="T0" fmla="*/ 43 w 43"/>
                <a:gd name="T1" fmla="*/ 7 h 7"/>
                <a:gd name="T2" fmla="*/ 43 w 43"/>
                <a:gd name="T3" fmla="*/ 0 h 7"/>
                <a:gd name="T4" fmla="*/ 0 w 43"/>
                <a:gd name="T5" fmla="*/ 0 h 7"/>
                <a:gd name="T6" fmla="*/ 0 w 43"/>
                <a:gd name="T7" fmla="*/ 7 h 7"/>
              </a:gdLst>
              <a:ahLst/>
              <a:cxnLst>
                <a:cxn ang="0">
                  <a:pos x="T0" y="T1"/>
                </a:cxn>
                <a:cxn ang="0">
                  <a:pos x="T2" y="T3"/>
                </a:cxn>
                <a:cxn ang="0">
                  <a:pos x="T4" y="T5"/>
                </a:cxn>
                <a:cxn ang="0">
                  <a:pos x="T6" y="T7"/>
                </a:cxn>
              </a:cxnLst>
              <a:rect l="0" t="0" r="r" b="b"/>
              <a:pathLst>
                <a:path w="43" h="7">
                  <a:moveTo>
                    <a:pt x="43" y="7"/>
                  </a:moveTo>
                  <a:lnTo>
                    <a:pt x="43" y="0"/>
                  </a:lnTo>
                  <a:lnTo>
                    <a:pt x="0"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5" name="Rectangle 157"/>
            <p:cNvSpPr>
              <a:spLocks noChangeArrowheads="1"/>
            </p:cNvSpPr>
            <p:nvPr userDrawn="1"/>
          </p:nvSpPr>
          <p:spPr bwMode="auto">
            <a:xfrm>
              <a:off x="304" y="459"/>
              <a:ext cx="153" cy="36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6" name="Freeform 158"/>
            <p:cNvSpPr>
              <a:spLocks/>
            </p:cNvSpPr>
            <p:nvPr userDrawn="1"/>
          </p:nvSpPr>
          <p:spPr bwMode="auto">
            <a:xfrm>
              <a:off x="321" y="484"/>
              <a:ext cx="119" cy="21"/>
            </a:xfrm>
            <a:custGeom>
              <a:avLst/>
              <a:gdLst>
                <a:gd name="T0" fmla="*/ 21 w 253"/>
                <a:gd name="T1" fmla="*/ 0 h 45"/>
                <a:gd name="T2" fmla="*/ 0 w 253"/>
                <a:gd name="T3" fmla="*/ 20 h 45"/>
                <a:gd name="T4" fmla="*/ 0 w 253"/>
                <a:gd name="T5" fmla="*/ 24 h 45"/>
                <a:gd name="T6" fmla="*/ 21 w 253"/>
                <a:gd name="T7" fmla="*/ 45 h 45"/>
                <a:gd name="T8" fmla="*/ 232 w 253"/>
                <a:gd name="T9" fmla="*/ 45 h 45"/>
                <a:gd name="T10" fmla="*/ 253 w 253"/>
                <a:gd name="T11" fmla="*/ 24 h 45"/>
                <a:gd name="T12" fmla="*/ 253 w 253"/>
                <a:gd name="T13" fmla="*/ 20 h 45"/>
                <a:gd name="T14" fmla="*/ 232 w 253"/>
                <a:gd name="T15" fmla="*/ 0 h 45"/>
                <a:gd name="T16" fmla="*/ 135 w 253"/>
                <a:gd name="T17" fmla="*/ 0 h 45"/>
                <a:gd name="T18" fmla="*/ 21 w 253"/>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5">
                  <a:moveTo>
                    <a:pt x="21" y="0"/>
                  </a:moveTo>
                  <a:cubicBezTo>
                    <a:pt x="21" y="0"/>
                    <a:pt x="0" y="0"/>
                    <a:pt x="0" y="20"/>
                  </a:cubicBezTo>
                  <a:cubicBezTo>
                    <a:pt x="0" y="24"/>
                    <a:pt x="0" y="24"/>
                    <a:pt x="0" y="24"/>
                  </a:cubicBezTo>
                  <a:cubicBezTo>
                    <a:pt x="0" y="24"/>
                    <a:pt x="0" y="45"/>
                    <a:pt x="21" y="45"/>
                  </a:cubicBezTo>
                  <a:cubicBezTo>
                    <a:pt x="232" y="45"/>
                    <a:pt x="232" y="45"/>
                    <a:pt x="232" y="45"/>
                  </a:cubicBezTo>
                  <a:cubicBezTo>
                    <a:pt x="232" y="45"/>
                    <a:pt x="253" y="45"/>
                    <a:pt x="253" y="24"/>
                  </a:cubicBezTo>
                  <a:cubicBezTo>
                    <a:pt x="253" y="20"/>
                    <a:pt x="253" y="20"/>
                    <a:pt x="253" y="20"/>
                  </a:cubicBezTo>
                  <a:cubicBezTo>
                    <a:pt x="253" y="20"/>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7" name="Freeform 159"/>
            <p:cNvSpPr>
              <a:spLocks/>
            </p:cNvSpPr>
            <p:nvPr userDrawn="1"/>
          </p:nvSpPr>
          <p:spPr bwMode="auto">
            <a:xfrm>
              <a:off x="321" y="521"/>
              <a:ext cx="119" cy="21"/>
            </a:xfrm>
            <a:custGeom>
              <a:avLst/>
              <a:gdLst>
                <a:gd name="T0" fmla="*/ 21 w 253"/>
                <a:gd name="T1" fmla="*/ 0 h 44"/>
                <a:gd name="T2" fmla="*/ 0 w 253"/>
                <a:gd name="T3" fmla="*/ 20 h 44"/>
                <a:gd name="T4" fmla="*/ 0 w 253"/>
                <a:gd name="T5" fmla="*/ 24 h 44"/>
                <a:gd name="T6" fmla="*/ 21 w 253"/>
                <a:gd name="T7" fmla="*/ 44 h 44"/>
                <a:gd name="T8" fmla="*/ 232 w 253"/>
                <a:gd name="T9" fmla="*/ 44 h 44"/>
                <a:gd name="T10" fmla="*/ 253 w 253"/>
                <a:gd name="T11" fmla="*/ 24 h 44"/>
                <a:gd name="T12" fmla="*/ 253 w 253"/>
                <a:gd name="T13" fmla="*/ 20 h 44"/>
                <a:gd name="T14" fmla="*/ 232 w 253"/>
                <a:gd name="T15" fmla="*/ 0 h 44"/>
                <a:gd name="T16" fmla="*/ 135 w 253"/>
                <a:gd name="T17" fmla="*/ 0 h 44"/>
                <a:gd name="T18" fmla="*/ 21 w 253"/>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4">
                  <a:moveTo>
                    <a:pt x="21" y="0"/>
                  </a:moveTo>
                  <a:cubicBezTo>
                    <a:pt x="21" y="0"/>
                    <a:pt x="0" y="0"/>
                    <a:pt x="0" y="20"/>
                  </a:cubicBezTo>
                  <a:cubicBezTo>
                    <a:pt x="0" y="24"/>
                    <a:pt x="0" y="24"/>
                    <a:pt x="0" y="24"/>
                  </a:cubicBezTo>
                  <a:cubicBezTo>
                    <a:pt x="0" y="24"/>
                    <a:pt x="0" y="44"/>
                    <a:pt x="21" y="44"/>
                  </a:cubicBezTo>
                  <a:cubicBezTo>
                    <a:pt x="232" y="44"/>
                    <a:pt x="232" y="44"/>
                    <a:pt x="232" y="44"/>
                  </a:cubicBezTo>
                  <a:cubicBezTo>
                    <a:pt x="232" y="44"/>
                    <a:pt x="253" y="44"/>
                    <a:pt x="253" y="24"/>
                  </a:cubicBezTo>
                  <a:cubicBezTo>
                    <a:pt x="253" y="20"/>
                    <a:pt x="253" y="20"/>
                    <a:pt x="253" y="20"/>
                  </a:cubicBezTo>
                  <a:cubicBezTo>
                    <a:pt x="253" y="20"/>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8" name="Freeform 160"/>
            <p:cNvSpPr>
              <a:spLocks/>
            </p:cNvSpPr>
            <p:nvPr userDrawn="1"/>
          </p:nvSpPr>
          <p:spPr bwMode="auto">
            <a:xfrm>
              <a:off x="321" y="558"/>
              <a:ext cx="119" cy="21"/>
            </a:xfrm>
            <a:custGeom>
              <a:avLst/>
              <a:gdLst>
                <a:gd name="T0" fmla="*/ 21 w 253"/>
                <a:gd name="T1" fmla="*/ 0 h 44"/>
                <a:gd name="T2" fmla="*/ 0 w 253"/>
                <a:gd name="T3" fmla="*/ 20 h 44"/>
                <a:gd name="T4" fmla="*/ 0 w 253"/>
                <a:gd name="T5" fmla="*/ 24 h 44"/>
                <a:gd name="T6" fmla="*/ 21 w 253"/>
                <a:gd name="T7" fmla="*/ 44 h 44"/>
                <a:gd name="T8" fmla="*/ 232 w 253"/>
                <a:gd name="T9" fmla="*/ 44 h 44"/>
                <a:gd name="T10" fmla="*/ 253 w 253"/>
                <a:gd name="T11" fmla="*/ 24 h 44"/>
                <a:gd name="T12" fmla="*/ 253 w 253"/>
                <a:gd name="T13" fmla="*/ 20 h 44"/>
                <a:gd name="T14" fmla="*/ 232 w 253"/>
                <a:gd name="T15" fmla="*/ 0 h 44"/>
                <a:gd name="T16" fmla="*/ 135 w 253"/>
                <a:gd name="T17" fmla="*/ 0 h 44"/>
                <a:gd name="T18" fmla="*/ 21 w 253"/>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4">
                  <a:moveTo>
                    <a:pt x="21" y="0"/>
                  </a:moveTo>
                  <a:cubicBezTo>
                    <a:pt x="21" y="0"/>
                    <a:pt x="0" y="0"/>
                    <a:pt x="0" y="20"/>
                  </a:cubicBezTo>
                  <a:cubicBezTo>
                    <a:pt x="0" y="24"/>
                    <a:pt x="0" y="24"/>
                    <a:pt x="0" y="24"/>
                  </a:cubicBezTo>
                  <a:cubicBezTo>
                    <a:pt x="0" y="24"/>
                    <a:pt x="0" y="44"/>
                    <a:pt x="21" y="44"/>
                  </a:cubicBezTo>
                  <a:cubicBezTo>
                    <a:pt x="232" y="44"/>
                    <a:pt x="232" y="44"/>
                    <a:pt x="232" y="44"/>
                  </a:cubicBezTo>
                  <a:cubicBezTo>
                    <a:pt x="232" y="44"/>
                    <a:pt x="253" y="44"/>
                    <a:pt x="253" y="24"/>
                  </a:cubicBezTo>
                  <a:cubicBezTo>
                    <a:pt x="253" y="20"/>
                    <a:pt x="253" y="20"/>
                    <a:pt x="253" y="20"/>
                  </a:cubicBezTo>
                  <a:cubicBezTo>
                    <a:pt x="253" y="20"/>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29" name="Freeform 161"/>
            <p:cNvSpPr>
              <a:spLocks/>
            </p:cNvSpPr>
            <p:nvPr userDrawn="1"/>
          </p:nvSpPr>
          <p:spPr bwMode="auto">
            <a:xfrm>
              <a:off x="321" y="595"/>
              <a:ext cx="119" cy="21"/>
            </a:xfrm>
            <a:custGeom>
              <a:avLst/>
              <a:gdLst>
                <a:gd name="T0" fmla="*/ 21 w 253"/>
                <a:gd name="T1" fmla="*/ 0 h 44"/>
                <a:gd name="T2" fmla="*/ 0 w 253"/>
                <a:gd name="T3" fmla="*/ 20 h 44"/>
                <a:gd name="T4" fmla="*/ 0 w 253"/>
                <a:gd name="T5" fmla="*/ 24 h 44"/>
                <a:gd name="T6" fmla="*/ 21 w 253"/>
                <a:gd name="T7" fmla="*/ 44 h 44"/>
                <a:gd name="T8" fmla="*/ 232 w 253"/>
                <a:gd name="T9" fmla="*/ 44 h 44"/>
                <a:gd name="T10" fmla="*/ 253 w 253"/>
                <a:gd name="T11" fmla="*/ 24 h 44"/>
                <a:gd name="T12" fmla="*/ 253 w 253"/>
                <a:gd name="T13" fmla="*/ 20 h 44"/>
                <a:gd name="T14" fmla="*/ 232 w 253"/>
                <a:gd name="T15" fmla="*/ 0 h 44"/>
                <a:gd name="T16" fmla="*/ 135 w 253"/>
                <a:gd name="T17" fmla="*/ 0 h 44"/>
                <a:gd name="T18" fmla="*/ 21 w 253"/>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4">
                  <a:moveTo>
                    <a:pt x="21" y="0"/>
                  </a:moveTo>
                  <a:cubicBezTo>
                    <a:pt x="21" y="0"/>
                    <a:pt x="0" y="0"/>
                    <a:pt x="0" y="20"/>
                  </a:cubicBezTo>
                  <a:cubicBezTo>
                    <a:pt x="0" y="24"/>
                    <a:pt x="0" y="24"/>
                    <a:pt x="0" y="24"/>
                  </a:cubicBezTo>
                  <a:cubicBezTo>
                    <a:pt x="0" y="24"/>
                    <a:pt x="0" y="44"/>
                    <a:pt x="21" y="44"/>
                  </a:cubicBezTo>
                  <a:cubicBezTo>
                    <a:pt x="232" y="44"/>
                    <a:pt x="232" y="44"/>
                    <a:pt x="232" y="44"/>
                  </a:cubicBezTo>
                  <a:cubicBezTo>
                    <a:pt x="232" y="44"/>
                    <a:pt x="253" y="44"/>
                    <a:pt x="253" y="24"/>
                  </a:cubicBezTo>
                  <a:cubicBezTo>
                    <a:pt x="253" y="20"/>
                    <a:pt x="253" y="20"/>
                    <a:pt x="253" y="20"/>
                  </a:cubicBezTo>
                  <a:cubicBezTo>
                    <a:pt x="253" y="20"/>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0" name="Freeform 162"/>
            <p:cNvSpPr>
              <a:spLocks/>
            </p:cNvSpPr>
            <p:nvPr userDrawn="1"/>
          </p:nvSpPr>
          <p:spPr bwMode="auto">
            <a:xfrm>
              <a:off x="321" y="633"/>
              <a:ext cx="119" cy="20"/>
            </a:xfrm>
            <a:custGeom>
              <a:avLst/>
              <a:gdLst>
                <a:gd name="T0" fmla="*/ 21 w 253"/>
                <a:gd name="T1" fmla="*/ 0 h 44"/>
                <a:gd name="T2" fmla="*/ 0 w 253"/>
                <a:gd name="T3" fmla="*/ 20 h 44"/>
                <a:gd name="T4" fmla="*/ 0 w 253"/>
                <a:gd name="T5" fmla="*/ 24 h 44"/>
                <a:gd name="T6" fmla="*/ 21 w 253"/>
                <a:gd name="T7" fmla="*/ 44 h 44"/>
                <a:gd name="T8" fmla="*/ 232 w 253"/>
                <a:gd name="T9" fmla="*/ 44 h 44"/>
                <a:gd name="T10" fmla="*/ 253 w 253"/>
                <a:gd name="T11" fmla="*/ 24 h 44"/>
                <a:gd name="T12" fmla="*/ 253 w 253"/>
                <a:gd name="T13" fmla="*/ 20 h 44"/>
                <a:gd name="T14" fmla="*/ 232 w 253"/>
                <a:gd name="T15" fmla="*/ 0 h 44"/>
                <a:gd name="T16" fmla="*/ 135 w 253"/>
                <a:gd name="T17" fmla="*/ 0 h 44"/>
                <a:gd name="T18" fmla="*/ 21 w 253"/>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4">
                  <a:moveTo>
                    <a:pt x="21" y="0"/>
                  </a:moveTo>
                  <a:cubicBezTo>
                    <a:pt x="21" y="0"/>
                    <a:pt x="0" y="0"/>
                    <a:pt x="0" y="20"/>
                  </a:cubicBezTo>
                  <a:cubicBezTo>
                    <a:pt x="0" y="24"/>
                    <a:pt x="0" y="24"/>
                    <a:pt x="0" y="24"/>
                  </a:cubicBezTo>
                  <a:cubicBezTo>
                    <a:pt x="0" y="24"/>
                    <a:pt x="0" y="44"/>
                    <a:pt x="21" y="44"/>
                  </a:cubicBezTo>
                  <a:cubicBezTo>
                    <a:pt x="232" y="44"/>
                    <a:pt x="232" y="44"/>
                    <a:pt x="232" y="44"/>
                  </a:cubicBezTo>
                  <a:cubicBezTo>
                    <a:pt x="232" y="44"/>
                    <a:pt x="253" y="44"/>
                    <a:pt x="253" y="24"/>
                  </a:cubicBezTo>
                  <a:cubicBezTo>
                    <a:pt x="253" y="20"/>
                    <a:pt x="253" y="20"/>
                    <a:pt x="253" y="20"/>
                  </a:cubicBezTo>
                  <a:cubicBezTo>
                    <a:pt x="253" y="20"/>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1" name="Freeform 163"/>
            <p:cNvSpPr>
              <a:spLocks/>
            </p:cNvSpPr>
            <p:nvPr userDrawn="1"/>
          </p:nvSpPr>
          <p:spPr bwMode="auto">
            <a:xfrm>
              <a:off x="321" y="670"/>
              <a:ext cx="119" cy="21"/>
            </a:xfrm>
            <a:custGeom>
              <a:avLst/>
              <a:gdLst>
                <a:gd name="T0" fmla="*/ 21 w 253"/>
                <a:gd name="T1" fmla="*/ 0 h 44"/>
                <a:gd name="T2" fmla="*/ 0 w 253"/>
                <a:gd name="T3" fmla="*/ 20 h 44"/>
                <a:gd name="T4" fmla="*/ 0 w 253"/>
                <a:gd name="T5" fmla="*/ 24 h 44"/>
                <a:gd name="T6" fmla="*/ 21 w 253"/>
                <a:gd name="T7" fmla="*/ 44 h 44"/>
                <a:gd name="T8" fmla="*/ 232 w 253"/>
                <a:gd name="T9" fmla="*/ 44 h 44"/>
                <a:gd name="T10" fmla="*/ 253 w 253"/>
                <a:gd name="T11" fmla="*/ 24 h 44"/>
                <a:gd name="T12" fmla="*/ 253 w 253"/>
                <a:gd name="T13" fmla="*/ 20 h 44"/>
                <a:gd name="T14" fmla="*/ 232 w 253"/>
                <a:gd name="T15" fmla="*/ 0 h 44"/>
                <a:gd name="T16" fmla="*/ 135 w 253"/>
                <a:gd name="T17" fmla="*/ 0 h 44"/>
                <a:gd name="T18" fmla="*/ 21 w 253"/>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4">
                  <a:moveTo>
                    <a:pt x="21" y="0"/>
                  </a:moveTo>
                  <a:cubicBezTo>
                    <a:pt x="21" y="0"/>
                    <a:pt x="0" y="0"/>
                    <a:pt x="0" y="20"/>
                  </a:cubicBezTo>
                  <a:cubicBezTo>
                    <a:pt x="0" y="24"/>
                    <a:pt x="0" y="24"/>
                    <a:pt x="0" y="24"/>
                  </a:cubicBezTo>
                  <a:cubicBezTo>
                    <a:pt x="0" y="24"/>
                    <a:pt x="0" y="44"/>
                    <a:pt x="21" y="44"/>
                  </a:cubicBezTo>
                  <a:cubicBezTo>
                    <a:pt x="232" y="44"/>
                    <a:pt x="232" y="44"/>
                    <a:pt x="232" y="44"/>
                  </a:cubicBezTo>
                  <a:cubicBezTo>
                    <a:pt x="232" y="44"/>
                    <a:pt x="253" y="44"/>
                    <a:pt x="253" y="24"/>
                  </a:cubicBezTo>
                  <a:cubicBezTo>
                    <a:pt x="253" y="20"/>
                    <a:pt x="253" y="20"/>
                    <a:pt x="253" y="20"/>
                  </a:cubicBezTo>
                  <a:cubicBezTo>
                    <a:pt x="253" y="20"/>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2" name="Freeform 164"/>
            <p:cNvSpPr>
              <a:spLocks/>
            </p:cNvSpPr>
            <p:nvPr userDrawn="1"/>
          </p:nvSpPr>
          <p:spPr bwMode="auto">
            <a:xfrm>
              <a:off x="321" y="707"/>
              <a:ext cx="119" cy="21"/>
            </a:xfrm>
            <a:custGeom>
              <a:avLst/>
              <a:gdLst>
                <a:gd name="T0" fmla="*/ 21 w 253"/>
                <a:gd name="T1" fmla="*/ 0 h 45"/>
                <a:gd name="T2" fmla="*/ 0 w 253"/>
                <a:gd name="T3" fmla="*/ 21 h 45"/>
                <a:gd name="T4" fmla="*/ 0 w 253"/>
                <a:gd name="T5" fmla="*/ 25 h 45"/>
                <a:gd name="T6" fmla="*/ 21 w 253"/>
                <a:gd name="T7" fmla="*/ 45 h 45"/>
                <a:gd name="T8" fmla="*/ 232 w 253"/>
                <a:gd name="T9" fmla="*/ 45 h 45"/>
                <a:gd name="T10" fmla="*/ 253 w 253"/>
                <a:gd name="T11" fmla="*/ 25 h 45"/>
                <a:gd name="T12" fmla="*/ 253 w 253"/>
                <a:gd name="T13" fmla="*/ 21 h 45"/>
                <a:gd name="T14" fmla="*/ 232 w 253"/>
                <a:gd name="T15" fmla="*/ 0 h 45"/>
                <a:gd name="T16" fmla="*/ 135 w 253"/>
                <a:gd name="T17" fmla="*/ 0 h 45"/>
                <a:gd name="T18" fmla="*/ 21 w 253"/>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5">
                  <a:moveTo>
                    <a:pt x="21" y="0"/>
                  </a:moveTo>
                  <a:cubicBezTo>
                    <a:pt x="21" y="0"/>
                    <a:pt x="0" y="0"/>
                    <a:pt x="0" y="21"/>
                  </a:cubicBezTo>
                  <a:cubicBezTo>
                    <a:pt x="0" y="25"/>
                    <a:pt x="0" y="25"/>
                    <a:pt x="0" y="25"/>
                  </a:cubicBezTo>
                  <a:cubicBezTo>
                    <a:pt x="0" y="25"/>
                    <a:pt x="0" y="45"/>
                    <a:pt x="21" y="45"/>
                  </a:cubicBezTo>
                  <a:cubicBezTo>
                    <a:pt x="232" y="45"/>
                    <a:pt x="232" y="45"/>
                    <a:pt x="232" y="45"/>
                  </a:cubicBezTo>
                  <a:cubicBezTo>
                    <a:pt x="232" y="45"/>
                    <a:pt x="253" y="45"/>
                    <a:pt x="253" y="25"/>
                  </a:cubicBezTo>
                  <a:cubicBezTo>
                    <a:pt x="253" y="21"/>
                    <a:pt x="253" y="21"/>
                    <a:pt x="253" y="21"/>
                  </a:cubicBezTo>
                  <a:cubicBezTo>
                    <a:pt x="253" y="21"/>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3" name="Freeform 165"/>
            <p:cNvSpPr>
              <a:spLocks/>
            </p:cNvSpPr>
            <p:nvPr userDrawn="1"/>
          </p:nvSpPr>
          <p:spPr bwMode="auto">
            <a:xfrm>
              <a:off x="321" y="744"/>
              <a:ext cx="119" cy="21"/>
            </a:xfrm>
            <a:custGeom>
              <a:avLst/>
              <a:gdLst>
                <a:gd name="T0" fmla="*/ 21 w 253"/>
                <a:gd name="T1" fmla="*/ 0 h 45"/>
                <a:gd name="T2" fmla="*/ 0 w 253"/>
                <a:gd name="T3" fmla="*/ 21 h 45"/>
                <a:gd name="T4" fmla="*/ 0 w 253"/>
                <a:gd name="T5" fmla="*/ 25 h 45"/>
                <a:gd name="T6" fmla="*/ 21 w 253"/>
                <a:gd name="T7" fmla="*/ 45 h 45"/>
                <a:gd name="T8" fmla="*/ 232 w 253"/>
                <a:gd name="T9" fmla="*/ 45 h 45"/>
                <a:gd name="T10" fmla="*/ 253 w 253"/>
                <a:gd name="T11" fmla="*/ 25 h 45"/>
                <a:gd name="T12" fmla="*/ 253 w 253"/>
                <a:gd name="T13" fmla="*/ 21 h 45"/>
                <a:gd name="T14" fmla="*/ 232 w 253"/>
                <a:gd name="T15" fmla="*/ 0 h 45"/>
                <a:gd name="T16" fmla="*/ 135 w 253"/>
                <a:gd name="T17" fmla="*/ 0 h 45"/>
                <a:gd name="T18" fmla="*/ 21 w 253"/>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5">
                  <a:moveTo>
                    <a:pt x="21" y="0"/>
                  </a:moveTo>
                  <a:cubicBezTo>
                    <a:pt x="21" y="0"/>
                    <a:pt x="0" y="0"/>
                    <a:pt x="0" y="21"/>
                  </a:cubicBezTo>
                  <a:cubicBezTo>
                    <a:pt x="0" y="25"/>
                    <a:pt x="0" y="25"/>
                    <a:pt x="0" y="25"/>
                  </a:cubicBezTo>
                  <a:cubicBezTo>
                    <a:pt x="0" y="25"/>
                    <a:pt x="0" y="45"/>
                    <a:pt x="21" y="45"/>
                  </a:cubicBezTo>
                  <a:cubicBezTo>
                    <a:pt x="232" y="45"/>
                    <a:pt x="232" y="45"/>
                    <a:pt x="232" y="45"/>
                  </a:cubicBezTo>
                  <a:cubicBezTo>
                    <a:pt x="232" y="45"/>
                    <a:pt x="253" y="45"/>
                    <a:pt x="253" y="25"/>
                  </a:cubicBezTo>
                  <a:cubicBezTo>
                    <a:pt x="253" y="21"/>
                    <a:pt x="253" y="21"/>
                    <a:pt x="253" y="21"/>
                  </a:cubicBezTo>
                  <a:cubicBezTo>
                    <a:pt x="253" y="21"/>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4" name="Oval 166"/>
            <p:cNvSpPr>
              <a:spLocks noChangeArrowheads="1"/>
            </p:cNvSpPr>
            <p:nvPr userDrawn="1"/>
          </p:nvSpPr>
          <p:spPr bwMode="auto">
            <a:xfrm>
              <a:off x="417" y="488"/>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5" name="Oval 167"/>
            <p:cNvSpPr>
              <a:spLocks noChangeArrowheads="1"/>
            </p:cNvSpPr>
            <p:nvPr userDrawn="1"/>
          </p:nvSpPr>
          <p:spPr bwMode="auto">
            <a:xfrm>
              <a:off x="417" y="525"/>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6" name="Oval 168"/>
            <p:cNvSpPr>
              <a:spLocks noChangeArrowheads="1"/>
            </p:cNvSpPr>
            <p:nvPr userDrawn="1"/>
          </p:nvSpPr>
          <p:spPr bwMode="auto">
            <a:xfrm>
              <a:off x="417" y="562"/>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7" name="Oval 169"/>
            <p:cNvSpPr>
              <a:spLocks noChangeArrowheads="1"/>
            </p:cNvSpPr>
            <p:nvPr userDrawn="1"/>
          </p:nvSpPr>
          <p:spPr bwMode="auto">
            <a:xfrm>
              <a:off x="417" y="600"/>
              <a:ext cx="12" cy="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8" name="Oval 170"/>
            <p:cNvSpPr>
              <a:spLocks noChangeArrowheads="1"/>
            </p:cNvSpPr>
            <p:nvPr userDrawn="1"/>
          </p:nvSpPr>
          <p:spPr bwMode="auto">
            <a:xfrm>
              <a:off x="417" y="637"/>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39" name="Oval 171"/>
            <p:cNvSpPr>
              <a:spLocks noChangeArrowheads="1"/>
            </p:cNvSpPr>
            <p:nvPr userDrawn="1"/>
          </p:nvSpPr>
          <p:spPr bwMode="auto">
            <a:xfrm>
              <a:off x="417" y="674"/>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0" name="Oval 172"/>
            <p:cNvSpPr>
              <a:spLocks noChangeArrowheads="1"/>
            </p:cNvSpPr>
            <p:nvPr userDrawn="1"/>
          </p:nvSpPr>
          <p:spPr bwMode="auto">
            <a:xfrm>
              <a:off x="417" y="711"/>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1" name="Oval 173"/>
            <p:cNvSpPr>
              <a:spLocks noChangeArrowheads="1"/>
            </p:cNvSpPr>
            <p:nvPr userDrawn="1"/>
          </p:nvSpPr>
          <p:spPr bwMode="auto">
            <a:xfrm>
              <a:off x="417" y="748"/>
              <a:ext cx="12" cy="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2" name="Freeform 174"/>
            <p:cNvSpPr>
              <a:spLocks/>
            </p:cNvSpPr>
            <p:nvPr userDrawn="1"/>
          </p:nvSpPr>
          <p:spPr bwMode="auto">
            <a:xfrm>
              <a:off x="321" y="781"/>
              <a:ext cx="119" cy="21"/>
            </a:xfrm>
            <a:custGeom>
              <a:avLst/>
              <a:gdLst>
                <a:gd name="T0" fmla="*/ 21 w 253"/>
                <a:gd name="T1" fmla="*/ 0 h 45"/>
                <a:gd name="T2" fmla="*/ 0 w 253"/>
                <a:gd name="T3" fmla="*/ 20 h 45"/>
                <a:gd name="T4" fmla="*/ 0 w 253"/>
                <a:gd name="T5" fmla="*/ 24 h 45"/>
                <a:gd name="T6" fmla="*/ 21 w 253"/>
                <a:gd name="T7" fmla="*/ 45 h 45"/>
                <a:gd name="T8" fmla="*/ 232 w 253"/>
                <a:gd name="T9" fmla="*/ 45 h 45"/>
                <a:gd name="T10" fmla="*/ 253 w 253"/>
                <a:gd name="T11" fmla="*/ 24 h 45"/>
                <a:gd name="T12" fmla="*/ 253 w 253"/>
                <a:gd name="T13" fmla="*/ 20 h 45"/>
                <a:gd name="T14" fmla="*/ 232 w 253"/>
                <a:gd name="T15" fmla="*/ 0 h 45"/>
                <a:gd name="T16" fmla="*/ 135 w 253"/>
                <a:gd name="T17" fmla="*/ 0 h 45"/>
                <a:gd name="T18" fmla="*/ 21 w 253"/>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45">
                  <a:moveTo>
                    <a:pt x="21" y="0"/>
                  </a:moveTo>
                  <a:cubicBezTo>
                    <a:pt x="21" y="0"/>
                    <a:pt x="0" y="0"/>
                    <a:pt x="0" y="20"/>
                  </a:cubicBezTo>
                  <a:cubicBezTo>
                    <a:pt x="0" y="24"/>
                    <a:pt x="0" y="24"/>
                    <a:pt x="0" y="24"/>
                  </a:cubicBezTo>
                  <a:cubicBezTo>
                    <a:pt x="0" y="24"/>
                    <a:pt x="0" y="45"/>
                    <a:pt x="21" y="45"/>
                  </a:cubicBezTo>
                  <a:cubicBezTo>
                    <a:pt x="232" y="45"/>
                    <a:pt x="232" y="45"/>
                    <a:pt x="232" y="45"/>
                  </a:cubicBezTo>
                  <a:cubicBezTo>
                    <a:pt x="232" y="45"/>
                    <a:pt x="253" y="45"/>
                    <a:pt x="253" y="24"/>
                  </a:cubicBezTo>
                  <a:cubicBezTo>
                    <a:pt x="253" y="20"/>
                    <a:pt x="253" y="20"/>
                    <a:pt x="253" y="20"/>
                  </a:cubicBezTo>
                  <a:cubicBezTo>
                    <a:pt x="253" y="20"/>
                    <a:pt x="253" y="0"/>
                    <a:pt x="232" y="0"/>
                  </a:cubicBezTo>
                  <a:cubicBezTo>
                    <a:pt x="135" y="0"/>
                    <a:pt x="135" y="0"/>
                    <a:pt x="13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3" name="Oval 175"/>
            <p:cNvSpPr>
              <a:spLocks noChangeArrowheads="1"/>
            </p:cNvSpPr>
            <p:nvPr userDrawn="1"/>
          </p:nvSpPr>
          <p:spPr bwMode="auto">
            <a:xfrm>
              <a:off x="375" y="786"/>
              <a:ext cx="11" cy="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4" name="Freeform 176"/>
            <p:cNvSpPr>
              <a:spLocks/>
            </p:cNvSpPr>
            <p:nvPr userDrawn="1"/>
          </p:nvSpPr>
          <p:spPr bwMode="auto">
            <a:xfrm>
              <a:off x="226" y="670"/>
              <a:ext cx="78" cy="18"/>
            </a:xfrm>
            <a:custGeom>
              <a:avLst/>
              <a:gdLst>
                <a:gd name="T0" fmla="*/ 78 w 166"/>
                <a:gd name="T1" fmla="*/ 15 h 38"/>
                <a:gd name="T2" fmla="*/ 166 w 166"/>
                <a:gd name="T3" fmla="*/ 38 h 38"/>
                <a:gd name="T4" fmla="*/ 166 w 166"/>
                <a:gd name="T5" fmla="*/ 10 h 38"/>
                <a:gd name="T6" fmla="*/ 106 w 166"/>
                <a:gd name="T7" fmla="*/ 0 h 38"/>
                <a:gd name="T8" fmla="*/ 0 w 166"/>
                <a:gd name="T9" fmla="*/ 32 h 38"/>
                <a:gd name="T10" fmla="*/ 78 w 166"/>
                <a:gd name="T11" fmla="*/ 15 h 38"/>
              </a:gdLst>
              <a:ahLst/>
              <a:cxnLst>
                <a:cxn ang="0">
                  <a:pos x="T0" y="T1"/>
                </a:cxn>
                <a:cxn ang="0">
                  <a:pos x="T2" y="T3"/>
                </a:cxn>
                <a:cxn ang="0">
                  <a:pos x="T4" y="T5"/>
                </a:cxn>
                <a:cxn ang="0">
                  <a:pos x="T6" y="T7"/>
                </a:cxn>
                <a:cxn ang="0">
                  <a:pos x="T8" y="T9"/>
                </a:cxn>
                <a:cxn ang="0">
                  <a:pos x="T10" y="T11"/>
                </a:cxn>
              </a:cxnLst>
              <a:rect l="0" t="0" r="r" b="b"/>
              <a:pathLst>
                <a:path w="166" h="38">
                  <a:moveTo>
                    <a:pt x="78" y="15"/>
                  </a:moveTo>
                  <a:cubicBezTo>
                    <a:pt x="110" y="15"/>
                    <a:pt x="140" y="23"/>
                    <a:pt x="166" y="38"/>
                  </a:cubicBezTo>
                  <a:cubicBezTo>
                    <a:pt x="166" y="10"/>
                    <a:pt x="166" y="10"/>
                    <a:pt x="166" y="10"/>
                  </a:cubicBezTo>
                  <a:cubicBezTo>
                    <a:pt x="147" y="3"/>
                    <a:pt x="127" y="0"/>
                    <a:pt x="106" y="0"/>
                  </a:cubicBezTo>
                  <a:cubicBezTo>
                    <a:pt x="67" y="0"/>
                    <a:pt x="30" y="12"/>
                    <a:pt x="0" y="32"/>
                  </a:cubicBezTo>
                  <a:cubicBezTo>
                    <a:pt x="24" y="21"/>
                    <a:pt x="50" y="15"/>
                    <a:pt x="78" y="15"/>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5" name="Freeform 177"/>
            <p:cNvSpPr>
              <a:spLocks/>
            </p:cNvSpPr>
            <p:nvPr userDrawn="1"/>
          </p:nvSpPr>
          <p:spPr bwMode="auto">
            <a:xfrm>
              <a:off x="304" y="675"/>
              <a:ext cx="132" cy="144"/>
            </a:xfrm>
            <a:custGeom>
              <a:avLst/>
              <a:gdLst>
                <a:gd name="T0" fmla="*/ 280 w 280"/>
                <a:gd name="T1" fmla="*/ 232 h 306"/>
                <a:gd name="T2" fmla="*/ 151 w 280"/>
                <a:gd name="T3" fmla="*/ 103 h 306"/>
                <a:gd name="T4" fmla="*/ 115 w 280"/>
                <a:gd name="T5" fmla="*/ 108 h 306"/>
                <a:gd name="T6" fmla="*/ 0 w 280"/>
                <a:gd name="T7" fmla="*/ 0 h 306"/>
                <a:gd name="T8" fmla="*/ 0 w 280"/>
                <a:gd name="T9" fmla="*/ 27 h 306"/>
                <a:gd name="T10" fmla="*/ 87 w 280"/>
                <a:gd name="T11" fmla="*/ 123 h 306"/>
                <a:gd name="T12" fmla="*/ 123 w 280"/>
                <a:gd name="T13" fmla="*/ 118 h 306"/>
                <a:gd name="T14" fmla="*/ 253 w 280"/>
                <a:gd name="T15" fmla="*/ 247 h 306"/>
                <a:gd name="T16" fmla="*/ 238 w 280"/>
                <a:gd name="T17" fmla="*/ 306 h 306"/>
                <a:gd name="T18" fmla="*/ 267 w 280"/>
                <a:gd name="T19" fmla="*/ 306 h 306"/>
                <a:gd name="T20" fmla="*/ 280 w 280"/>
                <a:gd name="T21" fmla="*/ 23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306">
                  <a:moveTo>
                    <a:pt x="280" y="232"/>
                  </a:moveTo>
                  <a:cubicBezTo>
                    <a:pt x="280" y="160"/>
                    <a:pt x="222" y="103"/>
                    <a:pt x="151" y="103"/>
                  </a:cubicBezTo>
                  <a:cubicBezTo>
                    <a:pt x="138" y="103"/>
                    <a:pt x="126" y="104"/>
                    <a:pt x="115" y="108"/>
                  </a:cubicBezTo>
                  <a:cubicBezTo>
                    <a:pt x="94" y="57"/>
                    <a:pt x="52" y="18"/>
                    <a:pt x="0" y="0"/>
                  </a:cubicBezTo>
                  <a:cubicBezTo>
                    <a:pt x="0" y="27"/>
                    <a:pt x="0" y="27"/>
                    <a:pt x="0" y="27"/>
                  </a:cubicBezTo>
                  <a:cubicBezTo>
                    <a:pt x="39" y="48"/>
                    <a:pt x="70" y="82"/>
                    <a:pt x="87" y="123"/>
                  </a:cubicBezTo>
                  <a:cubicBezTo>
                    <a:pt x="99" y="120"/>
                    <a:pt x="111" y="118"/>
                    <a:pt x="123" y="118"/>
                  </a:cubicBezTo>
                  <a:cubicBezTo>
                    <a:pt x="195" y="118"/>
                    <a:pt x="253" y="176"/>
                    <a:pt x="253" y="247"/>
                  </a:cubicBezTo>
                  <a:cubicBezTo>
                    <a:pt x="253" y="268"/>
                    <a:pt x="247" y="288"/>
                    <a:pt x="238" y="306"/>
                  </a:cubicBezTo>
                  <a:cubicBezTo>
                    <a:pt x="267" y="306"/>
                    <a:pt x="267" y="306"/>
                    <a:pt x="267" y="306"/>
                  </a:cubicBezTo>
                  <a:cubicBezTo>
                    <a:pt x="275" y="284"/>
                    <a:pt x="280" y="252"/>
                    <a:pt x="280" y="232"/>
                  </a:cubicBezTo>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6" name="Freeform 178"/>
            <p:cNvSpPr>
              <a:spLocks/>
            </p:cNvSpPr>
            <p:nvPr userDrawn="1"/>
          </p:nvSpPr>
          <p:spPr bwMode="auto">
            <a:xfrm>
              <a:off x="129" y="677"/>
              <a:ext cx="295" cy="142"/>
            </a:xfrm>
            <a:custGeom>
              <a:avLst/>
              <a:gdLst>
                <a:gd name="T0" fmla="*/ 610 w 625"/>
                <a:gd name="T1" fmla="*/ 301 h 301"/>
                <a:gd name="T2" fmla="*/ 625 w 625"/>
                <a:gd name="T3" fmla="*/ 242 h 301"/>
                <a:gd name="T4" fmla="*/ 495 w 625"/>
                <a:gd name="T5" fmla="*/ 113 h 301"/>
                <a:gd name="T6" fmla="*/ 459 w 625"/>
                <a:gd name="T7" fmla="*/ 118 h 301"/>
                <a:gd name="T8" fmla="*/ 284 w 625"/>
                <a:gd name="T9" fmla="*/ 0 h 301"/>
                <a:gd name="T10" fmla="*/ 95 w 625"/>
                <a:gd name="T11" fmla="*/ 178 h 301"/>
                <a:gd name="T12" fmla="*/ 0 w 625"/>
                <a:gd name="T13" fmla="*/ 276 h 301"/>
                <a:gd name="T14" fmla="*/ 3 w 625"/>
                <a:gd name="T15" fmla="*/ 301 h 301"/>
                <a:gd name="T16" fmla="*/ 610 w 625"/>
                <a:gd name="T17"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01">
                  <a:moveTo>
                    <a:pt x="610" y="301"/>
                  </a:moveTo>
                  <a:cubicBezTo>
                    <a:pt x="619" y="283"/>
                    <a:pt x="625" y="263"/>
                    <a:pt x="625" y="242"/>
                  </a:cubicBezTo>
                  <a:cubicBezTo>
                    <a:pt x="625" y="171"/>
                    <a:pt x="567" y="113"/>
                    <a:pt x="495" y="113"/>
                  </a:cubicBezTo>
                  <a:cubicBezTo>
                    <a:pt x="483" y="113"/>
                    <a:pt x="471" y="115"/>
                    <a:pt x="459" y="118"/>
                  </a:cubicBezTo>
                  <a:cubicBezTo>
                    <a:pt x="431" y="49"/>
                    <a:pt x="363" y="0"/>
                    <a:pt x="284" y="0"/>
                  </a:cubicBezTo>
                  <a:cubicBezTo>
                    <a:pt x="183" y="0"/>
                    <a:pt x="101" y="79"/>
                    <a:pt x="95" y="178"/>
                  </a:cubicBezTo>
                  <a:cubicBezTo>
                    <a:pt x="42" y="180"/>
                    <a:pt x="0" y="223"/>
                    <a:pt x="0" y="276"/>
                  </a:cubicBezTo>
                  <a:cubicBezTo>
                    <a:pt x="0" y="285"/>
                    <a:pt x="1" y="293"/>
                    <a:pt x="3" y="301"/>
                  </a:cubicBezTo>
                  <a:lnTo>
                    <a:pt x="610" y="3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7" name="Rectangle 179"/>
            <p:cNvSpPr>
              <a:spLocks noChangeArrowheads="1"/>
            </p:cNvSpPr>
            <p:nvPr userDrawn="1"/>
          </p:nvSpPr>
          <p:spPr bwMode="auto">
            <a:xfrm>
              <a:off x="108" y="819"/>
              <a:ext cx="459" cy="2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8" name="Freeform 180"/>
            <p:cNvSpPr>
              <a:spLocks/>
            </p:cNvSpPr>
            <p:nvPr userDrawn="1"/>
          </p:nvSpPr>
          <p:spPr bwMode="auto">
            <a:xfrm>
              <a:off x="0" y="902"/>
              <a:ext cx="44" cy="89"/>
            </a:xfrm>
            <a:custGeom>
              <a:avLst/>
              <a:gdLst>
                <a:gd name="T0" fmla="*/ 0 w 94"/>
                <a:gd name="T1" fmla="*/ 0 h 188"/>
                <a:gd name="T2" fmla="*/ 94 w 94"/>
                <a:gd name="T3" fmla="*/ 94 h 188"/>
                <a:gd name="T4" fmla="*/ 0 w 94"/>
                <a:gd name="T5" fmla="*/ 188 h 188"/>
              </a:gdLst>
              <a:ahLst/>
              <a:cxnLst>
                <a:cxn ang="0">
                  <a:pos x="T0" y="T1"/>
                </a:cxn>
                <a:cxn ang="0">
                  <a:pos x="T2" y="T3"/>
                </a:cxn>
                <a:cxn ang="0">
                  <a:pos x="T4" y="T5"/>
                </a:cxn>
              </a:cxnLst>
              <a:rect l="0" t="0" r="r" b="b"/>
              <a:pathLst>
                <a:path w="94" h="188">
                  <a:moveTo>
                    <a:pt x="0" y="0"/>
                  </a:moveTo>
                  <a:cubicBezTo>
                    <a:pt x="52" y="0"/>
                    <a:pt x="94" y="42"/>
                    <a:pt x="94" y="94"/>
                  </a:cubicBezTo>
                  <a:cubicBezTo>
                    <a:pt x="94" y="146"/>
                    <a:pt x="52" y="188"/>
                    <a:pt x="0" y="188"/>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49" name="Freeform 181"/>
            <p:cNvSpPr>
              <a:spLocks/>
            </p:cNvSpPr>
            <p:nvPr userDrawn="1"/>
          </p:nvSpPr>
          <p:spPr bwMode="auto">
            <a:xfrm>
              <a:off x="0" y="1130"/>
              <a:ext cx="44" cy="89"/>
            </a:xfrm>
            <a:custGeom>
              <a:avLst/>
              <a:gdLst>
                <a:gd name="T0" fmla="*/ 0 w 94"/>
                <a:gd name="T1" fmla="*/ 0 h 188"/>
                <a:gd name="T2" fmla="*/ 94 w 94"/>
                <a:gd name="T3" fmla="*/ 94 h 188"/>
                <a:gd name="T4" fmla="*/ 0 w 94"/>
                <a:gd name="T5" fmla="*/ 188 h 188"/>
              </a:gdLst>
              <a:ahLst/>
              <a:cxnLst>
                <a:cxn ang="0">
                  <a:pos x="T0" y="T1"/>
                </a:cxn>
                <a:cxn ang="0">
                  <a:pos x="T2" y="T3"/>
                </a:cxn>
                <a:cxn ang="0">
                  <a:pos x="T4" y="T5"/>
                </a:cxn>
              </a:cxnLst>
              <a:rect l="0" t="0" r="r" b="b"/>
              <a:pathLst>
                <a:path w="94" h="188">
                  <a:moveTo>
                    <a:pt x="0" y="0"/>
                  </a:moveTo>
                  <a:cubicBezTo>
                    <a:pt x="52" y="0"/>
                    <a:pt x="94" y="42"/>
                    <a:pt x="94" y="94"/>
                  </a:cubicBezTo>
                  <a:cubicBezTo>
                    <a:pt x="94" y="146"/>
                    <a:pt x="52" y="188"/>
                    <a:pt x="0" y="188"/>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0" name="Freeform 182"/>
            <p:cNvSpPr>
              <a:spLocks/>
            </p:cNvSpPr>
            <p:nvPr userDrawn="1"/>
          </p:nvSpPr>
          <p:spPr bwMode="auto">
            <a:xfrm>
              <a:off x="0" y="1358"/>
              <a:ext cx="44" cy="89"/>
            </a:xfrm>
            <a:custGeom>
              <a:avLst/>
              <a:gdLst>
                <a:gd name="T0" fmla="*/ 0 w 94"/>
                <a:gd name="T1" fmla="*/ 0 h 188"/>
                <a:gd name="T2" fmla="*/ 94 w 94"/>
                <a:gd name="T3" fmla="*/ 94 h 188"/>
                <a:gd name="T4" fmla="*/ 0 w 94"/>
                <a:gd name="T5" fmla="*/ 188 h 188"/>
              </a:gdLst>
              <a:ahLst/>
              <a:cxnLst>
                <a:cxn ang="0">
                  <a:pos x="T0" y="T1"/>
                </a:cxn>
                <a:cxn ang="0">
                  <a:pos x="T2" y="T3"/>
                </a:cxn>
                <a:cxn ang="0">
                  <a:pos x="T4" y="T5"/>
                </a:cxn>
              </a:cxnLst>
              <a:rect l="0" t="0" r="r" b="b"/>
              <a:pathLst>
                <a:path w="94" h="188">
                  <a:moveTo>
                    <a:pt x="0" y="0"/>
                  </a:moveTo>
                  <a:cubicBezTo>
                    <a:pt x="52" y="0"/>
                    <a:pt x="94" y="42"/>
                    <a:pt x="94" y="94"/>
                  </a:cubicBezTo>
                  <a:cubicBezTo>
                    <a:pt x="94" y="146"/>
                    <a:pt x="52" y="188"/>
                    <a:pt x="0" y="188"/>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1" name="Freeform 183"/>
            <p:cNvSpPr>
              <a:spLocks/>
            </p:cNvSpPr>
            <p:nvPr userDrawn="1"/>
          </p:nvSpPr>
          <p:spPr bwMode="auto">
            <a:xfrm>
              <a:off x="0" y="1"/>
              <a:ext cx="253" cy="689"/>
            </a:xfrm>
            <a:custGeom>
              <a:avLst/>
              <a:gdLst>
                <a:gd name="T0" fmla="*/ 253 w 253"/>
                <a:gd name="T1" fmla="*/ 0 h 689"/>
                <a:gd name="T2" fmla="*/ 0 w 253"/>
                <a:gd name="T3" fmla="*/ 689 h 689"/>
                <a:gd name="T4" fmla="*/ 0 w 253"/>
                <a:gd name="T5" fmla="*/ 0 h 689"/>
                <a:gd name="T6" fmla="*/ 253 w 253"/>
                <a:gd name="T7" fmla="*/ 0 h 689"/>
              </a:gdLst>
              <a:ahLst/>
              <a:cxnLst>
                <a:cxn ang="0">
                  <a:pos x="T0" y="T1"/>
                </a:cxn>
                <a:cxn ang="0">
                  <a:pos x="T2" y="T3"/>
                </a:cxn>
                <a:cxn ang="0">
                  <a:pos x="T4" y="T5"/>
                </a:cxn>
                <a:cxn ang="0">
                  <a:pos x="T6" y="T7"/>
                </a:cxn>
              </a:cxnLst>
              <a:rect l="0" t="0" r="r" b="b"/>
              <a:pathLst>
                <a:path w="253" h="689">
                  <a:moveTo>
                    <a:pt x="253" y="0"/>
                  </a:moveTo>
                  <a:lnTo>
                    <a:pt x="0" y="689"/>
                  </a:lnTo>
                  <a:lnTo>
                    <a:pt x="0" y="0"/>
                  </a:lnTo>
                  <a:lnTo>
                    <a:pt x="25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2" name="Freeform 184"/>
            <p:cNvSpPr>
              <a:spLocks/>
            </p:cNvSpPr>
            <p:nvPr userDrawn="1"/>
          </p:nvSpPr>
          <p:spPr bwMode="auto">
            <a:xfrm>
              <a:off x="0" y="1"/>
              <a:ext cx="253" cy="689"/>
            </a:xfrm>
            <a:custGeom>
              <a:avLst/>
              <a:gdLst>
                <a:gd name="T0" fmla="*/ 253 w 253"/>
                <a:gd name="T1" fmla="*/ 0 h 689"/>
                <a:gd name="T2" fmla="*/ 0 w 253"/>
                <a:gd name="T3" fmla="*/ 689 h 689"/>
                <a:gd name="T4" fmla="*/ 0 w 253"/>
                <a:gd name="T5" fmla="*/ 0 h 689"/>
                <a:gd name="T6" fmla="*/ 253 w 253"/>
                <a:gd name="T7" fmla="*/ 0 h 689"/>
              </a:gdLst>
              <a:ahLst/>
              <a:cxnLst>
                <a:cxn ang="0">
                  <a:pos x="T0" y="T1"/>
                </a:cxn>
                <a:cxn ang="0">
                  <a:pos x="T2" y="T3"/>
                </a:cxn>
                <a:cxn ang="0">
                  <a:pos x="T4" y="T5"/>
                </a:cxn>
                <a:cxn ang="0">
                  <a:pos x="T6" y="T7"/>
                </a:cxn>
              </a:cxnLst>
              <a:rect l="0" t="0" r="r" b="b"/>
              <a:pathLst>
                <a:path w="253" h="689">
                  <a:moveTo>
                    <a:pt x="253" y="0"/>
                  </a:moveTo>
                  <a:lnTo>
                    <a:pt x="0" y="689"/>
                  </a:lnTo>
                  <a:lnTo>
                    <a:pt x="0" y="0"/>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3" name="Freeform 185"/>
            <p:cNvSpPr>
              <a:spLocks/>
            </p:cNvSpPr>
            <p:nvPr userDrawn="1"/>
          </p:nvSpPr>
          <p:spPr bwMode="auto">
            <a:xfrm>
              <a:off x="0" y="322"/>
              <a:ext cx="190" cy="522"/>
            </a:xfrm>
            <a:custGeom>
              <a:avLst/>
              <a:gdLst>
                <a:gd name="T0" fmla="*/ 0 w 190"/>
                <a:gd name="T1" fmla="*/ 522 h 522"/>
                <a:gd name="T2" fmla="*/ 190 w 190"/>
                <a:gd name="T3" fmla="*/ 0 h 522"/>
                <a:gd name="T4" fmla="*/ 0 w 190"/>
                <a:gd name="T5" fmla="*/ 0 h 522"/>
                <a:gd name="T6" fmla="*/ 0 w 190"/>
                <a:gd name="T7" fmla="*/ 522 h 522"/>
              </a:gdLst>
              <a:ahLst/>
              <a:cxnLst>
                <a:cxn ang="0">
                  <a:pos x="T0" y="T1"/>
                </a:cxn>
                <a:cxn ang="0">
                  <a:pos x="T2" y="T3"/>
                </a:cxn>
                <a:cxn ang="0">
                  <a:pos x="T4" y="T5"/>
                </a:cxn>
                <a:cxn ang="0">
                  <a:pos x="T6" y="T7"/>
                </a:cxn>
              </a:cxnLst>
              <a:rect l="0" t="0" r="r" b="b"/>
              <a:pathLst>
                <a:path w="190" h="522">
                  <a:moveTo>
                    <a:pt x="0" y="522"/>
                  </a:moveTo>
                  <a:lnTo>
                    <a:pt x="190" y="0"/>
                  </a:lnTo>
                  <a:lnTo>
                    <a:pt x="0" y="0"/>
                  </a:lnTo>
                  <a:lnTo>
                    <a:pt x="0" y="52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4" name="Freeform 186"/>
            <p:cNvSpPr>
              <a:spLocks/>
            </p:cNvSpPr>
            <p:nvPr userDrawn="1"/>
          </p:nvSpPr>
          <p:spPr bwMode="auto">
            <a:xfrm>
              <a:off x="0" y="322"/>
              <a:ext cx="190" cy="522"/>
            </a:xfrm>
            <a:custGeom>
              <a:avLst/>
              <a:gdLst>
                <a:gd name="T0" fmla="*/ 0 w 190"/>
                <a:gd name="T1" fmla="*/ 522 h 522"/>
                <a:gd name="T2" fmla="*/ 190 w 190"/>
                <a:gd name="T3" fmla="*/ 0 h 522"/>
                <a:gd name="T4" fmla="*/ 0 w 190"/>
                <a:gd name="T5" fmla="*/ 0 h 522"/>
                <a:gd name="T6" fmla="*/ 0 w 190"/>
                <a:gd name="T7" fmla="*/ 522 h 522"/>
              </a:gdLst>
              <a:ahLst/>
              <a:cxnLst>
                <a:cxn ang="0">
                  <a:pos x="T0" y="T1"/>
                </a:cxn>
                <a:cxn ang="0">
                  <a:pos x="T2" y="T3"/>
                </a:cxn>
                <a:cxn ang="0">
                  <a:pos x="T4" y="T5"/>
                </a:cxn>
                <a:cxn ang="0">
                  <a:pos x="T6" y="T7"/>
                </a:cxn>
              </a:cxnLst>
              <a:rect l="0" t="0" r="r" b="b"/>
              <a:pathLst>
                <a:path w="190" h="522">
                  <a:moveTo>
                    <a:pt x="0" y="522"/>
                  </a:moveTo>
                  <a:lnTo>
                    <a:pt x="190" y="0"/>
                  </a:lnTo>
                  <a:lnTo>
                    <a:pt x="0" y="0"/>
                  </a:lnTo>
                  <a:lnTo>
                    <a:pt x="0" y="5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5" name="Freeform 187"/>
            <p:cNvSpPr>
              <a:spLocks/>
            </p:cNvSpPr>
            <p:nvPr userDrawn="1"/>
          </p:nvSpPr>
          <p:spPr bwMode="auto">
            <a:xfrm>
              <a:off x="108" y="1"/>
              <a:ext cx="287" cy="394"/>
            </a:xfrm>
            <a:custGeom>
              <a:avLst/>
              <a:gdLst>
                <a:gd name="T0" fmla="*/ 145 w 287"/>
                <a:gd name="T1" fmla="*/ 0 h 394"/>
                <a:gd name="T2" fmla="*/ 221 w 287"/>
                <a:gd name="T3" fmla="*/ 0 h 394"/>
                <a:gd name="T4" fmla="*/ 287 w 287"/>
                <a:gd name="T5" fmla="*/ 394 h 394"/>
                <a:gd name="T6" fmla="*/ 23 w 287"/>
                <a:gd name="T7" fmla="*/ 349 h 394"/>
                <a:gd name="T8" fmla="*/ 0 w 287"/>
                <a:gd name="T9" fmla="*/ 344 h 394"/>
                <a:gd name="T10" fmla="*/ 113 w 287"/>
                <a:gd name="T11" fmla="*/ 87 h 394"/>
                <a:gd name="T12" fmla="*/ 145 w 287"/>
                <a:gd name="T13" fmla="*/ 0 h 394"/>
              </a:gdLst>
              <a:ahLst/>
              <a:cxnLst>
                <a:cxn ang="0">
                  <a:pos x="T0" y="T1"/>
                </a:cxn>
                <a:cxn ang="0">
                  <a:pos x="T2" y="T3"/>
                </a:cxn>
                <a:cxn ang="0">
                  <a:pos x="T4" y="T5"/>
                </a:cxn>
                <a:cxn ang="0">
                  <a:pos x="T6" y="T7"/>
                </a:cxn>
                <a:cxn ang="0">
                  <a:pos x="T8" y="T9"/>
                </a:cxn>
                <a:cxn ang="0">
                  <a:pos x="T10" y="T11"/>
                </a:cxn>
                <a:cxn ang="0">
                  <a:pos x="T12" y="T13"/>
                </a:cxn>
              </a:cxnLst>
              <a:rect l="0" t="0" r="r" b="b"/>
              <a:pathLst>
                <a:path w="287" h="394">
                  <a:moveTo>
                    <a:pt x="145" y="0"/>
                  </a:moveTo>
                  <a:lnTo>
                    <a:pt x="221" y="0"/>
                  </a:lnTo>
                  <a:lnTo>
                    <a:pt x="287" y="394"/>
                  </a:lnTo>
                  <a:lnTo>
                    <a:pt x="23" y="349"/>
                  </a:lnTo>
                  <a:lnTo>
                    <a:pt x="0" y="344"/>
                  </a:lnTo>
                  <a:lnTo>
                    <a:pt x="113" y="87"/>
                  </a:lnTo>
                  <a:lnTo>
                    <a:pt x="1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6" name="Freeform 188"/>
            <p:cNvSpPr>
              <a:spLocks/>
            </p:cNvSpPr>
            <p:nvPr userDrawn="1"/>
          </p:nvSpPr>
          <p:spPr bwMode="auto">
            <a:xfrm>
              <a:off x="108" y="1"/>
              <a:ext cx="287" cy="394"/>
            </a:xfrm>
            <a:custGeom>
              <a:avLst/>
              <a:gdLst>
                <a:gd name="T0" fmla="*/ 145 w 287"/>
                <a:gd name="T1" fmla="*/ 0 h 394"/>
                <a:gd name="T2" fmla="*/ 221 w 287"/>
                <a:gd name="T3" fmla="*/ 0 h 394"/>
                <a:gd name="T4" fmla="*/ 287 w 287"/>
                <a:gd name="T5" fmla="*/ 394 h 394"/>
                <a:gd name="T6" fmla="*/ 23 w 287"/>
                <a:gd name="T7" fmla="*/ 349 h 394"/>
                <a:gd name="T8" fmla="*/ 0 w 287"/>
                <a:gd name="T9" fmla="*/ 344 h 394"/>
                <a:gd name="T10" fmla="*/ 113 w 287"/>
                <a:gd name="T11" fmla="*/ 87 h 394"/>
                <a:gd name="T12" fmla="*/ 145 w 287"/>
                <a:gd name="T13" fmla="*/ 0 h 394"/>
              </a:gdLst>
              <a:ahLst/>
              <a:cxnLst>
                <a:cxn ang="0">
                  <a:pos x="T0" y="T1"/>
                </a:cxn>
                <a:cxn ang="0">
                  <a:pos x="T2" y="T3"/>
                </a:cxn>
                <a:cxn ang="0">
                  <a:pos x="T4" y="T5"/>
                </a:cxn>
                <a:cxn ang="0">
                  <a:pos x="T6" y="T7"/>
                </a:cxn>
                <a:cxn ang="0">
                  <a:pos x="T8" y="T9"/>
                </a:cxn>
                <a:cxn ang="0">
                  <a:pos x="T10" y="T11"/>
                </a:cxn>
                <a:cxn ang="0">
                  <a:pos x="T12" y="T13"/>
                </a:cxn>
              </a:cxnLst>
              <a:rect l="0" t="0" r="r" b="b"/>
              <a:pathLst>
                <a:path w="287" h="394">
                  <a:moveTo>
                    <a:pt x="145" y="0"/>
                  </a:moveTo>
                  <a:lnTo>
                    <a:pt x="221" y="0"/>
                  </a:lnTo>
                  <a:lnTo>
                    <a:pt x="287" y="394"/>
                  </a:lnTo>
                  <a:lnTo>
                    <a:pt x="23" y="349"/>
                  </a:lnTo>
                  <a:lnTo>
                    <a:pt x="0" y="344"/>
                  </a:lnTo>
                  <a:lnTo>
                    <a:pt x="113" y="87"/>
                  </a:lnTo>
                  <a:lnTo>
                    <a:pt x="1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7" name="Freeform 189"/>
            <p:cNvSpPr>
              <a:spLocks/>
            </p:cNvSpPr>
            <p:nvPr userDrawn="1"/>
          </p:nvSpPr>
          <p:spPr bwMode="auto">
            <a:xfrm>
              <a:off x="0" y="345"/>
              <a:ext cx="241" cy="511"/>
            </a:xfrm>
            <a:custGeom>
              <a:avLst/>
              <a:gdLst>
                <a:gd name="T0" fmla="*/ 241 w 241"/>
                <a:gd name="T1" fmla="*/ 5 h 511"/>
                <a:gd name="T2" fmla="*/ 0 w 241"/>
                <a:gd name="T3" fmla="*/ 511 h 511"/>
                <a:gd name="T4" fmla="*/ 108 w 241"/>
                <a:gd name="T5" fmla="*/ 0 h 511"/>
                <a:gd name="T6" fmla="*/ 241 w 241"/>
                <a:gd name="T7" fmla="*/ 5 h 511"/>
              </a:gdLst>
              <a:ahLst/>
              <a:cxnLst>
                <a:cxn ang="0">
                  <a:pos x="T0" y="T1"/>
                </a:cxn>
                <a:cxn ang="0">
                  <a:pos x="T2" y="T3"/>
                </a:cxn>
                <a:cxn ang="0">
                  <a:pos x="T4" y="T5"/>
                </a:cxn>
                <a:cxn ang="0">
                  <a:pos x="T6" y="T7"/>
                </a:cxn>
              </a:cxnLst>
              <a:rect l="0" t="0" r="r" b="b"/>
              <a:pathLst>
                <a:path w="241" h="511">
                  <a:moveTo>
                    <a:pt x="241" y="5"/>
                  </a:moveTo>
                  <a:lnTo>
                    <a:pt x="0" y="511"/>
                  </a:lnTo>
                  <a:lnTo>
                    <a:pt x="108" y="0"/>
                  </a:lnTo>
                  <a:lnTo>
                    <a:pt x="24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8" name="Freeform 190"/>
            <p:cNvSpPr>
              <a:spLocks/>
            </p:cNvSpPr>
            <p:nvPr userDrawn="1"/>
          </p:nvSpPr>
          <p:spPr bwMode="auto">
            <a:xfrm>
              <a:off x="0" y="345"/>
              <a:ext cx="241" cy="511"/>
            </a:xfrm>
            <a:custGeom>
              <a:avLst/>
              <a:gdLst>
                <a:gd name="T0" fmla="*/ 241 w 241"/>
                <a:gd name="T1" fmla="*/ 5 h 511"/>
                <a:gd name="T2" fmla="*/ 0 w 241"/>
                <a:gd name="T3" fmla="*/ 511 h 511"/>
                <a:gd name="T4" fmla="*/ 108 w 241"/>
                <a:gd name="T5" fmla="*/ 0 h 511"/>
                <a:gd name="T6" fmla="*/ 241 w 241"/>
                <a:gd name="T7" fmla="*/ 5 h 511"/>
              </a:gdLst>
              <a:ahLst/>
              <a:cxnLst>
                <a:cxn ang="0">
                  <a:pos x="T0" y="T1"/>
                </a:cxn>
                <a:cxn ang="0">
                  <a:pos x="T2" y="T3"/>
                </a:cxn>
                <a:cxn ang="0">
                  <a:pos x="T4" y="T5"/>
                </a:cxn>
                <a:cxn ang="0">
                  <a:pos x="T6" y="T7"/>
                </a:cxn>
              </a:cxnLst>
              <a:rect l="0" t="0" r="r" b="b"/>
              <a:pathLst>
                <a:path w="241" h="511">
                  <a:moveTo>
                    <a:pt x="241" y="5"/>
                  </a:moveTo>
                  <a:lnTo>
                    <a:pt x="0" y="511"/>
                  </a:lnTo>
                  <a:lnTo>
                    <a:pt x="108" y="0"/>
                  </a:lnTo>
                  <a:lnTo>
                    <a:pt x="241"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59" name="Freeform 191"/>
            <p:cNvSpPr>
              <a:spLocks/>
            </p:cNvSpPr>
            <p:nvPr userDrawn="1"/>
          </p:nvSpPr>
          <p:spPr bwMode="auto">
            <a:xfrm>
              <a:off x="0" y="367"/>
              <a:ext cx="384" cy="489"/>
            </a:xfrm>
            <a:custGeom>
              <a:avLst/>
              <a:gdLst>
                <a:gd name="T0" fmla="*/ 232 w 384"/>
                <a:gd name="T1" fmla="*/ 0 h 489"/>
                <a:gd name="T2" fmla="*/ 0 w 384"/>
                <a:gd name="T3" fmla="*/ 489 h 489"/>
                <a:gd name="T4" fmla="*/ 204 w 384"/>
                <a:gd name="T5" fmla="*/ 60 h 489"/>
                <a:gd name="T6" fmla="*/ 384 w 384"/>
                <a:gd name="T7" fmla="*/ 71 h 489"/>
                <a:gd name="T8" fmla="*/ 364 w 384"/>
                <a:gd name="T9" fmla="*/ 23 h 489"/>
                <a:gd name="T10" fmla="*/ 232 w 384"/>
                <a:gd name="T11" fmla="*/ 0 h 489"/>
              </a:gdLst>
              <a:ahLst/>
              <a:cxnLst>
                <a:cxn ang="0">
                  <a:pos x="T0" y="T1"/>
                </a:cxn>
                <a:cxn ang="0">
                  <a:pos x="T2" y="T3"/>
                </a:cxn>
                <a:cxn ang="0">
                  <a:pos x="T4" y="T5"/>
                </a:cxn>
                <a:cxn ang="0">
                  <a:pos x="T6" y="T7"/>
                </a:cxn>
                <a:cxn ang="0">
                  <a:pos x="T8" y="T9"/>
                </a:cxn>
                <a:cxn ang="0">
                  <a:pos x="T10" y="T11"/>
                </a:cxn>
              </a:cxnLst>
              <a:rect l="0" t="0" r="r" b="b"/>
              <a:pathLst>
                <a:path w="384" h="489">
                  <a:moveTo>
                    <a:pt x="232" y="0"/>
                  </a:moveTo>
                  <a:lnTo>
                    <a:pt x="0" y="489"/>
                  </a:lnTo>
                  <a:lnTo>
                    <a:pt x="204" y="60"/>
                  </a:lnTo>
                  <a:lnTo>
                    <a:pt x="384" y="71"/>
                  </a:lnTo>
                  <a:lnTo>
                    <a:pt x="364" y="23"/>
                  </a:lnTo>
                  <a:lnTo>
                    <a:pt x="232" y="0"/>
                  </a:lnTo>
                  <a:close/>
                </a:path>
              </a:pathLst>
            </a:custGeom>
            <a:solidFill>
              <a:srgbClr val="5B1D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0" name="Freeform 192"/>
            <p:cNvSpPr>
              <a:spLocks/>
            </p:cNvSpPr>
            <p:nvPr userDrawn="1"/>
          </p:nvSpPr>
          <p:spPr bwMode="auto">
            <a:xfrm>
              <a:off x="0" y="367"/>
              <a:ext cx="384" cy="489"/>
            </a:xfrm>
            <a:custGeom>
              <a:avLst/>
              <a:gdLst>
                <a:gd name="T0" fmla="*/ 232 w 384"/>
                <a:gd name="T1" fmla="*/ 0 h 489"/>
                <a:gd name="T2" fmla="*/ 0 w 384"/>
                <a:gd name="T3" fmla="*/ 489 h 489"/>
                <a:gd name="T4" fmla="*/ 204 w 384"/>
                <a:gd name="T5" fmla="*/ 60 h 489"/>
                <a:gd name="T6" fmla="*/ 384 w 384"/>
                <a:gd name="T7" fmla="*/ 71 h 489"/>
                <a:gd name="T8" fmla="*/ 364 w 384"/>
                <a:gd name="T9" fmla="*/ 23 h 489"/>
                <a:gd name="T10" fmla="*/ 232 w 384"/>
                <a:gd name="T11" fmla="*/ 0 h 489"/>
              </a:gdLst>
              <a:ahLst/>
              <a:cxnLst>
                <a:cxn ang="0">
                  <a:pos x="T0" y="T1"/>
                </a:cxn>
                <a:cxn ang="0">
                  <a:pos x="T2" y="T3"/>
                </a:cxn>
                <a:cxn ang="0">
                  <a:pos x="T4" y="T5"/>
                </a:cxn>
                <a:cxn ang="0">
                  <a:pos x="T6" y="T7"/>
                </a:cxn>
                <a:cxn ang="0">
                  <a:pos x="T8" y="T9"/>
                </a:cxn>
                <a:cxn ang="0">
                  <a:pos x="T10" y="T11"/>
                </a:cxn>
              </a:cxnLst>
              <a:rect l="0" t="0" r="r" b="b"/>
              <a:pathLst>
                <a:path w="384" h="489">
                  <a:moveTo>
                    <a:pt x="232" y="0"/>
                  </a:moveTo>
                  <a:lnTo>
                    <a:pt x="0" y="489"/>
                  </a:lnTo>
                  <a:lnTo>
                    <a:pt x="204" y="60"/>
                  </a:lnTo>
                  <a:lnTo>
                    <a:pt x="384" y="71"/>
                  </a:lnTo>
                  <a:lnTo>
                    <a:pt x="364" y="23"/>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1" name="Freeform 193"/>
            <p:cNvSpPr>
              <a:spLocks noEditPoints="1"/>
            </p:cNvSpPr>
            <p:nvPr userDrawn="1"/>
          </p:nvSpPr>
          <p:spPr bwMode="auto">
            <a:xfrm>
              <a:off x="108" y="345"/>
              <a:ext cx="256" cy="45"/>
            </a:xfrm>
            <a:custGeom>
              <a:avLst/>
              <a:gdLst>
                <a:gd name="T0" fmla="*/ 125 w 256"/>
                <a:gd name="T1" fmla="*/ 21 h 45"/>
                <a:gd name="T2" fmla="*/ 124 w 256"/>
                <a:gd name="T3" fmla="*/ 22 h 45"/>
                <a:gd name="T4" fmla="*/ 256 w 256"/>
                <a:gd name="T5" fmla="*/ 45 h 45"/>
                <a:gd name="T6" fmla="*/ 255 w 256"/>
                <a:gd name="T7" fmla="*/ 42 h 45"/>
                <a:gd name="T8" fmla="*/ 125 w 256"/>
                <a:gd name="T9" fmla="*/ 21 h 45"/>
                <a:gd name="T10" fmla="*/ 0 w 256"/>
                <a:gd name="T11" fmla="*/ 0 h 45"/>
                <a:gd name="T12" fmla="*/ 0 w 25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56" h="45">
                  <a:moveTo>
                    <a:pt x="125" y="21"/>
                  </a:moveTo>
                  <a:lnTo>
                    <a:pt x="124" y="22"/>
                  </a:lnTo>
                  <a:lnTo>
                    <a:pt x="256" y="45"/>
                  </a:lnTo>
                  <a:lnTo>
                    <a:pt x="255" y="42"/>
                  </a:lnTo>
                  <a:lnTo>
                    <a:pt x="125" y="21"/>
                  </a:lnTo>
                  <a:close/>
                  <a:moveTo>
                    <a:pt x="0" y="0"/>
                  </a:moveTo>
                  <a:lnTo>
                    <a:pt x="0"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2" name="Freeform 194"/>
            <p:cNvSpPr>
              <a:spLocks noEditPoints="1"/>
            </p:cNvSpPr>
            <p:nvPr userDrawn="1"/>
          </p:nvSpPr>
          <p:spPr bwMode="auto">
            <a:xfrm>
              <a:off x="108" y="345"/>
              <a:ext cx="256" cy="45"/>
            </a:xfrm>
            <a:custGeom>
              <a:avLst/>
              <a:gdLst>
                <a:gd name="T0" fmla="*/ 125 w 256"/>
                <a:gd name="T1" fmla="*/ 21 h 45"/>
                <a:gd name="T2" fmla="*/ 124 w 256"/>
                <a:gd name="T3" fmla="*/ 22 h 45"/>
                <a:gd name="T4" fmla="*/ 256 w 256"/>
                <a:gd name="T5" fmla="*/ 45 h 45"/>
                <a:gd name="T6" fmla="*/ 255 w 256"/>
                <a:gd name="T7" fmla="*/ 42 h 45"/>
                <a:gd name="T8" fmla="*/ 125 w 256"/>
                <a:gd name="T9" fmla="*/ 21 h 45"/>
                <a:gd name="T10" fmla="*/ 0 w 256"/>
                <a:gd name="T11" fmla="*/ 0 h 45"/>
                <a:gd name="T12" fmla="*/ 0 w 25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56" h="45">
                  <a:moveTo>
                    <a:pt x="125" y="21"/>
                  </a:moveTo>
                  <a:lnTo>
                    <a:pt x="124" y="22"/>
                  </a:lnTo>
                  <a:lnTo>
                    <a:pt x="256" y="45"/>
                  </a:lnTo>
                  <a:lnTo>
                    <a:pt x="255" y="42"/>
                  </a:lnTo>
                  <a:lnTo>
                    <a:pt x="125" y="21"/>
                  </a:lnTo>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3" name="Freeform 195"/>
            <p:cNvSpPr>
              <a:spLocks/>
            </p:cNvSpPr>
            <p:nvPr userDrawn="1"/>
          </p:nvSpPr>
          <p:spPr bwMode="auto">
            <a:xfrm>
              <a:off x="0" y="345"/>
              <a:ext cx="233" cy="511"/>
            </a:xfrm>
            <a:custGeom>
              <a:avLst/>
              <a:gdLst>
                <a:gd name="T0" fmla="*/ 108 w 233"/>
                <a:gd name="T1" fmla="*/ 0 h 511"/>
                <a:gd name="T2" fmla="*/ 0 w 233"/>
                <a:gd name="T3" fmla="*/ 511 h 511"/>
                <a:gd name="T4" fmla="*/ 232 w 233"/>
                <a:gd name="T5" fmla="*/ 22 h 511"/>
                <a:gd name="T6" fmla="*/ 233 w 233"/>
                <a:gd name="T7" fmla="*/ 21 h 511"/>
                <a:gd name="T8" fmla="*/ 108 w 233"/>
                <a:gd name="T9" fmla="*/ 0 h 511"/>
              </a:gdLst>
              <a:ahLst/>
              <a:cxnLst>
                <a:cxn ang="0">
                  <a:pos x="T0" y="T1"/>
                </a:cxn>
                <a:cxn ang="0">
                  <a:pos x="T2" y="T3"/>
                </a:cxn>
                <a:cxn ang="0">
                  <a:pos x="T4" y="T5"/>
                </a:cxn>
                <a:cxn ang="0">
                  <a:pos x="T6" y="T7"/>
                </a:cxn>
                <a:cxn ang="0">
                  <a:pos x="T8" y="T9"/>
                </a:cxn>
              </a:cxnLst>
              <a:rect l="0" t="0" r="r" b="b"/>
              <a:pathLst>
                <a:path w="233" h="511">
                  <a:moveTo>
                    <a:pt x="108" y="0"/>
                  </a:moveTo>
                  <a:lnTo>
                    <a:pt x="0" y="511"/>
                  </a:lnTo>
                  <a:lnTo>
                    <a:pt x="232" y="22"/>
                  </a:lnTo>
                  <a:lnTo>
                    <a:pt x="233" y="21"/>
                  </a:lnTo>
                  <a:lnTo>
                    <a:pt x="108"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4" name="Freeform 196"/>
            <p:cNvSpPr>
              <a:spLocks/>
            </p:cNvSpPr>
            <p:nvPr userDrawn="1"/>
          </p:nvSpPr>
          <p:spPr bwMode="auto">
            <a:xfrm>
              <a:off x="0" y="345"/>
              <a:ext cx="233" cy="511"/>
            </a:xfrm>
            <a:custGeom>
              <a:avLst/>
              <a:gdLst>
                <a:gd name="T0" fmla="*/ 108 w 233"/>
                <a:gd name="T1" fmla="*/ 0 h 511"/>
                <a:gd name="T2" fmla="*/ 0 w 233"/>
                <a:gd name="T3" fmla="*/ 511 h 511"/>
                <a:gd name="T4" fmla="*/ 232 w 233"/>
                <a:gd name="T5" fmla="*/ 22 h 511"/>
                <a:gd name="T6" fmla="*/ 233 w 233"/>
                <a:gd name="T7" fmla="*/ 21 h 511"/>
                <a:gd name="T8" fmla="*/ 108 w 233"/>
                <a:gd name="T9" fmla="*/ 0 h 511"/>
              </a:gdLst>
              <a:ahLst/>
              <a:cxnLst>
                <a:cxn ang="0">
                  <a:pos x="T0" y="T1"/>
                </a:cxn>
                <a:cxn ang="0">
                  <a:pos x="T2" y="T3"/>
                </a:cxn>
                <a:cxn ang="0">
                  <a:pos x="T4" y="T5"/>
                </a:cxn>
                <a:cxn ang="0">
                  <a:pos x="T6" y="T7"/>
                </a:cxn>
                <a:cxn ang="0">
                  <a:pos x="T8" y="T9"/>
                </a:cxn>
              </a:cxnLst>
              <a:rect l="0" t="0" r="r" b="b"/>
              <a:pathLst>
                <a:path w="233" h="511">
                  <a:moveTo>
                    <a:pt x="108" y="0"/>
                  </a:moveTo>
                  <a:lnTo>
                    <a:pt x="0" y="511"/>
                  </a:lnTo>
                  <a:lnTo>
                    <a:pt x="232" y="22"/>
                  </a:lnTo>
                  <a:lnTo>
                    <a:pt x="233" y="21"/>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5" name="Oval 197"/>
            <p:cNvSpPr>
              <a:spLocks noChangeArrowheads="1"/>
            </p:cNvSpPr>
            <p:nvPr userDrawn="1"/>
          </p:nvSpPr>
          <p:spPr bwMode="auto">
            <a:xfrm>
              <a:off x="126" y="380"/>
              <a:ext cx="30" cy="30"/>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sp>
          <p:nvSpPr>
            <p:cNvPr id="66" name="Freeform 198"/>
            <p:cNvSpPr>
              <a:spLocks/>
            </p:cNvSpPr>
            <p:nvPr userDrawn="1"/>
          </p:nvSpPr>
          <p:spPr bwMode="auto">
            <a:xfrm>
              <a:off x="649" y="109"/>
              <a:ext cx="136" cy="674"/>
            </a:xfrm>
            <a:custGeom>
              <a:avLst/>
              <a:gdLst>
                <a:gd name="T0" fmla="*/ 276 w 288"/>
                <a:gd name="T1" fmla="*/ 0 h 1431"/>
                <a:gd name="T2" fmla="*/ 151 w 288"/>
                <a:gd name="T3" fmla="*/ 344 h 1431"/>
                <a:gd name="T4" fmla="*/ 0 w 288"/>
                <a:gd name="T5" fmla="*/ 1431 h 1431"/>
                <a:gd name="T6" fmla="*/ 14 w 288"/>
                <a:gd name="T7" fmla="*/ 1396 h 1431"/>
                <a:gd name="T8" fmla="*/ 164 w 288"/>
                <a:gd name="T9" fmla="*/ 349 h 1431"/>
                <a:gd name="T10" fmla="*/ 288 w 288"/>
                <a:gd name="T11" fmla="*/ 7 h 1431"/>
                <a:gd name="T12" fmla="*/ 288 w 288"/>
                <a:gd name="T13" fmla="*/ 6 h 1431"/>
                <a:gd name="T14" fmla="*/ 276 w 288"/>
                <a:gd name="T15" fmla="*/ 0 h 1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431">
                  <a:moveTo>
                    <a:pt x="276" y="0"/>
                  </a:moveTo>
                  <a:cubicBezTo>
                    <a:pt x="242" y="76"/>
                    <a:pt x="195" y="195"/>
                    <a:pt x="151" y="344"/>
                  </a:cubicBezTo>
                  <a:cubicBezTo>
                    <a:pt x="82" y="579"/>
                    <a:pt x="2" y="954"/>
                    <a:pt x="0" y="1431"/>
                  </a:cubicBezTo>
                  <a:cubicBezTo>
                    <a:pt x="14" y="1396"/>
                    <a:pt x="14" y="1396"/>
                    <a:pt x="14" y="1396"/>
                  </a:cubicBezTo>
                  <a:cubicBezTo>
                    <a:pt x="19" y="937"/>
                    <a:pt x="97" y="576"/>
                    <a:pt x="164" y="349"/>
                  </a:cubicBezTo>
                  <a:cubicBezTo>
                    <a:pt x="210" y="191"/>
                    <a:pt x="257" y="76"/>
                    <a:pt x="288" y="7"/>
                  </a:cubicBezTo>
                  <a:cubicBezTo>
                    <a:pt x="288" y="6"/>
                    <a:pt x="288" y="6"/>
                    <a:pt x="288" y="6"/>
                  </a:cubicBezTo>
                  <a:lnTo>
                    <a:pt x="276"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US" sz="1800">
                <a:solidFill>
                  <a:srgbClr val="FFFFFF"/>
                </a:solidFill>
              </a:endParaRPr>
            </a:p>
          </p:txBody>
        </p:sp>
      </p:grpSp>
    </p:spTree>
    <p:extLst>
      <p:ext uri="{BB962C8B-B14F-4D97-AF65-F5344CB8AC3E}">
        <p14:creationId xmlns:p14="http://schemas.microsoft.com/office/powerpoint/2010/main" val="44721310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2"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123" y="1674865"/>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436425"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6" y="1674865"/>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4778927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userDrawn="1">
          <p15:clr>
            <a:srgbClr val="FBAE40"/>
          </p15:clr>
        </p15:guide>
        <p15:guide id="2" pos="2570" userDrawn="1">
          <p15:clr>
            <a:srgbClr val="FBAE40"/>
          </p15:clr>
        </p15:guide>
        <p15:guide id="3" pos="2864" userDrawn="1">
          <p15:clr>
            <a:srgbClr val="FBAE40"/>
          </p15:clr>
        </p15:guide>
        <p15:guide id="4" pos="5264"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4820" y="1547516"/>
            <a:ext cx="9128760" cy="1640184"/>
          </a:xfrm>
          <a:noFill/>
        </p:spPr>
        <p:txBody>
          <a:bodyPr wrap="square" tIns="91440" bIns="91440" anchor="ctr" anchorCtr="0">
            <a:noAutofit/>
          </a:bodyPr>
          <a:lstStyle>
            <a:lvl1pPr>
              <a:defRPr sz="7198" spc="-100" baseline="0">
                <a:gradFill>
                  <a:gsLst>
                    <a:gs pos="100000">
                      <a:schemeClr val="tx1"/>
                    </a:gs>
                    <a:gs pos="0">
                      <a:schemeClr val="tx1"/>
                    </a:gs>
                  </a:gsLst>
                  <a:lin ang="5400000" scaled="0"/>
                </a:gradFill>
              </a:defRPr>
            </a:lvl1pPr>
          </a:lstStyle>
          <a:p>
            <a:r>
              <a:rPr lang="en-US"/>
              <a:t>Section title</a:t>
            </a:r>
          </a:p>
        </p:txBody>
      </p:sp>
      <p:grpSp>
        <p:nvGrpSpPr>
          <p:cNvPr id="161" name="Group 160"/>
          <p:cNvGrpSpPr/>
          <p:nvPr userDrawn="1"/>
        </p:nvGrpSpPr>
        <p:grpSpPr>
          <a:xfrm>
            <a:off x="10085034" y="1652816"/>
            <a:ext cx="1894242" cy="4862285"/>
            <a:chOff x="8359775" y="3344863"/>
            <a:chExt cx="747713" cy="1919287"/>
          </a:xfrm>
        </p:grpSpPr>
        <p:sp>
          <p:nvSpPr>
            <p:cNvPr id="126" name="Rectangle 7"/>
            <p:cNvSpPr>
              <a:spLocks noChangeArrowheads="1"/>
            </p:cNvSpPr>
            <p:nvPr userDrawn="1"/>
          </p:nvSpPr>
          <p:spPr bwMode="auto">
            <a:xfrm>
              <a:off x="8359775" y="4222750"/>
              <a:ext cx="307975" cy="104140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27" name="Rectangle 8"/>
            <p:cNvSpPr>
              <a:spLocks noChangeArrowheads="1"/>
            </p:cNvSpPr>
            <p:nvPr userDrawn="1"/>
          </p:nvSpPr>
          <p:spPr bwMode="auto">
            <a:xfrm>
              <a:off x="8801100" y="4222750"/>
              <a:ext cx="306388" cy="104140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28" name="Rectangle 9"/>
            <p:cNvSpPr>
              <a:spLocks noChangeArrowheads="1"/>
            </p:cNvSpPr>
            <p:nvPr userDrawn="1"/>
          </p:nvSpPr>
          <p:spPr bwMode="auto">
            <a:xfrm>
              <a:off x="8359775" y="4908550"/>
              <a:ext cx="153988"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29" name="Rectangle 10"/>
            <p:cNvSpPr>
              <a:spLocks noChangeArrowheads="1"/>
            </p:cNvSpPr>
            <p:nvPr userDrawn="1"/>
          </p:nvSpPr>
          <p:spPr bwMode="auto">
            <a:xfrm>
              <a:off x="8359775" y="4995863"/>
              <a:ext cx="15398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0" name="Rectangle 11"/>
            <p:cNvSpPr>
              <a:spLocks noChangeArrowheads="1"/>
            </p:cNvSpPr>
            <p:nvPr userDrawn="1"/>
          </p:nvSpPr>
          <p:spPr bwMode="auto">
            <a:xfrm>
              <a:off x="8359775" y="5080000"/>
              <a:ext cx="153988"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1" name="Rectangle 12"/>
            <p:cNvSpPr>
              <a:spLocks noChangeArrowheads="1"/>
            </p:cNvSpPr>
            <p:nvPr userDrawn="1"/>
          </p:nvSpPr>
          <p:spPr bwMode="auto">
            <a:xfrm>
              <a:off x="8359775" y="5167313"/>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2" name="Rectangle 13"/>
            <p:cNvSpPr>
              <a:spLocks noChangeArrowheads="1"/>
            </p:cNvSpPr>
            <p:nvPr userDrawn="1"/>
          </p:nvSpPr>
          <p:spPr bwMode="auto">
            <a:xfrm>
              <a:off x="8359775" y="5251450"/>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3" name="Rectangle 14"/>
            <p:cNvSpPr>
              <a:spLocks noChangeArrowheads="1"/>
            </p:cNvSpPr>
            <p:nvPr userDrawn="1"/>
          </p:nvSpPr>
          <p:spPr bwMode="auto">
            <a:xfrm>
              <a:off x="8359775" y="4822825"/>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4" name="Rectangle 15"/>
            <p:cNvSpPr>
              <a:spLocks noChangeArrowheads="1"/>
            </p:cNvSpPr>
            <p:nvPr userDrawn="1"/>
          </p:nvSpPr>
          <p:spPr bwMode="auto">
            <a:xfrm>
              <a:off x="8359775" y="4738688"/>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5" name="Rectangle 16"/>
            <p:cNvSpPr>
              <a:spLocks noChangeArrowheads="1"/>
            </p:cNvSpPr>
            <p:nvPr userDrawn="1"/>
          </p:nvSpPr>
          <p:spPr bwMode="auto">
            <a:xfrm>
              <a:off x="8359775" y="4651375"/>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6" name="Rectangle 17"/>
            <p:cNvSpPr>
              <a:spLocks noChangeArrowheads="1"/>
            </p:cNvSpPr>
            <p:nvPr userDrawn="1"/>
          </p:nvSpPr>
          <p:spPr bwMode="auto">
            <a:xfrm>
              <a:off x="8359775" y="4567238"/>
              <a:ext cx="15398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7" name="Rectangle 18"/>
            <p:cNvSpPr>
              <a:spLocks noChangeArrowheads="1"/>
            </p:cNvSpPr>
            <p:nvPr userDrawn="1"/>
          </p:nvSpPr>
          <p:spPr bwMode="auto">
            <a:xfrm>
              <a:off x="8359775" y="4479925"/>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8" name="Rectangle 19"/>
            <p:cNvSpPr>
              <a:spLocks noChangeArrowheads="1"/>
            </p:cNvSpPr>
            <p:nvPr userDrawn="1"/>
          </p:nvSpPr>
          <p:spPr bwMode="auto">
            <a:xfrm>
              <a:off x="8359775" y="4392613"/>
              <a:ext cx="153988"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9" name="Rectangle 20"/>
            <p:cNvSpPr>
              <a:spLocks noChangeArrowheads="1"/>
            </p:cNvSpPr>
            <p:nvPr userDrawn="1"/>
          </p:nvSpPr>
          <p:spPr bwMode="auto">
            <a:xfrm>
              <a:off x="8359775" y="4308475"/>
              <a:ext cx="15398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0" name="Rectangle 21"/>
            <p:cNvSpPr>
              <a:spLocks noChangeArrowheads="1"/>
            </p:cNvSpPr>
            <p:nvPr userDrawn="1"/>
          </p:nvSpPr>
          <p:spPr bwMode="auto">
            <a:xfrm>
              <a:off x="8359775" y="4222750"/>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1" name="Rectangle 22"/>
            <p:cNvSpPr>
              <a:spLocks noChangeArrowheads="1"/>
            </p:cNvSpPr>
            <p:nvPr userDrawn="1"/>
          </p:nvSpPr>
          <p:spPr bwMode="auto">
            <a:xfrm>
              <a:off x="8953500" y="4908550"/>
              <a:ext cx="153988"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2" name="Rectangle 23"/>
            <p:cNvSpPr>
              <a:spLocks noChangeArrowheads="1"/>
            </p:cNvSpPr>
            <p:nvPr userDrawn="1"/>
          </p:nvSpPr>
          <p:spPr bwMode="auto">
            <a:xfrm>
              <a:off x="8953500" y="4995863"/>
              <a:ext cx="15398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3" name="Rectangle 24"/>
            <p:cNvSpPr>
              <a:spLocks noChangeArrowheads="1"/>
            </p:cNvSpPr>
            <p:nvPr userDrawn="1"/>
          </p:nvSpPr>
          <p:spPr bwMode="auto">
            <a:xfrm>
              <a:off x="8953500" y="5080000"/>
              <a:ext cx="153988"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4" name="Rectangle 25"/>
            <p:cNvSpPr>
              <a:spLocks noChangeArrowheads="1"/>
            </p:cNvSpPr>
            <p:nvPr userDrawn="1"/>
          </p:nvSpPr>
          <p:spPr bwMode="auto">
            <a:xfrm>
              <a:off x="8953500" y="5167313"/>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5" name="Rectangle 26"/>
            <p:cNvSpPr>
              <a:spLocks noChangeArrowheads="1"/>
            </p:cNvSpPr>
            <p:nvPr userDrawn="1"/>
          </p:nvSpPr>
          <p:spPr bwMode="auto">
            <a:xfrm>
              <a:off x="8953500" y="5251450"/>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6" name="Rectangle 27"/>
            <p:cNvSpPr>
              <a:spLocks noChangeArrowheads="1"/>
            </p:cNvSpPr>
            <p:nvPr userDrawn="1"/>
          </p:nvSpPr>
          <p:spPr bwMode="auto">
            <a:xfrm>
              <a:off x="8953500" y="4822825"/>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7" name="Rectangle 28"/>
            <p:cNvSpPr>
              <a:spLocks noChangeArrowheads="1"/>
            </p:cNvSpPr>
            <p:nvPr userDrawn="1"/>
          </p:nvSpPr>
          <p:spPr bwMode="auto">
            <a:xfrm>
              <a:off x="8953500" y="4738688"/>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8" name="Rectangle 29"/>
            <p:cNvSpPr>
              <a:spLocks noChangeArrowheads="1"/>
            </p:cNvSpPr>
            <p:nvPr userDrawn="1"/>
          </p:nvSpPr>
          <p:spPr bwMode="auto">
            <a:xfrm>
              <a:off x="8953500" y="4651375"/>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9" name="Rectangle 30"/>
            <p:cNvSpPr>
              <a:spLocks noChangeArrowheads="1"/>
            </p:cNvSpPr>
            <p:nvPr userDrawn="1"/>
          </p:nvSpPr>
          <p:spPr bwMode="auto">
            <a:xfrm>
              <a:off x="8953500" y="4567238"/>
              <a:ext cx="15398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0" name="Rectangle 31"/>
            <p:cNvSpPr>
              <a:spLocks noChangeArrowheads="1"/>
            </p:cNvSpPr>
            <p:nvPr userDrawn="1"/>
          </p:nvSpPr>
          <p:spPr bwMode="auto">
            <a:xfrm>
              <a:off x="8953500" y="4479925"/>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1" name="Rectangle 32"/>
            <p:cNvSpPr>
              <a:spLocks noChangeArrowheads="1"/>
            </p:cNvSpPr>
            <p:nvPr userDrawn="1"/>
          </p:nvSpPr>
          <p:spPr bwMode="auto">
            <a:xfrm>
              <a:off x="8953500" y="4392613"/>
              <a:ext cx="153988"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2" name="Rectangle 33"/>
            <p:cNvSpPr>
              <a:spLocks noChangeArrowheads="1"/>
            </p:cNvSpPr>
            <p:nvPr userDrawn="1"/>
          </p:nvSpPr>
          <p:spPr bwMode="auto">
            <a:xfrm>
              <a:off x="8953500" y="4308475"/>
              <a:ext cx="15398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3" name="Rectangle 34"/>
            <p:cNvSpPr>
              <a:spLocks noChangeArrowheads="1"/>
            </p:cNvSpPr>
            <p:nvPr userDrawn="1"/>
          </p:nvSpPr>
          <p:spPr bwMode="auto">
            <a:xfrm>
              <a:off x="8953500" y="4222750"/>
              <a:ext cx="153988" cy="12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4" name="Freeform 35"/>
            <p:cNvSpPr>
              <a:spLocks/>
            </p:cNvSpPr>
            <p:nvPr userDrawn="1"/>
          </p:nvSpPr>
          <p:spPr bwMode="auto">
            <a:xfrm>
              <a:off x="8502650" y="4222750"/>
              <a:ext cx="515938" cy="950913"/>
            </a:xfrm>
            <a:custGeom>
              <a:avLst/>
              <a:gdLst>
                <a:gd name="T0" fmla="*/ 146 w 232"/>
                <a:gd name="T1" fmla="*/ 0 h 428"/>
                <a:gd name="T2" fmla="*/ 87 w 232"/>
                <a:gd name="T3" fmla="*/ 0 h 428"/>
                <a:gd name="T4" fmla="*/ 87 w 232"/>
                <a:gd name="T5" fmla="*/ 329 h 428"/>
                <a:gd name="T6" fmla="*/ 50 w 232"/>
                <a:gd name="T7" fmla="*/ 365 h 428"/>
                <a:gd name="T8" fmla="*/ 50 w 232"/>
                <a:gd name="T9" fmla="*/ 329 h 428"/>
                <a:gd name="T10" fmla="*/ 0 w 232"/>
                <a:gd name="T11" fmla="*/ 378 h 428"/>
                <a:gd name="T12" fmla="*/ 50 w 232"/>
                <a:gd name="T13" fmla="*/ 428 h 428"/>
                <a:gd name="T14" fmla="*/ 50 w 232"/>
                <a:gd name="T15" fmla="*/ 395 h 428"/>
                <a:gd name="T16" fmla="*/ 182 w 232"/>
                <a:gd name="T17" fmla="*/ 395 h 428"/>
                <a:gd name="T18" fmla="*/ 182 w 232"/>
                <a:gd name="T19" fmla="*/ 428 h 428"/>
                <a:gd name="T20" fmla="*/ 232 w 232"/>
                <a:gd name="T21" fmla="*/ 378 h 428"/>
                <a:gd name="T22" fmla="*/ 182 w 232"/>
                <a:gd name="T23" fmla="*/ 329 h 428"/>
                <a:gd name="T24" fmla="*/ 182 w 232"/>
                <a:gd name="T25" fmla="*/ 365 h 428"/>
                <a:gd name="T26" fmla="*/ 146 w 232"/>
                <a:gd name="T27" fmla="*/ 329 h 428"/>
                <a:gd name="T28" fmla="*/ 146 w 232"/>
                <a:gd name="T29"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428">
                  <a:moveTo>
                    <a:pt x="146" y="0"/>
                  </a:moveTo>
                  <a:cubicBezTo>
                    <a:pt x="87" y="0"/>
                    <a:pt x="87" y="0"/>
                    <a:pt x="87" y="0"/>
                  </a:cubicBezTo>
                  <a:cubicBezTo>
                    <a:pt x="87" y="329"/>
                    <a:pt x="87" y="329"/>
                    <a:pt x="87" y="329"/>
                  </a:cubicBezTo>
                  <a:cubicBezTo>
                    <a:pt x="87" y="349"/>
                    <a:pt x="70" y="365"/>
                    <a:pt x="50" y="365"/>
                  </a:cubicBezTo>
                  <a:cubicBezTo>
                    <a:pt x="50" y="329"/>
                    <a:pt x="50" y="329"/>
                    <a:pt x="50" y="329"/>
                  </a:cubicBezTo>
                  <a:cubicBezTo>
                    <a:pt x="0" y="378"/>
                    <a:pt x="0" y="378"/>
                    <a:pt x="0" y="378"/>
                  </a:cubicBezTo>
                  <a:cubicBezTo>
                    <a:pt x="50" y="428"/>
                    <a:pt x="50" y="428"/>
                    <a:pt x="50" y="428"/>
                  </a:cubicBezTo>
                  <a:cubicBezTo>
                    <a:pt x="50" y="395"/>
                    <a:pt x="50" y="395"/>
                    <a:pt x="50" y="395"/>
                  </a:cubicBezTo>
                  <a:cubicBezTo>
                    <a:pt x="182" y="395"/>
                    <a:pt x="182" y="395"/>
                    <a:pt x="182" y="395"/>
                  </a:cubicBezTo>
                  <a:cubicBezTo>
                    <a:pt x="182" y="428"/>
                    <a:pt x="182" y="428"/>
                    <a:pt x="182" y="428"/>
                  </a:cubicBezTo>
                  <a:cubicBezTo>
                    <a:pt x="232" y="378"/>
                    <a:pt x="232" y="378"/>
                    <a:pt x="232" y="378"/>
                  </a:cubicBezTo>
                  <a:cubicBezTo>
                    <a:pt x="182" y="329"/>
                    <a:pt x="182" y="329"/>
                    <a:pt x="182" y="329"/>
                  </a:cubicBezTo>
                  <a:cubicBezTo>
                    <a:pt x="182" y="365"/>
                    <a:pt x="182" y="365"/>
                    <a:pt x="182" y="365"/>
                  </a:cubicBezTo>
                  <a:cubicBezTo>
                    <a:pt x="162" y="365"/>
                    <a:pt x="146" y="349"/>
                    <a:pt x="146" y="329"/>
                  </a:cubicBezTo>
                  <a:lnTo>
                    <a:pt x="14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5" name="Freeform 36"/>
            <p:cNvSpPr>
              <a:spLocks/>
            </p:cNvSpPr>
            <p:nvPr userDrawn="1"/>
          </p:nvSpPr>
          <p:spPr bwMode="auto">
            <a:xfrm>
              <a:off x="8475663" y="4064000"/>
              <a:ext cx="515938" cy="1082675"/>
            </a:xfrm>
            <a:custGeom>
              <a:avLst/>
              <a:gdLst>
                <a:gd name="T0" fmla="*/ 146 w 232"/>
                <a:gd name="T1" fmla="*/ 0 h 487"/>
                <a:gd name="T2" fmla="*/ 86 w 232"/>
                <a:gd name="T3" fmla="*/ 0 h 487"/>
                <a:gd name="T4" fmla="*/ 86 w 232"/>
                <a:gd name="T5" fmla="*/ 387 h 487"/>
                <a:gd name="T6" fmla="*/ 50 w 232"/>
                <a:gd name="T7" fmla="*/ 424 h 487"/>
                <a:gd name="T8" fmla="*/ 50 w 232"/>
                <a:gd name="T9" fmla="*/ 387 h 487"/>
                <a:gd name="T10" fmla="*/ 0 w 232"/>
                <a:gd name="T11" fmla="*/ 437 h 487"/>
                <a:gd name="T12" fmla="*/ 50 w 232"/>
                <a:gd name="T13" fmla="*/ 487 h 487"/>
                <a:gd name="T14" fmla="*/ 50 w 232"/>
                <a:gd name="T15" fmla="*/ 454 h 487"/>
                <a:gd name="T16" fmla="*/ 182 w 232"/>
                <a:gd name="T17" fmla="*/ 454 h 487"/>
                <a:gd name="T18" fmla="*/ 182 w 232"/>
                <a:gd name="T19" fmla="*/ 487 h 487"/>
                <a:gd name="T20" fmla="*/ 232 w 232"/>
                <a:gd name="T21" fmla="*/ 437 h 487"/>
                <a:gd name="T22" fmla="*/ 182 w 232"/>
                <a:gd name="T23" fmla="*/ 387 h 487"/>
                <a:gd name="T24" fmla="*/ 182 w 232"/>
                <a:gd name="T25" fmla="*/ 424 h 487"/>
                <a:gd name="T26" fmla="*/ 146 w 232"/>
                <a:gd name="T27" fmla="*/ 387 h 487"/>
                <a:gd name="T28" fmla="*/ 146 w 232"/>
                <a:gd name="T29"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487">
                  <a:moveTo>
                    <a:pt x="146" y="0"/>
                  </a:moveTo>
                  <a:cubicBezTo>
                    <a:pt x="86" y="0"/>
                    <a:pt x="86" y="0"/>
                    <a:pt x="86" y="0"/>
                  </a:cubicBezTo>
                  <a:cubicBezTo>
                    <a:pt x="86" y="387"/>
                    <a:pt x="86" y="387"/>
                    <a:pt x="86" y="387"/>
                  </a:cubicBezTo>
                  <a:cubicBezTo>
                    <a:pt x="86" y="407"/>
                    <a:pt x="70" y="424"/>
                    <a:pt x="50" y="424"/>
                  </a:cubicBezTo>
                  <a:cubicBezTo>
                    <a:pt x="50" y="387"/>
                    <a:pt x="50" y="387"/>
                    <a:pt x="50" y="387"/>
                  </a:cubicBezTo>
                  <a:cubicBezTo>
                    <a:pt x="0" y="437"/>
                    <a:pt x="0" y="437"/>
                    <a:pt x="0" y="437"/>
                  </a:cubicBezTo>
                  <a:cubicBezTo>
                    <a:pt x="50" y="487"/>
                    <a:pt x="50" y="487"/>
                    <a:pt x="50" y="487"/>
                  </a:cubicBezTo>
                  <a:cubicBezTo>
                    <a:pt x="50" y="454"/>
                    <a:pt x="50" y="454"/>
                    <a:pt x="50" y="454"/>
                  </a:cubicBezTo>
                  <a:cubicBezTo>
                    <a:pt x="182" y="454"/>
                    <a:pt x="182" y="454"/>
                    <a:pt x="182" y="454"/>
                  </a:cubicBezTo>
                  <a:cubicBezTo>
                    <a:pt x="182" y="487"/>
                    <a:pt x="182" y="487"/>
                    <a:pt x="182" y="487"/>
                  </a:cubicBezTo>
                  <a:cubicBezTo>
                    <a:pt x="232" y="437"/>
                    <a:pt x="232" y="437"/>
                    <a:pt x="232" y="437"/>
                  </a:cubicBezTo>
                  <a:cubicBezTo>
                    <a:pt x="182" y="387"/>
                    <a:pt x="182" y="387"/>
                    <a:pt x="182" y="387"/>
                  </a:cubicBezTo>
                  <a:cubicBezTo>
                    <a:pt x="182" y="424"/>
                    <a:pt x="182" y="424"/>
                    <a:pt x="182" y="424"/>
                  </a:cubicBezTo>
                  <a:cubicBezTo>
                    <a:pt x="162" y="424"/>
                    <a:pt x="146" y="407"/>
                    <a:pt x="146" y="387"/>
                  </a:cubicBezTo>
                  <a:lnTo>
                    <a:pt x="146"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6" name="Freeform 37"/>
            <p:cNvSpPr>
              <a:spLocks/>
            </p:cNvSpPr>
            <p:nvPr userDrawn="1"/>
          </p:nvSpPr>
          <p:spPr bwMode="auto">
            <a:xfrm>
              <a:off x="8448675" y="3848100"/>
              <a:ext cx="571500" cy="215900"/>
            </a:xfrm>
            <a:custGeom>
              <a:avLst/>
              <a:gdLst>
                <a:gd name="T0" fmla="*/ 158 w 257"/>
                <a:gd name="T1" fmla="*/ 97 h 97"/>
                <a:gd name="T2" fmla="*/ 257 w 257"/>
                <a:gd name="T3" fmla="*/ 0 h 97"/>
                <a:gd name="T4" fmla="*/ 0 w 257"/>
                <a:gd name="T5" fmla="*/ 0 h 97"/>
                <a:gd name="T6" fmla="*/ 98 w 257"/>
                <a:gd name="T7" fmla="*/ 97 h 97"/>
                <a:gd name="T8" fmla="*/ 158 w 257"/>
                <a:gd name="T9" fmla="*/ 97 h 97"/>
              </a:gdLst>
              <a:ahLst/>
              <a:cxnLst>
                <a:cxn ang="0">
                  <a:pos x="T0" y="T1"/>
                </a:cxn>
                <a:cxn ang="0">
                  <a:pos x="T2" y="T3"/>
                </a:cxn>
                <a:cxn ang="0">
                  <a:pos x="T4" y="T5"/>
                </a:cxn>
                <a:cxn ang="0">
                  <a:pos x="T6" y="T7"/>
                </a:cxn>
                <a:cxn ang="0">
                  <a:pos x="T8" y="T9"/>
                </a:cxn>
              </a:cxnLst>
              <a:rect l="0" t="0" r="r" b="b"/>
              <a:pathLst>
                <a:path w="257" h="97">
                  <a:moveTo>
                    <a:pt x="158" y="97"/>
                  </a:moveTo>
                  <a:cubicBezTo>
                    <a:pt x="158" y="43"/>
                    <a:pt x="202" y="0"/>
                    <a:pt x="257" y="0"/>
                  </a:cubicBezTo>
                  <a:cubicBezTo>
                    <a:pt x="0" y="0"/>
                    <a:pt x="0" y="0"/>
                    <a:pt x="0" y="0"/>
                  </a:cubicBezTo>
                  <a:cubicBezTo>
                    <a:pt x="54" y="0"/>
                    <a:pt x="98" y="43"/>
                    <a:pt x="98" y="97"/>
                  </a:cubicBezTo>
                  <a:lnTo>
                    <a:pt x="158" y="9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7" name="Rectangle 38"/>
            <p:cNvSpPr>
              <a:spLocks noChangeArrowheads="1"/>
            </p:cNvSpPr>
            <p:nvPr userDrawn="1"/>
          </p:nvSpPr>
          <p:spPr bwMode="auto">
            <a:xfrm>
              <a:off x="8413750" y="3824288"/>
              <a:ext cx="644525" cy="23813"/>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8" name="Freeform 39"/>
            <p:cNvSpPr>
              <a:spLocks/>
            </p:cNvSpPr>
            <p:nvPr userDrawn="1"/>
          </p:nvSpPr>
          <p:spPr bwMode="auto">
            <a:xfrm>
              <a:off x="8542338" y="3344863"/>
              <a:ext cx="366713" cy="417513"/>
            </a:xfrm>
            <a:custGeom>
              <a:avLst/>
              <a:gdLst>
                <a:gd name="T0" fmla="*/ 165 w 165"/>
                <a:gd name="T1" fmla="*/ 100 h 188"/>
                <a:gd name="T2" fmla="*/ 163 w 165"/>
                <a:gd name="T3" fmla="*/ 99 h 188"/>
                <a:gd name="T4" fmla="*/ 141 w 165"/>
                <a:gd name="T5" fmla="*/ 99 h 188"/>
                <a:gd name="T6" fmla="*/ 140 w 165"/>
                <a:gd name="T7" fmla="*/ 101 h 188"/>
                <a:gd name="T8" fmla="*/ 140 w 165"/>
                <a:gd name="T9" fmla="*/ 101 h 188"/>
                <a:gd name="T10" fmla="*/ 127 w 165"/>
                <a:gd name="T11" fmla="*/ 137 h 188"/>
                <a:gd name="T12" fmla="*/ 49 w 165"/>
                <a:gd name="T13" fmla="*/ 140 h 188"/>
                <a:gd name="T14" fmla="*/ 45 w 165"/>
                <a:gd name="T15" fmla="*/ 64 h 188"/>
                <a:gd name="T16" fmla="*/ 77 w 165"/>
                <a:gd name="T17" fmla="*/ 49 h 188"/>
                <a:gd name="T18" fmla="*/ 84 w 165"/>
                <a:gd name="T19" fmla="*/ 47 h 188"/>
                <a:gd name="T20" fmla="*/ 84 w 165"/>
                <a:gd name="T21" fmla="*/ 70 h 188"/>
                <a:gd name="T22" fmla="*/ 131 w 165"/>
                <a:gd name="T23" fmla="*/ 36 h 188"/>
                <a:gd name="T24" fmla="*/ 86 w 165"/>
                <a:gd name="T25" fmla="*/ 0 h 188"/>
                <a:gd name="T26" fmla="*/ 85 w 165"/>
                <a:gd name="T27" fmla="*/ 24 h 188"/>
                <a:gd name="T28" fmla="*/ 79 w 165"/>
                <a:gd name="T29" fmla="*/ 24 h 188"/>
                <a:gd name="T30" fmla="*/ 28 w 165"/>
                <a:gd name="T31" fmla="*/ 49 h 188"/>
                <a:gd name="T32" fmla="*/ 33 w 165"/>
                <a:gd name="T33" fmla="*/ 158 h 188"/>
                <a:gd name="T34" fmla="*/ 33 w 165"/>
                <a:gd name="T35" fmla="*/ 158 h 188"/>
                <a:gd name="T36" fmla="*/ 143 w 165"/>
                <a:gd name="T37" fmla="*/ 152 h 188"/>
                <a:gd name="T38" fmla="*/ 165 w 165"/>
                <a:gd name="T39" fmla="*/ 10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 h="188">
                  <a:moveTo>
                    <a:pt x="165" y="100"/>
                  </a:moveTo>
                  <a:cubicBezTo>
                    <a:pt x="163" y="99"/>
                    <a:pt x="163" y="99"/>
                    <a:pt x="163" y="99"/>
                  </a:cubicBezTo>
                  <a:cubicBezTo>
                    <a:pt x="141" y="99"/>
                    <a:pt x="141" y="99"/>
                    <a:pt x="141" y="99"/>
                  </a:cubicBezTo>
                  <a:cubicBezTo>
                    <a:pt x="140" y="101"/>
                    <a:pt x="140" y="101"/>
                    <a:pt x="140" y="101"/>
                  </a:cubicBezTo>
                  <a:cubicBezTo>
                    <a:pt x="140" y="101"/>
                    <a:pt x="140" y="101"/>
                    <a:pt x="140" y="101"/>
                  </a:cubicBezTo>
                  <a:cubicBezTo>
                    <a:pt x="140" y="113"/>
                    <a:pt x="136" y="128"/>
                    <a:pt x="127" y="137"/>
                  </a:cubicBezTo>
                  <a:cubicBezTo>
                    <a:pt x="106" y="160"/>
                    <a:pt x="72" y="161"/>
                    <a:pt x="49" y="140"/>
                  </a:cubicBezTo>
                  <a:cubicBezTo>
                    <a:pt x="28" y="121"/>
                    <a:pt x="27" y="86"/>
                    <a:pt x="45" y="64"/>
                  </a:cubicBezTo>
                  <a:cubicBezTo>
                    <a:pt x="54" y="54"/>
                    <a:pt x="64" y="49"/>
                    <a:pt x="77" y="49"/>
                  </a:cubicBezTo>
                  <a:cubicBezTo>
                    <a:pt x="84" y="47"/>
                    <a:pt x="84" y="47"/>
                    <a:pt x="84" y="47"/>
                  </a:cubicBezTo>
                  <a:cubicBezTo>
                    <a:pt x="84" y="70"/>
                    <a:pt x="84" y="70"/>
                    <a:pt x="84" y="70"/>
                  </a:cubicBezTo>
                  <a:cubicBezTo>
                    <a:pt x="131" y="36"/>
                    <a:pt x="131" y="36"/>
                    <a:pt x="131" y="36"/>
                  </a:cubicBezTo>
                  <a:cubicBezTo>
                    <a:pt x="86" y="0"/>
                    <a:pt x="86" y="0"/>
                    <a:pt x="86" y="0"/>
                  </a:cubicBezTo>
                  <a:cubicBezTo>
                    <a:pt x="85" y="24"/>
                    <a:pt x="85" y="24"/>
                    <a:pt x="85" y="24"/>
                  </a:cubicBezTo>
                  <a:cubicBezTo>
                    <a:pt x="79" y="24"/>
                    <a:pt x="79" y="24"/>
                    <a:pt x="79" y="24"/>
                  </a:cubicBezTo>
                  <a:cubicBezTo>
                    <a:pt x="59" y="26"/>
                    <a:pt x="42" y="34"/>
                    <a:pt x="28" y="49"/>
                  </a:cubicBezTo>
                  <a:cubicBezTo>
                    <a:pt x="0" y="80"/>
                    <a:pt x="2" y="129"/>
                    <a:pt x="33" y="158"/>
                  </a:cubicBezTo>
                  <a:cubicBezTo>
                    <a:pt x="33" y="158"/>
                    <a:pt x="33" y="158"/>
                    <a:pt x="33" y="158"/>
                  </a:cubicBezTo>
                  <a:cubicBezTo>
                    <a:pt x="65" y="188"/>
                    <a:pt x="114" y="184"/>
                    <a:pt x="143" y="152"/>
                  </a:cubicBezTo>
                  <a:cubicBezTo>
                    <a:pt x="157" y="138"/>
                    <a:pt x="164" y="120"/>
                    <a:pt x="165" y="10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9" name="Freeform 40"/>
            <p:cNvSpPr>
              <a:spLocks noEditPoints="1"/>
            </p:cNvSpPr>
            <p:nvPr userDrawn="1"/>
          </p:nvSpPr>
          <p:spPr bwMode="auto">
            <a:xfrm>
              <a:off x="8407400" y="3963988"/>
              <a:ext cx="193675" cy="193675"/>
            </a:xfrm>
            <a:custGeom>
              <a:avLst/>
              <a:gdLst>
                <a:gd name="T0" fmla="*/ 62 w 87"/>
                <a:gd name="T1" fmla="*/ 49 h 87"/>
                <a:gd name="T2" fmla="*/ 67 w 87"/>
                <a:gd name="T3" fmla="*/ 43 h 87"/>
                <a:gd name="T4" fmla="*/ 62 w 87"/>
                <a:gd name="T5" fmla="*/ 38 h 87"/>
                <a:gd name="T6" fmla="*/ 49 w 87"/>
                <a:gd name="T7" fmla="*/ 38 h 87"/>
                <a:gd name="T8" fmla="*/ 49 w 87"/>
                <a:gd name="T9" fmla="*/ 21 h 87"/>
                <a:gd name="T10" fmla="*/ 43 w 87"/>
                <a:gd name="T11" fmla="*/ 17 h 87"/>
                <a:gd name="T12" fmla="*/ 38 w 87"/>
                <a:gd name="T13" fmla="*/ 21 h 87"/>
                <a:gd name="T14" fmla="*/ 38 w 87"/>
                <a:gd name="T15" fmla="*/ 43 h 87"/>
                <a:gd name="T16" fmla="*/ 43 w 87"/>
                <a:gd name="T17" fmla="*/ 49 h 87"/>
                <a:gd name="T18" fmla="*/ 62 w 87"/>
                <a:gd name="T19" fmla="*/ 49 h 87"/>
                <a:gd name="T20" fmla="*/ 62 w 87"/>
                <a:gd name="T21" fmla="*/ 49 h 87"/>
                <a:gd name="T22" fmla="*/ 43 w 87"/>
                <a:gd name="T23" fmla="*/ 10 h 87"/>
                <a:gd name="T24" fmla="*/ 76 w 87"/>
                <a:gd name="T25" fmla="*/ 43 h 87"/>
                <a:gd name="T26" fmla="*/ 43 w 87"/>
                <a:gd name="T27" fmla="*/ 76 h 87"/>
                <a:gd name="T28" fmla="*/ 10 w 87"/>
                <a:gd name="T29" fmla="*/ 43 h 87"/>
                <a:gd name="T30" fmla="*/ 43 w 87"/>
                <a:gd name="T31" fmla="*/ 10 h 87"/>
                <a:gd name="T32" fmla="*/ 43 w 87"/>
                <a:gd name="T33" fmla="*/ 87 h 87"/>
                <a:gd name="T34" fmla="*/ 87 w 87"/>
                <a:gd name="T35" fmla="*/ 43 h 87"/>
                <a:gd name="T36" fmla="*/ 43 w 87"/>
                <a:gd name="T37" fmla="*/ 0 h 87"/>
                <a:gd name="T38" fmla="*/ 0 w 87"/>
                <a:gd name="T39" fmla="*/ 43 h 87"/>
                <a:gd name="T40" fmla="*/ 43 w 87"/>
                <a:gd name="T4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87">
                  <a:moveTo>
                    <a:pt x="62" y="49"/>
                  </a:moveTo>
                  <a:cubicBezTo>
                    <a:pt x="64" y="49"/>
                    <a:pt x="67" y="46"/>
                    <a:pt x="67" y="43"/>
                  </a:cubicBezTo>
                  <a:cubicBezTo>
                    <a:pt x="67" y="41"/>
                    <a:pt x="64" y="38"/>
                    <a:pt x="62" y="38"/>
                  </a:cubicBezTo>
                  <a:cubicBezTo>
                    <a:pt x="49" y="38"/>
                    <a:pt x="49" y="38"/>
                    <a:pt x="49" y="38"/>
                  </a:cubicBezTo>
                  <a:cubicBezTo>
                    <a:pt x="49" y="21"/>
                    <a:pt x="49" y="21"/>
                    <a:pt x="49" y="21"/>
                  </a:cubicBezTo>
                  <a:cubicBezTo>
                    <a:pt x="49" y="18"/>
                    <a:pt x="46" y="17"/>
                    <a:pt x="43" y="17"/>
                  </a:cubicBezTo>
                  <a:cubicBezTo>
                    <a:pt x="41" y="17"/>
                    <a:pt x="38" y="18"/>
                    <a:pt x="38" y="21"/>
                  </a:cubicBezTo>
                  <a:cubicBezTo>
                    <a:pt x="38" y="43"/>
                    <a:pt x="38" y="43"/>
                    <a:pt x="38" y="43"/>
                  </a:cubicBezTo>
                  <a:cubicBezTo>
                    <a:pt x="38" y="46"/>
                    <a:pt x="41" y="49"/>
                    <a:pt x="43" y="49"/>
                  </a:cubicBezTo>
                  <a:cubicBezTo>
                    <a:pt x="62" y="49"/>
                    <a:pt x="62" y="49"/>
                    <a:pt x="62" y="49"/>
                  </a:cubicBezTo>
                  <a:cubicBezTo>
                    <a:pt x="62" y="49"/>
                    <a:pt x="62" y="49"/>
                    <a:pt x="62" y="49"/>
                  </a:cubicBezTo>
                  <a:close/>
                  <a:moveTo>
                    <a:pt x="43" y="10"/>
                  </a:moveTo>
                  <a:cubicBezTo>
                    <a:pt x="62" y="10"/>
                    <a:pt x="76" y="25"/>
                    <a:pt x="76" y="43"/>
                  </a:cubicBezTo>
                  <a:cubicBezTo>
                    <a:pt x="76" y="62"/>
                    <a:pt x="62" y="76"/>
                    <a:pt x="43" y="76"/>
                  </a:cubicBezTo>
                  <a:cubicBezTo>
                    <a:pt x="25" y="76"/>
                    <a:pt x="10" y="62"/>
                    <a:pt x="10" y="43"/>
                  </a:cubicBezTo>
                  <a:cubicBezTo>
                    <a:pt x="10" y="25"/>
                    <a:pt x="25" y="10"/>
                    <a:pt x="43" y="10"/>
                  </a:cubicBezTo>
                  <a:moveTo>
                    <a:pt x="43" y="87"/>
                  </a:moveTo>
                  <a:cubicBezTo>
                    <a:pt x="67" y="87"/>
                    <a:pt x="87" y="67"/>
                    <a:pt x="87" y="43"/>
                  </a:cubicBezTo>
                  <a:cubicBezTo>
                    <a:pt x="87" y="20"/>
                    <a:pt x="67" y="0"/>
                    <a:pt x="43" y="0"/>
                  </a:cubicBezTo>
                  <a:cubicBezTo>
                    <a:pt x="19" y="0"/>
                    <a:pt x="0" y="20"/>
                    <a:pt x="0" y="43"/>
                  </a:cubicBezTo>
                  <a:cubicBezTo>
                    <a:pt x="0" y="67"/>
                    <a:pt x="19" y="87"/>
                    <a:pt x="43" y="87"/>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60" name="Freeform 41"/>
            <p:cNvSpPr>
              <a:spLocks/>
            </p:cNvSpPr>
            <p:nvPr userDrawn="1"/>
          </p:nvSpPr>
          <p:spPr bwMode="auto">
            <a:xfrm>
              <a:off x="8920163" y="3967163"/>
              <a:ext cx="109538" cy="196850"/>
            </a:xfrm>
            <a:custGeom>
              <a:avLst/>
              <a:gdLst>
                <a:gd name="T0" fmla="*/ 49 w 49"/>
                <a:gd name="T1" fmla="*/ 58 h 89"/>
                <a:gd name="T2" fmla="*/ 49 w 49"/>
                <a:gd name="T3" fmla="*/ 63 h 89"/>
                <a:gd name="T4" fmla="*/ 46 w 49"/>
                <a:gd name="T5" fmla="*/ 69 h 89"/>
                <a:gd name="T6" fmla="*/ 40 w 49"/>
                <a:gd name="T7" fmla="*/ 74 h 89"/>
                <a:gd name="T8" fmla="*/ 32 w 49"/>
                <a:gd name="T9" fmla="*/ 78 h 89"/>
                <a:gd name="T10" fmla="*/ 32 w 49"/>
                <a:gd name="T11" fmla="*/ 89 h 89"/>
                <a:gd name="T12" fmla="*/ 20 w 49"/>
                <a:gd name="T13" fmla="*/ 89 h 89"/>
                <a:gd name="T14" fmla="*/ 20 w 49"/>
                <a:gd name="T15" fmla="*/ 79 h 89"/>
                <a:gd name="T16" fmla="*/ 14 w 49"/>
                <a:gd name="T17" fmla="*/ 79 h 89"/>
                <a:gd name="T18" fmla="*/ 9 w 49"/>
                <a:gd name="T19" fmla="*/ 78 h 89"/>
                <a:gd name="T20" fmla="*/ 4 w 49"/>
                <a:gd name="T21" fmla="*/ 77 h 89"/>
                <a:gd name="T22" fmla="*/ 1 w 49"/>
                <a:gd name="T23" fmla="*/ 75 h 89"/>
                <a:gd name="T24" fmla="*/ 1 w 49"/>
                <a:gd name="T25" fmla="*/ 56 h 89"/>
                <a:gd name="T26" fmla="*/ 11 w 49"/>
                <a:gd name="T27" fmla="*/ 62 h 89"/>
                <a:gd name="T28" fmla="*/ 21 w 49"/>
                <a:gd name="T29" fmla="*/ 64 h 89"/>
                <a:gd name="T30" fmla="*/ 24 w 49"/>
                <a:gd name="T31" fmla="*/ 64 h 89"/>
                <a:gd name="T32" fmla="*/ 26 w 49"/>
                <a:gd name="T33" fmla="*/ 62 h 89"/>
                <a:gd name="T34" fmla="*/ 27 w 49"/>
                <a:gd name="T35" fmla="*/ 61 h 89"/>
                <a:gd name="T36" fmla="*/ 27 w 49"/>
                <a:gd name="T37" fmla="*/ 59 h 89"/>
                <a:gd name="T38" fmla="*/ 27 w 49"/>
                <a:gd name="T39" fmla="*/ 57 h 89"/>
                <a:gd name="T40" fmla="*/ 25 w 49"/>
                <a:gd name="T41" fmla="*/ 55 h 89"/>
                <a:gd name="T42" fmla="*/ 22 w 49"/>
                <a:gd name="T43" fmla="*/ 53 h 89"/>
                <a:gd name="T44" fmla="*/ 16 w 49"/>
                <a:gd name="T45" fmla="*/ 51 h 89"/>
                <a:gd name="T46" fmla="*/ 9 w 49"/>
                <a:gd name="T47" fmla="*/ 47 h 89"/>
                <a:gd name="T48" fmla="*/ 4 w 49"/>
                <a:gd name="T49" fmla="*/ 42 h 89"/>
                <a:gd name="T50" fmla="*/ 1 w 49"/>
                <a:gd name="T51" fmla="*/ 37 h 89"/>
                <a:gd name="T52" fmla="*/ 0 w 49"/>
                <a:gd name="T53" fmla="*/ 30 h 89"/>
                <a:gd name="T54" fmla="*/ 2 w 49"/>
                <a:gd name="T55" fmla="*/ 23 h 89"/>
                <a:gd name="T56" fmla="*/ 6 w 49"/>
                <a:gd name="T57" fmla="*/ 17 h 89"/>
                <a:gd name="T58" fmla="*/ 12 w 49"/>
                <a:gd name="T59" fmla="*/ 12 h 89"/>
                <a:gd name="T60" fmla="*/ 20 w 49"/>
                <a:gd name="T61" fmla="*/ 9 h 89"/>
                <a:gd name="T62" fmla="*/ 20 w 49"/>
                <a:gd name="T63" fmla="*/ 0 h 89"/>
                <a:gd name="T64" fmla="*/ 32 w 49"/>
                <a:gd name="T65" fmla="*/ 0 h 89"/>
                <a:gd name="T66" fmla="*/ 32 w 49"/>
                <a:gd name="T67" fmla="*/ 9 h 89"/>
                <a:gd name="T68" fmla="*/ 40 w 49"/>
                <a:gd name="T69" fmla="*/ 10 h 89"/>
                <a:gd name="T70" fmla="*/ 46 w 49"/>
                <a:gd name="T71" fmla="*/ 11 h 89"/>
                <a:gd name="T72" fmla="*/ 46 w 49"/>
                <a:gd name="T73" fmla="*/ 29 h 89"/>
                <a:gd name="T74" fmla="*/ 42 w 49"/>
                <a:gd name="T75" fmla="*/ 27 h 89"/>
                <a:gd name="T76" fmla="*/ 38 w 49"/>
                <a:gd name="T77" fmla="*/ 26 h 89"/>
                <a:gd name="T78" fmla="*/ 33 w 49"/>
                <a:gd name="T79" fmla="*/ 24 h 89"/>
                <a:gd name="T80" fmla="*/ 28 w 49"/>
                <a:gd name="T81" fmla="*/ 24 h 89"/>
                <a:gd name="T82" fmla="*/ 25 w 49"/>
                <a:gd name="T83" fmla="*/ 24 h 89"/>
                <a:gd name="T84" fmla="*/ 23 w 49"/>
                <a:gd name="T85" fmla="*/ 25 h 89"/>
                <a:gd name="T86" fmla="*/ 22 w 49"/>
                <a:gd name="T87" fmla="*/ 27 h 89"/>
                <a:gd name="T88" fmla="*/ 22 w 49"/>
                <a:gd name="T89" fmla="*/ 28 h 89"/>
                <a:gd name="T90" fmla="*/ 22 w 49"/>
                <a:gd name="T91" fmla="*/ 30 h 89"/>
                <a:gd name="T92" fmla="*/ 23 w 49"/>
                <a:gd name="T93" fmla="*/ 32 h 89"/>
                <a:gd name="T94" fmla="*/ 26 w 49"/>
                <a:gd name="T95" fmla="*/ 34 h 89"/>
                <a:gd name="T96" fmla="*/ 30 w 49"/>
                <a:gd name="T97" fmla="*/ 36 h 89"/>
                <a:gd name="T98" fmla="*/ 39 w 49"/>
                <a:gd name="T99" fmla="*/ 41 h 89"/>
                <a:gd name="T100" fmla="*/ 45 w 49"/>
                <a:gd name="T101" fmla="*/ 46 h 89"/>
                <a:gd name="T102" fmla="*/ 48 w 49"/>
                <a:gd name="T103" fmla="*/ 51 h 89"/>
                <a:gd name="T104" fmla="*/ 49 w 49"/>
                <a:gd name="T105" fmla="*/ 5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 h="89">
                  <a:moveTo>
                    <a:pt x="49" y="58"/>
                  </a:moveTo>
                  <a:cubicBezTo>
                    <a:pt x="49" y="59"/>
                    <a:pt x="49" y="61"/>
                    <a:pt x="49" y="63"/>
                  </a:cubicBezTo>
                  <a:cubicBezTo>
                    <a:pt x="48" y="65"/>
                    <a:pt x="47" y="67"/>
                    <a:pt x="46" y="69"/>
                  </a:cubicBezTo>
                  <a:cubicBezTo>
                    <a:pt x="44" y="71"/>
                    <a:pt x="43" y="72"/>
                    <a:pt x="40" y="74"/>
                  </a:cubicBezTo>
                  <a:cubicBezTo>
                    <a:pt x="38" y="76"/>
                    <a:pt x="35" y="77"/>
                    <a:pt x="32" y="78"/>
                  </a:cubicBezTo>
                  <a:cubicBezTo>
                    <a:pt x="32" y="89"/>
                    <a:pt x="32" y="89"/>
                    <a:pt x="32" y="89"/>
                  </a:cubicBezTo>
                  <a:cubicBezTo>
                    <a:pt x="20" y="89"/>
                    <a:pt x="20" y="89"/>
                    <a:pt x="20" y="89"/>
                  </a:cubicBezTo>
                  <a:cubicBezTo>
                    <a:pt x="20" y="79"/>
                    <a:pt x="20" y="79"/>
                    <a:pt x="20" y="79"/>
                  </a:cubicBezTo>
                  <a:cubicBezTo>
                    <a:pt x="18" y="79"/>
                    <a:pt x="16" y="79"/>
                    <a:pt x="14" y="79"/>
                  </a:cubicBezTo>
                  <a:cubicBezTo>
                    <a:pt x="12" y="79"/>
                    <a:pt x="11" y="78"/>
                    <a:pt x="9" y="78"/>
                  </a:cubicBezTo>
                  <a:cubicBezTo>
                    <a:pt x="7" y="77"/>
                    <a:pt x="6" y="77"/>
                    <a:pt x="4" y="77"/>
                  </a:cubicBezTo>
                  <a:cubicBezTo>
                    <a:pt x="3" y="76"/>
                    <a:pt x="2" y="76"/>
                    <a:pt x="1" y="75"/>
                  </a:cubicBezTo>
                  <a:cubicBezTo>
                    <a:pt x="1" y="56"/>
                    <a:pt x="1" y="56"/>
                    <a:pt x="1" y="56"/>
                  </a:cubicBezTo>
                  <a:cubicBezTo>
                    <a:pt x="4" y="59"/>
                    <a:pt x="8" y="61"/>
                    <a:pt x="11" y="62"/>
                  </a:cubicBezTo>
                  <a:cubicBezTo>
                    <a:pt x="14" y="63"/>
                    <a:pt x="18" y="64"/>
                    <a:pt x="21" y="64"/>
                  </a:cubicBezTo>
                  <a:cubicBezTo>
                    <a:pt x="22" y="64"/>
                    <a:pt x="23" y="64"/>
                    <a:pt x="24" y="64"/>
                  </a:cubicBezTo>
                  <a:cubicBezTo>
                    <a:pt x="25" y="63"/>
                    <a:pt x="25" y="63"/>
                    <a:pt x="26" y="62"/>
                  </a:cubicBezTo>
                  <a:cubicBezTo>
                    <a:pt x="26" y="62"/>
                    <a:pt x="26" y="61"/>
                    <a:pt x="27" y="61"/>
                  </a:cubicBezTo>
                  <a:cubicBezTo>
                    <a:pt x="27" y="60"/>
                    <a:pt x="27" y="60"/>
                    <a:pt x="27" y="59"/>
                  </a:cubicBezTo>
                  <a:cubicBezTo>
                    <a:pt x="27" y="58"/>
                    <a:pt x="27" y="58"/>
                    <a:pt x="27" y="57"/>
                  </a:cubicBezTo>
                  <a:cubicBezTo>
                    <a:pt x="26" y="57"/>
                    <a:pt x="26" y="56"/>
                    <a:pt x="25" y="55"/>
                  </a:cubicBezTo>
                  <a:cubicBezTo>
                    <a:pt x="25" y="55"/>
                    <a:pt x="23" y="54"/>
                    <a:pt x="22" y="53"/>
                  </a:cubicBezTo>
                  <a:cubicBezTo>
                    <a:pt x="21" y="53"/>
                    <a:pt x="19" y="52"/>
                    <a:pt x="16" y="51"/>
                  </a:cubicBezTo>
                  <a:cubicBezTo>
                    <a:pt x="13" y="50"/>
                    <a:pt x="11" y="48"/>
                    <a:pt x="9" y="47"/>
                  </a:cubicBezTo>
                  <a:cubicBezTo>
                    <a:pt x="7" y="45"/>
                    <a:pt x="5" y="44"/>
                    <a:pt x="4" y="42"/>
                  </a:cubicBezTo>
                  <a:cubicBezTo>
                    <a:pt x="3" y="40"/>
                    <a:pt x="2" y="39"/>
                    <a:pt x="1" y="37"/>
                  </a:cubicBezTo>
                  <a:cubicBezTo>
                    <a:pt x="1" y="35"/>
                    <a:pt x="0" y="33"/>
                    <a:pt x="0" y="30"/>
                  </a:cubicBezTo>
                  <a:cubicBezTo>
                    <a:pt x="0" y="28"/>
                    <a:pt x="1" y="25"/>
                    <a:pt x="2" y="23"/>
                  </a:cubicBezTo>
                  <a:cubicBezTo>
                    <a:pt x="3" y="20"/>
                    <a:pt x="4" y="18"/>
                    <a:pt x="6" y="17"/>
                  </a:cubicBezTo>
                  <a:cubicBezTo>
                    <a:pt x="7" y="15"/>
                    <a:pt x="9" y="13"/>
                    <a:pt x="12" y="12"/>
                  </a:cubicBezTo>
                  <a:cubicBezTo>
                    <a:pt x="14" y="11"/>
                    <a:pt x="17" y="10"/>
                    <a:pt x="20" y="9"/>
                  </a:cubicBezTo>
                  <a:cubicBezTo>
                    <a:pt x="20" y="0"/>
                    <a:pt x="20" y="0"/>
                    <a:pt x="20" y="0"/>
                  </a:cubicBezTo>
                  <a:cubicBezTo>
                    <a:pt x="32" y="0"/>
                    <a:pt x="32" y="0"/>
                    <a:pt x="32" y="0"/>
                  </a:cubicBezTo>
                  <a:cubicBezTo>
                    <a:pt x="32" y="9"/>
                    <a:pt x="32" y="9"/>
                    <a:pt x="32" y="9"/>
                  </a:cubicBezTo>
                  <a:cubicBezTo>
                    <a:pt x="35" y="9"/>
                    <a:pt x="37" y="9"/>
                    <a:pt x="40" y="10"/>
                  </a:cubicBezTo>
                  <a:cubicBezTo>
                    <a:pt x="42" y="10"/>
                    <a:pt x="44" y="11"/>
                    <a:pt x="46" y="11"/>
                  </a:cubicBezTo>
                  <a:cubicBezTo>
                    <a:pt x="46" y="29"/>
                    <a:pt x="46" y="29"/>
                    <a:pt x="46" y="29"/>
                  </a:cubicBezTo>
                  <a:cubicBezTo>
                    <a:pt x="45" y="29"/>
                    <a:pt x="44" y="28"/>
                    <a:pt x="42" y="27"/>
                  </a:cubicBezTo>
                  <a:cubicBezTo>
                    <a:pt x="41" y="27"/>
                    <a:pt x="40" y="26"/>
                    <a:pt x="38" y="26"/>
                  </a:cubicBezTo>
                  <a:cubicBezTo>
                    <a:pt x="36" y="25"/>
                    <a:pt x="35" y="25"/>
                    <a:pt x="33" y="24"/>
                  </a:cubicBezTo>
                  <a:cubicBezTo>
                    <a:pt x="31" y="24"/>
                    <a:pt x="30" y="24"/>
                    <a:pt x="28" y="24"/>
                  </a:cubicBezTo>
                  <a:cubicBezTo>
                    <a:pt x="27" y="24"/>
                    <a:pt x="26" y="24"/>
                    <a:pt x="25" y="24"/>
                  </a:cubicBezTo>
                  <a:cubicBezTo>
                    <a:pt x="25" y="25"/>
                    <a:pt x="24" y="25"/>
                    <a:pt x="23" y="25"/>
                  </a:cubicBezTo>
                  <a:cubicBezTo>
                    <a:pt x="23" y="26"/>
                    <a:pt x="22" y="26"/>
                    <a:pt x="22" y="27"/>
                  </a:cubicBezTo>
                  <a:cubicBezTo>
                    <a:pt x="22" y="27"/>
                    <a:pt x="22" y="28"/>
                    <a:pt x="22" y="28"/>
                  </a:cubicBezTo>
                  <a:cubicBezTo>
                    <a:pt x="22" y="29"/>
                    <a:pt x="22" y="30"/>
                    <a:pt x="22" y="30"/>
                  </a:cubicBezTo>
                  <a:cubicBezTo>
                    <a:pt x="22" y="31"/>
                    <a:pt x="23" y="31"/>
                    <a:pt x="23" y="32"/>
                  </a:cubicBezTo>
                  <a:cubicBezTo>
                    <a:pt x="24" y="32"/>
                    <a:pt x="24" y="33"/>
                    <a:pt x="26" y="34"/>
                  </a:cubicBezTo>
                  <a:cubicBezTo>
                    <a:pt x="27" y="34"/>
                    <a:pt x="28" y="35"/>
                    <a:pt x="30" y="36"/>
                  </a:cubicBezTo>
                  <a:cubicBezTo>
                    <a:pt x="34" y="38"/>
                    <a:pt x="37" y="39"/>
                    <a:pt x="39" y="41"/>
                  </a:cubicBezTo>
                  <a:cubicBezTo>
                    <a:pt x="42" y="42"/>
                    <a:pt x="44" y="44"/>
                    <a:pt x="45" y="46"/>
                  </a:cubicBezTo>
                  <a:cubicBezTo>
                    <a:pt x="47" y="48"/>
                    <a:pt x="48" y="49"/>
                    <a:pt x="48" y="51"/>
                  </a:cubicBezTo>
                  <a:cubicBezTo>
                    <a:pt x="49" y="53"/>
                    <a:pt x="49" y="55"/>
                    <a:pt x="49" y="5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grpSp>
    </p:spTree>
    <p:extLst>
      <p:ext uri="{BB962C8B-B14F-4D97-AF65-F5344CB8AC3E}">
        <p14:creationId xmlns:p14="http://schemas.microsoft.com/office/powerpoint/2010/main" val="85206122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64820" y="1547516"/>
            <a:ext cx="9128760" cy="1640184"/>
          </a:xfrm>
          <a:noFill/>
        </p:spPr>
        <p:txBody>
          <a:bodyPr wrap="square" tIns="91440" bIns="91440" anchor="ctr" anchorCtr="0">
            <a:noAutofit/>
          </a:bodyPr>
          <a:lstStyle>
            <a:lvl1pPr>
              <a:defRPr sz="7198" spc="-100" baseline="0">
                <a:gradFill>
                  <a:gsLst>
                    <a:gs pos="100000">
                      <a:schemeClr val="tx1"/>
                    </a:gs>
                    <a:gs pos="0">
                      <a:schemeClr val="tx1"/>
                    </a:gs>
                  </a:gsLst>
                  <a:lin ang="5400000" scaled="0"/>
                </a:gradFill>
              </a:defRPr>
            </a:lvl1pPr>
          </a:lstStyle>
          <a:p>
            <a:r>
              <a:rPr lang="en-US"/>
              <a:t>Section title</a:t>
            </a:r>
          </a:p>
        </p:txBody>
      </p:sp>
      <p:grpSp>
        <p:nvGrpSpPr>
          <p:cNvPr id="49" name="Group 48"/>
          <p:cNvGrpSpPr/>
          <p:nvPr userDrawn="1"/>
        </p:nvGrpSpPr>
        <p:grpSpPr>
          <a:xfrm>
            <a:off x="9593581" y="2164365"/>
            <a:ext cx="2382288" cy="4350736"/>
            <a:chOff x="10186988" y="823913"/>
            <a:chExt cx="1050925" cy="1919288"/>
          </a:xfrm>
        </p:grpSpPr>
        <p:sp>
          <p:nvSpPr>
            <p:cNvPr id="50" name="Rectangle 16"/>
            <p:cNvSpPr>
              <a:spLocks noChangeArrowheads="1"/>
            </p:cNvSpPr>
            <p:nvPr/>
          </p:nvSpPr>
          <p:spPr bwMode="auto">
            <a:xfrm>
              <a:off x="10298113" y="1624013"/>
              <a:ext cx="401638" cy="4016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1" name="Freeform 17"/>
            <p:cNvSpPr>
              <a:spLocks/>
            </p:cNvSpPr>
            <p:nvPr/>
          </p:nvSpPr>
          <p:spPr bwMode="auto">
            <a:xfrm>
              <a:off x="10369550" y="1768475"/>
              <a:ext cx="133350" cy="112713"/>
            </a:xfrm>
            <a:custGeom>
              <a:avLst/>
              <a:gdLst>
                <a:gd name="T0" fmla="*/ 54 w 60"/>
                <a:gd name="T1" fmla="*/ 36 h 51"/>
                <a:gd name="T2" fmla="*/ 57 w 60"/>
                <a:gd name="T3" fmla="*/ 24 h 51"/>
                <a:gd name="T4" fmla="*/ 60 w 60"/>
                <a:gd name="T5" fmla="*/ 15 h 51"/>
                <a:gd name="T6" fmla="*/ 57 w 60"/>
                <a:gd name="T7" fmla="*/ 5 h 51"/>
                <a:gd name="T8" fmla="*/ 56 w 60"/>
                <a:gd name="T9" fmla="*/ 3 h 51"/>
                <a:gd name="T10" fmla="*/ 44 w 60"/>
                <a:gd name="T11" fmla="*/ 0 h 51"/>
                <a:gd name="T12" fmla="*/ 26 w 60"/>
                <a:gd name="T13" fmla="*/ 9 h 51"/>
                <a:gd name="T14" fmla="*/ 20 w 60"/>
                <a:gd name="T15" fmla="*/ 8 h 51"/>
                <a:gd name="T16" fmla="*/ 13 w 60"/>
                <a:gd name="T17" fmla="*/ 10 h 51"/>
                <a:gd name="T18" fmla="*/ 8 w 60"/>
                <a:gd name="T19" fmla="*/ 20 h 51"/>
                <a:gd name="T20" fmla="*/ 0 w 60"/>
                <a:gd name="T21" fmla="*/ 34 h 51"/>
                <a:gd name="T22" fmla="*/ 15 w 60"/>
                <a:gd name="T23" fmla="*/ 51 h 51"/>
                <a:gd name="T24" fmla="*/ 17 w 60"/>
                <a:gd name="T25" fmla="*/ 51 h 51"/>
                <a:gd name="T26" fmla="*/ 19 w 60"/>
                <a:gd name="T27" fmla="*/ 51 h 51"/>
                <a:gd name="T28" fmla="*/ 54 w 60"/>
                <a:gd name="T29" fmla="*/ 51 h 51"/>
                <a:gd name="T30" fmla="*/ 55 w 60"/>
                <a:gd name="T31" fmla="*/ 51 h 51"/>
                <a:gd name="T32" fmla="*/ 56 w 60"/>
                <a:gd name="T33" fmla="*/ 51 h 51"/>
                <a:gd name="T34" fmla="*/ 58 w 60"/>
                <a:gd name="T35" fmla="*/ 51 h 51"/>
                <a:gd name="T36" fmla="*/ 59 w 60"/>
                <a:gd name="T37" fmla="*/ 51 h 51"/>
                <a:gd name="T38" fmla="*/ 57 w 60"/>
                <a:gd name="T39" fmla="*/ 48 h 51"/>
                <a:gd name="T40" fmla="*/ 54 w 60"/>
                <a:gd name="T41"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51">
                  <a:moveTo>
                    <a:pt x="54" y="36"/>
                  </a:moveTo>
                  <a:cubicBezTo>
                    <a:pt x="54" y="30"/>
                    <a:pt x="56" y="27"/>
                    <a:pt x="57" y="24"/>
                  </a:cubicBezTo>
                  <a:cubicBezTo>
                    <a:pt x="59" y="22"/>
                    <a:pt x="60" y="19"/>
                    <a:pt x="60" y="15"/>
                  </a:cubicBezTo>
                  <a:cubicBezTo>
                    <a:pt x="60" y="10"/>
                    <a:pt x="59" y="8"/>
                    <a:pt x="57" y="5"/>
                  </a:cubicBezTo>
                  <a:cubicBezTo>
                    <a:pt x="57" y="5"/>
                    <a:pt x="56" y="4"/>
                    <a:pt x="56" y="3"/>
                  </a:cubicBezTo>
                  <a:cubicBezTo>
                    <a:pt x="53" y="1"/>
                    <a:pt x="49" y="0"/>
                    <a:pt x="44" y="0"/>
                  </a:cubicBezTo>
                  <a:cubicBezTo>
                    <a:pt x="37" y="0"/>
                    <a:pt x="30" y="3"/>
                    <a:pt x="26" y="9"/>
                  </a:cubicBezTo>
                  <a:cubicBezTo>
                    <a:pt x="24" y="8"/>
                    <a:pt x="22" y="8"/>
                    <a:pt x="20" y="8"/>
                  </a:cubicBezTo>
                  <a:cubicBezTo>
                    <a:pt x="18" y="8"/>
                    <a:pt x="15" y="8"/>
                    <a:pt x="13" y="10"/>
                  </a:cubicBezTo>
                  <a:cubicBezTo>
                    <a:pt x="10" y="12"/>
                    <a:pt x="8" y="16"/>
                    <a:pt x="8" y="20"/>
                  </a:cubicBezTo>
                  <a:cubicBezTo>
                    <a:pt x="3" y="23"/>
                    <a:pt x="0" y="28"/>
                    <a:pt x="0" y="34"/>
                  </a:cubicBezTo>
                  <a:cubicBezTo>
                    <a:pt x="0" y="43"/>
                    <a:pt x="7" y="50"/>
                    <a:pt x="15" y="51"/>
                  </a:cubicBezTo>
                  <a:cubicBezTo>
                    <a:pt x="16" y="51"/>
                    <a:pt x="16" y="51"/>
                    <a:pt x="17" y="51"/>
                  </a:cubicBezTo>
                  <a:cubicBezTo>
                    <a:pt x="18" y="51"/>
                    <a:pt x="18" y="51"/>
                    <a:pt x="19" y="51"/>
                  </a:cubicBezTo>
                  <a:cubicBezTo>
                    <a:pt x="27" y="51"/>
                    <a:pt x="45" y="51"/>
                    <a:pt x="54" y="51"/>
                  </a:cubicBezTo>
                  <a:cubicBezTo>
                    <a:pt x="54" y="51"/>
                    <a:pt x="55" y="51"/>
                    <a:pt x="55" y="51"/>
                  </a:cubicBezTo>
                  <a:cubicBezTo>
                    <a:pt x="56" y="51"/>
                    <a:pt x="56" y="51"/>
                    <a:pt x="56" y="51"/>
                  </a:cubicBezTo>
                  <a:cubicBezTo>
                    <a:pt x="56" y="51"/>
                    <a:pt x="57" y="51"/>
                    <a:pt x="58" y="51"/>
                  </a:cubicBezTo>
                  <a:cubicBezTo>
                    <a:pt x="58" y="51"/>
                    <a:pt x="59" y="51"/>
                    <a:pt x="59" y="51"/>
                  </a:cubicBezTo>
                  <a:cubicBezTo>
                    <a:pt x="58" y="50"/>
                    <a:pt x="58" y="49"/>
                    <a:pt x="57" y="48"/>
                  </a:cubicBezTo>
                  <a:cubicBezTo>
                    <a:pt x="56" y="45"/>
                    <a:pt x="54" y="42"/>
                    <a:pt x="54" y="36"/>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2" name="Freeform 18"/>
            <p:cNvSpPr>
              <a:spLocks/>
            </p:cNvSpPr>
            <p:nvPr/>
          </p:nvSpPr>
          <p:spPr bwMode="auto">
            <a:xfrm>
              <a:off x="10517188" y="1798638"/>
              <a:ext cx="0" cy="4763"/>
            </a:xfrm>
            <a:custGeom>
              <a:avLst/>
              <a:gdLst>
                <a:gd name="T0" fmla="*/ 1 h 2"/>
                <a:gd name="T1" fmla="*/ 0 h 2"/>
                <a:gd name="T2" fmla="*/ 2 h 2"/>
                <a:gd name="T3" fmla="*/ 1 h 2"/>
              </a:gdLst>
              <a:ahLst/>
              <a:cxnLst>
                <a:cxn ang="0">
                  <a:pos x="0" y="T0"/>
                </a:cxn>
                <a:cxn ang="0">
                  <a:pos x="0" y="T1"/>
                </a:cxn>
                <a:cxn ang="0">
                  <a:pos x="0" y="T2"/>
                </a:cxn>
                <a:cxn ang="0">
                  <a:pos x="0" y="T3"/>
                </a:cxn>
              </a:cxnLst>
              <a:rect l="0" t="0" r="r" b="b"/>
              <a:pathLst>
                <a:path h="2">
                  <a:moveTo>
                    <a:pt x="0" y="1"/>
                  </a:moveTo>
                  <a:cubicBezTo>
                    <a:pt x="0" y="0"/>
                    <a:pt x="0" y="0"/>
                    <a:pt x="0" y="0"/>
                  </a:cubicBezTo>
                  <a:cubicBezTo>
                    <a:pt x="0" y="2"/>
                    <a:pt x="0" y="2"/>
                    <a:pt x="0" y="2"/>
                  </a:cubicBezTo>
                  <a:cubicBezTo>
                    <a:pt x="0" y="1"/>
                    <a:pt x="0" y="1"/>
                    <a:pt x="0" y="1"/>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3" name="Freeform 19"/>
            <p:cNvSpPr>
              <a:spLocks/>
            </p:cNvSpPr>
            <p:nvPr/>
          </p:nvSpPr>
          <p:spPr bwMode="auto">
            <a:xfrm>
              <a:off x="10536238" y="1743075"/>
              <a:ext cx="92075" cy="153988"/>
            </a:xfrm>
            <a:custGeom>
              <a:avLst/>
              <a:gdLst>
                <a:gd name="T0" fmla="*/ 18 w 42"/>
                <a:gd name="T1" fmla="*/ 7 h 69"/>
                <a:gd name="T2" fmla="*/ 18 w 42"/>
                <a:gd name="T3" fmla="*/ 0 h 69"/>
                <a:gd name="T4" fmla="*/ 0 w 42"/>
                <a:gd name="T5" fmla="*/ 0 h 69"/>
                <a:gd name="T6" fmla="*/ 0 w 42"/>
                <a:gd name="T7" fmla="*/ 4 h 69"/>
                <a:gd name="T8" fmla="*/ 2 w 42"/>
                <a:gd name="T9" fmla="*/ 14 h 69"/>
                <a:gd name="T10" fmla="*/ 2 w 42"/>
                <a:gd name="T11" fmla="*/ 15 h 69"/>
                <a:gd name="T12" fmla="*/ 35 w 42"/>
                <a:gd name="T13" fmla="*/ 15 h 69"/>
                <a:gd name="T14" fmla="*/ 35 w 42"/>
                <a:gd name="T15" fmla="*/ 21 h 69"/>
                <a:gd name="T16" fmla="*/ 5 w 42"/>
                <a:gd name="T17" fmla="*/ 21 h 69"/>
                <a:gd name="T18" fmla="*/ 5 w 42"/>
                <a:gd name="T19" fmla="*/ 25 h 69"/>
                <a:gd name="T20" fmla="*/ 35 w 42"/>
                <a:gd name="T21" fmla="*/ 25 h 69"/>
                <a:gd name="T22" fmla="*/ 35 w 42"/>
                <a:gd name="T23" fmla="*/ 31 h 69"/>
                <a:gd name="T24" fmla="*/ 4 w 42"/>
                <a:gd name="T25" fmla="*/ 31 h 69"/>
                <a:gd name="T26" fmla="*/ 3 w 42"/>
                <a:gd name="T27" fmla="*/ 36 h 69"/>
                <a:gd name="T28" fmla="*/ 35 w 42"/>
                <a:gd name="T29" fmla="*/ 36 h 69"/>
                <a:gd name="T30" fmla="*/ 35 w 42"/>
                <a:gd name="T31" fmla="*/ 42 h 69"/>
                <a:gd name="T32" fmla="*/ 0 w 42"/>
                <a:gd name="T33" fmla="*/ 42 h 69"/>
                <a:gd name="T34" fmla="*/ 0 w 42"/>
                <a:gd name="T35" fmla="*/ 47 h 69"/>
                <a:gd name="T36" fmla="*/ 35 w 42"/>
                <a:gd name="T37" fmla="*/ 47 h 69"/>
                <a:gd name="T38" fmla="*/ 35 w 42"/>
                <a:gd name="T39" fmla="*/ 53 h 69"/>
                <a:gd name="T40" fmla="*/ 1 w 42"/>
                <a:gd name="T41" fmla="*/ 53 h 69"/>
                <a:gd name="T42" fmla="*/ 2 w 42"/>
                <a:gd name="T43" fmla="*/ 56 h 69"/>
                <a:gd name="T44" fmla="*/ 4 w 42"/>
                <a:gd name="T45" fmla="*/ 62 h 69"/>
                <a:gd name="T46" fmla="*/ 5 w 42"/>
                <a:gd name="T47" fmla="*/ 68 h 69"/>
                <a:gd name="T48" fmla="*/ 5 w 42"/>
                <a:gd name="T49" fmla="*/ 69 h 69"/>
                <a:gd name="T50" fmla="*/ 7 w 42"/>
                <a:gd name="T51" fmla="*/ 69 h 69"/>
                <a:gd name="T52" fmla="*/ 7 w 42"/>
                <a:gd name="T53" fmla="*/ 57 h 69"/>
                <a:gd name="T54" fmla="*/ 14 w 42"/>
                <a:gd name="T55" fmla="*/ 57 h 69"/>
                <a:gd name="T56" fmla="*/ 14 w 42"/>
                <a:gd name="T57" fmla="*/ 69 h 69"/>
                <a:gd name="T58" fmla="*/ 18 w 42"/>
                <a:gd name="T59" fmla="*/ 69 h 69"/>
                <a:gd name="T60" fmla="*/ 18 w 42"/>
                <a:gd name="T61" fmla="*/ 57 h 69"/>
                <a:gd name="T62" fmla="*/ 24 w 42"/>
                <a:gd name="T63" fmla="*/ 57 h 69"/>
                <a:gd name="T64" fmla="*/ 24 w 42"/>
                <a:gd name="T65" fmla="*/ 69 h 69"/>
                <a:gd name="T66" fmla="*/ 40 w 42"/>
                <a:gd name="T67" fmla="*/ 69 h 69"/>
                <a:gd name="T68" fmla="*/ 40 w 42"/>
                <a:gd name="T69" fmla="*/ 9 h 69"/>
                <a:gd name="T70" fmla="*/ 42 w 42"/>
                <a:gd name="T71" fmla="*/ 9 h 69"/>
                <a:gd name="T72" fmla="*/ 42 w 42"/>
                <a:gd name="T73" fmla="*/ 7 h 69"/>
                <a:gd name="T74" fmla="*/ 18 w 42"/>
                <a:gd name="T75"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69">
                  <a:moveTo>
                    <a:pt x="18" y="7"/>
                  </a:moveTo>
                  <a:cubicBezTo>
                    <a:pt x="18" y="0"/>
                    <a:pt x="18" y="0"/>
                    <a:pt x="18" y="0"/>
                  </a:cubicBezTo>
                  <a:cubicBezTo>
                    <a:pt x="0" y="0"/>
                    <a:pt x="0" y="0"/>
                    <a:pt x="0" y="0"/>
                  </a:cubicBezTo>
                  <a:cubicBezTo>
                    <a:pt x="0" y="1"/>
                    <a:pt x="0" y="3"/>
                    <a:pt x="0" y="4"/>
                  </a:cubicBezTo>
                  <a:cubicBezTo>
                    <a:pt x="0" y="9"/>
                    <a:pt x="1" y="11"/>
                    <a:pt x="2" y="14"/>
                  </a:cubicBezTo>
                  <a:cubicBezTo>
                    <a:pt x="2" y="14"/>
                    <a:pt x="2" y="14"/>
                    <a:pt x="2" y="15"/>
                  </a:cubicBezTo>
                  <a:cubicBezTo>
                    <a:pt x="35" y="15"/>
                    <a:pt x="35" y="15"/>
                    <a:pt x="35" y="15"/>
                  </a:cubicBezTo>
                  <a:cubicBezTo>
                    <a:pt x="35" y="21"/>
                    <a:pt x="35" y="21"/>
                    <a:pt x="35" y="21"/>
                  </a:cubicBezTo>
                  <a:cubicBezTo>
                    <a:pt x="5" y="21"/>
                    <a:pt x="5" y="21"/>
                    <a:pt x="5" y="21"/>
                  </a:cubicBezTo>
                  <a:cubicBezTo>
                    <a:pt x="5" y="22"/>
                    <a:pt x="5" y="24"/>
                    <a:pt x="5" y="25"/>
                  </a:cubicBezTo>
                  <a:cubicBezTo>
                    <a:pt x="35" y="25"/>
                    <a:pt x="35" y="25"/>
                    <a:pt x="35" y="25"/>
                  </a:cubicBezTo>
                  <a:cubicBezTo>
                    <a:pt x="35" y="31"/>
                    <a:pt x="35" y="31"/>
                    <a:pt x="35" y="31"/>
                  </a:cubicBezTo>
                  <a:cubicBezTo>
                    <a:pt x="4" y="31"/>
                    <a:pt x="4" y="31"/>
                    <a:pt x="4" y="31"/>
                  </a:cubicBezTo>
                  <a:cubicBezTo>
                    <a:pt x="4" y="33"/>
                    <a:pt x="3" y="35"/>
                    <a:pt x="3" y="36"/>
                  </a:cubicBezTo>
                  <a:cubicBezTo>
                    <a:pt x="35" y="36"/>
                    <a:pt x="35" y="36"/>
                    <a:pt x="35" y="36"/>
                  </a:cubicBezTo>
                  <a:cubicBezTo>
                    <a:pt x="35" y="42"/>
                    <a:pt x="35" y="42"/>
                    <a:pt x="35" y="42"/>
                  </a:cubicBezTo>
                  <a:cubicBezTo>
                    <a:pt x="0" y="42"/>
                    <a:pt x="0" y="42"/>
                    <a:pt x="0" y="42"/>
                  </a:cubicBezTo>
                  <a:cubicBezTo>
                    <a:pt x="0" y="43"/>
                    <a:pt x="0" y="45"/>
                    <a:pt x="0" y="47"/>
                  </a:cubicBezTo>
                  <a:cubicBezTo>
                    <a:pt x="35" y="47"/>
                    <a:pt x="35" y="47"/>
                    <a:pt x="35" y="47"/>
                  </a:cubicBezTo>
                  <a:cubicBezTo>
                    <a:pt x="35" y="53"/>
                    <a:pt x="35" y="53"/>
                    <a:pt x="35" y="53"/>
                  </a:cubicBezTo>
                  <a:cubicBezTo>
                    <a:pt x="1" y="53"/>
                    <a:pt x="1" y="53"/>
                    <a:pt x="1" y="53"/>
                  </a:cubicBezTo>
                  <a:cubicBezTo>
                    <a:pt x="1" y="54"/>
                    <a:pt x="1" y="55"/>
                    <a:pt x="2" y="56"/>
                  </a:cubicBezTo>
                  <a:cubicBezTo>
                    <a:pt x="3" y="58"/>
                    <a:pt x="4" y="60"/>
                    <a:pt x="4" y="62"/>
                  </a:cubicBezTo>
                  <a:cubicBezTo>
                    <a:pt x="5" y="64"/>
                    <a:pt x="5" y="66"/>
                    <a:pt x="5" y="68"/>
                  </a:cubicBezTo>
                  <a:cubicBezTo>
                    <a:pt x="5" y="69"/>
                    <a:pt x="5" y="69"/>
                    <a:pt x="5" y="69"/>
                  </a:cubicBezTo>
                  <a:cubicBezTo>
                    <a:pt x="7" y="69"/>
                    <a:pt x="7" y="69"/>
                    <a:pt x="7" y="69"/>
                  </a:cubicBezTo>
                  <a:cubicBezTo>
                    <a:pt x="7" y="57"/>
                    <a:pt x="7" y="57"/>
                    <a:pt x="7" y="57"/>
                  </a:cubicBezTo>
                  <a:cubicBezTo>
                    <a:pt x="14" y="57"/>
                    <a:pt x="14" y="57"/>
                    <a:pt x="14" y="57"/>
                  </a:cubicBezTo>
                  <a:cubicBezTo>
                    <a:pt x="14" y="69"/>
                    <a:pt x="14" y="69"/>
                    <a:pt x="14" y="69"/>
                  </a:cubicBezTo>
                  <a:cubicBezTo>
                    <a:pt x="18" y="69"/>
                    <a:pt x="18" y="69"/>
                    <a:pt x="18" y="69"/>
                  </a:cubicBezTo>
                  <a:cubicBezTo>
                    <a:pt x="18" y="57"/>
                    <a:pt x="18" y="57"/>
                    <a:pt x="18" y="57"/>
                  </a:cubicBezTo>
                  <a:cubicBezTo>
                    <a:pt x="24" y="57"/>
                    <a:pt x="24" y="57"/>
                    <a:pt x="24" y="57"/>
                  </a:cubicBezTo>
                  <a:cubicBezTo>
                    <a:pt x="24" y="69"/>
                    <a:pt x="24" y="69"/>
                    <a:pt x="24" y="69"/>
                  </a:cubicBezTo>
                  <a:cubicBezTo>
                    <a:pt x="40" y="69"/>
                    <a:pt x="40" y="69"/>
                    <a:pt x="40" y="69"/>
                  </a:cubicBezTo>
                  <a:cubicBezTo>
                    <a:pt x="40" y="9"/>
                    <a:pt x="40" y="9"/>
                    <a:pt x="40" y="9"/>
                  </a:cubicBezTo>
                  <a:cubicBezTo>
                    <a:pt x="42" y="9"/>
                    <a:pt x="42" y="9"/>
                    <a:pt x="42" y="9"/>
                  </a:cubicBezTo>
                  <a:cubicBezTo>
                    <a:pt x="42" y="7"/>
                    <a:pt x="42" y="7"/>
                    <a:pt x="42" y="7"/>
                  </a:cubicBezTo>
                  <a:lnTo>
                    <a:pt x="18" y="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4" name="Freeform 20"/>
            <p:cNvSpPr>
              <a:spLocks/>
            </p:cNvSpPr>
            <p:nvPr/>
          </p:nvSpPr>
          <p:spPr bwMode="auto">
            <a:xfrm>
              <a:off x="10517188" y="1892300"/>
              <a:ext cx="0" cy="4763"/>
            </a:xfrm>
            <a:custGeom>
              <a:avLst/>
              <a:gdLst>
                <a:gd name="T0" fmla="*/ 0 h 2"/>
                <a:gd name="T1" fmla="*/ 2 h 2"/>
                <a:gd name="T2" fmla="*/ 2 h 2"/>
                <a:gd name="T3" fmla="*/ 1 h 2"/>
                <a:gd name="T4" fmla="*/ 0 h 2"/>
              </a:gdLst>
              <a:ahLst/>
              <a:cxnLst>
                <a:cxn ang="0">
                  <a:pos x="0" y="T0"/>
                </a:cxn>
                <a:cxn ang="0">
                  <a:pos x="0" y="T1"/>
                </a:cxn>
                <a:cxn ang="0">
                  <a:pos x="0" y="T2"/>
                </a:cxn>
                <a:cxn ang="0">
                  <a:pos x="0" y="T3"/>
                </a:cxn>
                <a:cxn ang="0">
                  <a:pos x="0" y="T4"/>
                </a:cxn>
              </a:cxnLst>
              <a:rect l="0" t="0" r="r" b="b"/>
              <a:pathLst>
                <a:path h="2">
                  <a:moveTo>
                    <a:pt x="0" y="0"/>
                  </a:moveTo>
                  <a:cubicBezTo>
                    <a:pt x="0" y="2"/>
                    <a:pt x="0" y="2"/>
                    <a:pt x="0" y="2"/>
                  </a:cubicBezTo>
                  <a:cubicBezTo>
                    <a:pt x="0" y="2"/>
                    <a:pt x="0" y="2"/>
                    <a:pt x="0" y="2"/>
                  </a:cubicBezTo>
                  <a:cubicBezTo>
                    <a:pt x="0" y="2"/>
                    <a:pt x="0" y="2"/>
                    <a:pt x="0" y="1"/>
                  </a:cubicBezTo>
                  <a:cubicBezTo>
                    <a:pt x="0" y="1"/>
                    <a:pt x="0" y="1"/>
                    <a:pt x="0"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5" name="Freeform 21"/>
            <p:cNvSpPr>
              <a:spLocks/>
            </p:cNvSpPr>
            <p:nvPr/>
          </p:nvSpPr>
          <p:spPr bwMode="auto">
            <a:xfrm>
              <a:off x="10504488" y="1706563"/>
              <a:ext cx="26988" cy="236538"/>
            </a:xfrm>
            <a:custGeom>
              <a:avLst/>
              <a:gdLst>
                <a:gd name="T0" fmla="*/ 12 w 12"/>
                <a:gd name="T1" fmla="*/ 44 h 107"/>
                <a:gd name="T2" fmla="*/ 12 w 12"/>
                <a:gd name="T3" fmla="*/ 43 h 107"/>
                <a:gd name="T4" fmla="*/ 9 w 12"/>
                <a:gd name="T5" fmla="*/ 31 h 107"/>
                <a:gd name="T6" fmla="*/ 6 w 12"/>
                <a:gd name="T7" fmla="*/ 21 h 107"/>
                <a:gd name="T8" fmla="*/ 9 w 12"/>
                <a:gd name="T9" fmla="*/ 12 h 107"/>
                <a:gd name="T10" fmla="*/ 12 w 12"/>
                <a:gd name="T11" fmla="*/ 0 h 107"/>
                <a:gd name="T12" fmla="*/ 6 w 12"/>
                <a:gd name="T13" fmla="*/ 0 h 107"/>
                <a:gd name="T14" fmla="*/ 3 w 12"/>
                <a:gd name="T15" fmla="*/ 9 h 107"/>
                <a:gd name="T16" fmla="*/ 0 w 12"/>
                <a:gd name="T17" fmla="*/ 21 h 107"/>
                <a:gd name="T18" fmla="*/ 2 w 12"/>
                <a:gd name="T19" fmla="*/ 31 h 107"/>
                <a:gd name="T20" fmla="*/ 3 w 12"/>
                <a:gd name="T21" fmla="*/ 33 h 107"/>
                <a:gd name="T22" fmla="*/ 6 w 12"/>
                <a:gd name="T23" fmla="*/ 43 h 107"/>
                <a:gd name="T24" fmla="*/ 3 w 12"/>
                <a:gd name="T25" fmla="*/ 52 h 107"/>
                <a:gd name="T26" fmla="*/ 0 w 12"/>
                <a:gd name="T27" fmla="*/ 64 h 107"/>
                <a:gd name="T28" fmla="*/ 3 w 12"/>
                <a:gd name="T29" fmla="*/ 76 h 107"/>
                <a:gd name="T30" fmla="*/ 5 w 12"/>
                <a:gd name="T31" fmla="*/ 79 h 107"/>
                <a:gd name="T32" fmla="*/ 6 w 12"/>
                <a:gd name="T33" fmla="*/ 85 h 107"/>
                <a:gd name="T34" fmla="*/ 3 w 12"/>
                <a:gd name="T35" fmla="*/ 95 h 107"/>
                <a:gd name="T36" fmla="*/ 0 w 12"/>
                <a:gd name="T37" fmla="*/ 107 h 107"/>
                <a:gd name="T38" fmla="*/ 6 w 12"/>
                <a:gd name="T39" fmla="*/ 107 h 107"/>
                <a:gd name="T40" fmla="*/ 9 w 12"/>
                <a:gd name="T41" fmla="*/ 97 h 107"/>
                <a:gd name="T42" fmla="*/ 12 w 12"/>
                <a:gd name="T43" fmla="*/ 85 h 107"/>
                <a:gd name="T44" fmla="*/ 11 w 12"/>
                <a:gd name="T45" fmla="*/ 79 h 107"/>
                <a:gd name="T46" fmla="*/ 9 w 12"/>
                <a:gd name="T47" fmla="*/ 73 h 107"/>
                <a:gd name="T48" fmla="*/ 6 w 12"/>
                <a:gd name="T49" fmla="*/ 64 h 107"/>
                <a:gd name="T50" fmla="*/ 9 w 12"/>
                <a:gd name="T51" fmla="*/ 55 h 107"/>
                <a:gd name="T52" fmla="*/ 12 w 12"/>
                <a:gd name="T53" fmla="*/ 4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107">
                  <a:moveTo>
                    <a:pt x="12" y="44"/>
                  </a:moveTo>
                  <a:cubicBezTo>
                    <a:pt x="12" y="44"/>
                    <a:pt x="12" y="43"/>
                    <a:pt x="12" y="43"/>
                  </a:cubicBezTo>
                  <a:cubicBezTo>
                    <a:pt x="12" y="37"/>
                    <a:pt x="10" y="34"/>
                    <a:pt x="9" y="31"/>
                  </a:cubicBezTo>
                  <a:cubicBezTo>
                    <a:pt x="7" y="28"/>
                    <a:pt x="6" y="26"/>
                    <a:pt x="6" y="21"/>
                  </a:cubicBezTo>
                  <a:cubicBezTo>
                    <a:pt x="6" y="17"/>
                    <a:pt x="7" y="15"/>
                    <a:pt x="9" y="12"/>
                  </a:cubicBezTo>
                  <a:cubicBezTo>
                    <a:pt x="10" y="9"/>
                    <a:pt x="12" y="6"/>
                    <a:pt x="12" y="0"/>
                  </a:cubicBezTo>
                  <a:cubicBezTo>
                    <a:pt x="6" y="0"/>
                    <a:pt x="6" y="0"/>
                    <a:pt x="6" y="0"/>
                  </a:cubicBezTo>
                  <a:cubicBezTo>
                    <a:pt x="6" y="5"/>
                    <a:pt x="5" y="7"/>
                    <a:pt x="3" y="9"/>
                  </a:cubicBezTo>
                  <a:cubicBezTo>
                    <a:pt x="2" y="12"/>
                    <a:pt x="0" y="15"/>
                    <a:pt x="0" y="21"/>
                  </a:cubicBezTo>
                  <a:cubicBezTo>
                    <a:pt x="0" y="26"/>
                    <a:pt x="1" y="29"/>
                    <a:pt x="2" y="31"/>
                  </a:cubicBezTo>
                  <a:cubicBezTo>
                    <a:pt x="3" y="32"/>
                    <a:pt x="3" y="33"/>
                    <a:pt x="3" y="33"/>
                  </a:cubicBezTo>
                  <a:cubicBezTo>
                    <a:pt x="5" y="36"/>
                    <a:pt x="6" y="38"/>
                    <a:pt x="6" y="43"/>
                  </a:cubicBezTo>
                  <a:cubicBezTo>
                    <a:pt x="6" y="47"/>
                    <a:pt x="5" y="50"/>
                    <a:pt x="3" y="52"/>
                  </a:cubicBezTo>
                  <a:cubicBezTo>
                    <a:pt x="2" y="55"/>
                    <a:pt x="0" y="58"/>
                    <a:pt x="0" y="64"/>
                  </a:cubicBezTo>
                  <a:cubicBezTo>
                    <a:pt x="0" y="70"/>
                    <a:pt x="2" y="73"/>
                    <a:pt x="3" y="76"/>
                  </a:cubicBezTo>
                  <a:cubicBezTo>
                    <a:pt x="4" y="77"/>
                    <a:pt x="5" y="78"/>
                    <a:pt x="5" y="79"/>
                  </a:cubicBezTo>
                  <a:cubicBezTo>
                    <a:pt x="5" y="81"/>
                    <a:pt x="6" y="83"/>
                    <a:pt x="6" y="85"/>
                  </a:cubicBezTo>
                  <a:cubicBezTo>
                    <a:pt x="6" y="90"/>
                    <a:pt x="5" y="92"/>
                    <a:pt x="3" y="95"/>
                  </a:cubicBezTo>
                  <a:cubicBezTo>
                    <a:pt x="2" y="97"/>
                    <a:pt x="0" y="101"/>
                    <a:pt x="0" y="107"/>
                  </a:cubicBezTo>
                  <a:cubicBezTo>
                    <a:pt x="6" y="107"/>
                    <a:pt x="6" y="107"/>
                    <a:pt x="6" y="107"/>
                  </a:cubicBezTo>
                  <a:cubicBezTo>
                    <a:pt x="6" y="102"/>
                    <a:pt x="7" y="100"/>
                    <a:pt x="9" y="97"/>
                  </a:cubicBezTo>
                  <a:cubicBezTo>
                    <a:pt x="10" y="94"/>
                    <a:pt x="12" y="91"/>
                    <a:pt x="12" y="85"/>
                  </a:cubicBezTo>
                  <a:cubicBezTo>
                    <a:pt x="12" y="83"/>
                    <a:pt x="11" y="81"/>
                    <a:pt x="11" y="79"/>
                  </a:cubicBezTo>
                  <a:cubicBezTo>
                    <a:pt x="10" y="77"/>
                    <a:pt x="9" y="75"/>
                    <a:pt x="9" y="73"/>
                  </a:cubicBezTo>
                  <a:cubicBezTo>
                    <a:pt x="7" y="71"/>
                    <a:pt x="6" y="69"/>
                    <a:pt x="6" y="64"/>
                  </a:cubicBezTo>
                  <a:cubicBezTo>
                    <a:pt x="6" y="59"/>
                    <a:pt x="7" y="57"/>
                    <a:pt x="9" y="55"/>
                  </a:cubicBezTo>
                  <a:cubicBezTo>
                    <a:pt x="10" y="52"/>
                    <a:pt x="11" y="49"/>
                    <a:pt x="12" y="44"/>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6" name="Rectangle 22"/>
            <p:cNvSpPr>
              <a:spLocks noChangeArrowheads="1"/>
            </p:cNvSpPr>
            <p:nvPr/>
          </p:nvSpPr>
          <p:spPr bwMode="auto">
            <a:xfrm>
              <a:off x="10721975" y="1624013"/>
              <a:ext cx="404813" cy="4016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7" name="Freeform 23"/>
            <p:cNvSpPr>
              <a:spLocks/>
            </p:cNvSpPr>
            <p:nvPr/>
          </p:nvSpPr>
          <p:spPr bwMode="auto">
            <a:xfrm>
              <a:off x="10793413" y="1768475"/>
              <a:ext cx="133350" cy="112713"/>
            </a:xfrm>
            <a:custGeom>
              <a:avLst/>
              <a:gdLst>
                <a:gd name="T0" fmla="*/ 55 w 60"/>
                <a:gd name="T1" fmla="*/ 36 h 51"/>
                <a:gd name="T2" fmla="*/ 58 w 60"/>
                <a:gd name="T3" fmla="*/ 24 h 51"/>
                <a:gd name="T4" fmla="*/ 60 w 60"/>
                <a:gd name="T5" fmla="*/ 15 h 51"/>
                <a:gd name="T6" fmla="*/ 58 w 60"/>
                <a:gd name="T7" fmla="*/ 5 h 51"/>
                <a:gd name="T8" fmla="*/ 57 w 60"/>
                <a:gd name="T9" fmla="*/ 3 h 51"/>
                <a:gd name="T10" fmla="*/ 45 w 60"/>
                <a:gd name="T11" fmla="*/ 0 h 51"/>
                <a:gd name="T12" fmla="*/ 27 w 60"/>
                <a:gd name="T13" fmla="*/ 9 h 51"/>
                <a:gd name="T14" fmla="*/ 21 w 60"/>
                <a:gd name="T15" fmla="*/ 8 h 51"/>
                <a:gd name="T16" fmla="*/ 14 w 60"/>
                <a:gd name="T17" fmla="*/ 10 h 51"/>
                <a:gd name="T18" fmla="*/ 8 w 60"/>
                <a:gd name="T19" fmla="*/ 20 h 51"/>
                <a:gd name="T20" fmla="*/ 0 w 60"/>
                <a:gd name="T21" fmla="*/ 34 h 51"/>
                <a:gd name="T22" fmla="*/ 16 w 60"/>
                <a:gd name="T23" fmla="*/ 51 h 51"/>
                <a:gd name="T24" fmla="*/ 17 w 60"/>
                <a:gd name="T25" fmla="*/ 51 h 51"/>
                <a:gd name="T26" fmla="*/ 19 w 60"/>
                <a:gd name="T27" fmla="*/ 51 h 51"/>
                <a:gd name="T28" fmla="*/ 55 w 60"/>
                <a:gd name="T29" fmla="*/ 51 h 51"/>
                <a:gd name="T30" fmla="*/ 55 w 60"/>
                <a:gd name="T31" fmla="*/ 51 h 51"/>
                <a:gd name="T32" fmla="*/ 56 w 60"/>
                <a:gd name="T33" fmla="*/ 51 h 51"/>
                <a:gd name="T34" fmla="*/ 59 w 60"/>
                <a:gd name="T35" fmla="*/ 51 h 51"/>
                <a:gd name="T36" fmla="*/ 59 w 60"/>
                <a:gd name="T37" fmla="*/ 51 h 51"/>
                <a:gd name="T38" fmla="*/ 58 w 60"/>
                <a:gd name="T39" fmla="*/ 48 h 51"/>
                <a:gd name="T40" fmla="*/ 55 w 60"/>
                <a:gd name="T41"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51">
                  <a:moveTo>
                    <a:pt x="55" y="36"/>
                  </a:moveTo>
                  <a:cubicBezTo>
                    <a:pt x="55" y="30"/>
                    <a:pt x="56" y="27"/>
                    <a:pt x="58" y="24"/>
                  </a:cubicBezTo>
                  <a:cubicBezTo>
                    <a:pt x="59" y="22"/>
                    <a:pt x="60" y="19"/>
                    <a:pt x="60" y="15"/>
                  </a:cubicBezTo>
                  <a:cubicBezTo>
                    <a:pt x="60" y="10"/>
                    <a:pt x="59" y="8"/>
                    <a:pt x="58" y="5"/>
                  </a:cubicBezTo>
                  <a:cubicBezTo>
                    <a:pt x="57" y="5"/>
                    <a:pt x="57" y="4"/>
                    <a:pt x="57" y="3"/>
                  </a:cubicBezTo>
                  <a:cubicBezTo>
                    <a:pt x="53" y="1"/>
                    <a:pt x="49" y="0"/>
                    <a:pt x="45" y="0"/>
                  </a:cubicBezTo>
                  <a:cubicBezTo>
                    <a:pt x="37" y="0"/>
                    <a:pt x="31" y="3"/>
                    <a:pt x="27" y="9"/>
                  </a:cubicBezTo>
                  <a:cubicBezTo>
                    <a:pt x="25" y="8"/>
                    <a:pt x="23" y="8"/>
                    <a:pt x="21" y="8"/>
                  </a:cubicBezTo>
                  <a:cubicBezTo>
                    <a:pt x="18" y="8"/>
                    <a:pt x="16" y="8"/>
                    <a:pt x="14" y="10"/>
                  </a:cubicBezTo>
                  <a:cubicBezTo>
                    <a:pt x="10" y="12"/>
                    <a:pt x="8" y="16"/>
                    <a:pt x="8" y="20"/>
                  </a:cubicBezTo>
                  <a:cubicBezTo>
                    <a:pt x="4" y="23"/>
                    <a:pt x="0" y="28"/>
                    <a:pt x="0" y="34"/>
                  </a:cubicBezTo>
                  <a:cubicBezTo>
                    <a:pt x="0" y="43"/>
                    <a:pt x="7" y="50"/>
                    <a:pt x="16" y="51"/>
                  </a:cubicBezTo>
                  <a:cubicBezTo>
                    <a:pt x="16" y="51"/>
                    <a:pt x="17" y="51"/>
                    <a:pt x="17" y="51"/>
                  </a:cubicBezTo>
                  <a:cubicBezTo>
                    <a:pt x="18" y="51"/>
                    <a:pt x="19" y="51"/>
                    <a:pt x="19" y="51"/>
                  </a:cubicBezTo>
                  <a:cubicBezTo>
                    <a:pt x="27" y="51"/>
                    <a:pt x="46" y="51"/>
                    <a:pt x="55" y="51"/>
                  </a:cubicBezTo>
                  <a:cubicBezTo>
                    <a:pt x="55" y="51"/>
                    <a:pt x="55" y="51"/>
                    <a:pt x="55" y="51"/>
                  </a:cubicBezTo>
                  <a:cubicBezTo>
                    <a:pt x="56" y="51"/>
                    <a:pt x="56" y="51"/>
                    <a:pt x="56" y="51"/>
                  </a:cubicBezTo>
                  <a:cubicBezTo>
                    <a:pt x="57" y="51"/>
                    <a:pt x="58" y="51"/>
                    <a:pt x="59" y="51"/>
                  </a:cubicBezTo>
                  <a:cubicBezTo>
                    <a:pt x="59" y="51"/>
                    <a:pt x="59" y="51"/>
                    <a:pt x="59" y="51"/>
                  </a:cubicBezTo>
                  <a:cubicBezTo>
                    <a:pt x="59" y="50"/>
                    <a:pt x="58" y="49"/>
                    <a:pt x="58" y="48"/>
                  </a:cubicBezTo>
                  <a:cubicBezTo>
                    <a:pt x="56" y="45"/>
                    <a:pt x="55" y="42"/>
                    <a:pt x="55" y="36"/>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8" name="Freeform 24"/>
            <p:cNvSpPr>
              <a:spLocks/>
            </p:cNvSpPr>
            <p:nvPr/>
          </p:nvSpPr>
          <p:spPr bwMode="auto">
            <a:xfrm>
              <a:off x="10942638" y="1798638"/>
              <a:ext cx="0" cy="4763"/>
            </a:xfrm>
            <a:custGeom>
              <a:avLst/>
              <a:gdLst>
                <a:gd name="T0" fmla="*/ 1 h 2"/>
                <a:gd name="T1" fmla="*/ 0 h 2"/>
                <a:gd name="T2" fmla="*/ 2 h 2"/>
                <a:gd name="T3" fmla="*/ 1 h 2"/>
              </a:gdLst>
              <a:ahLst/>
              <a:cxnLst>
                <a:cxn ang="0">
                  <a:pos x="0" y="T0"/>
                </a:cxn>
                <a:cxn ang="0">
                  <a:pos x="0" y="T1"/>
                </a:cxn>
                <a:cxn ang="0">
                  <a:pos x="0" y="T2"/>
                </a:cxn>
                <a:cxn ang="0">
                  <a:pos x="0" y="T3"/>
                </a:cxn>
              </a:cxnLst>
              <a:rect l="0" t="0" r="r" b="b"/>
              <a:pathLst>
                <a:path h="2">
                  <a:moveTo>
                    <a:pt x="0" y="1"/>
                  </a:moveTo>
                  <a:cubicBezTo>
                    <a:pt x="0" y="0"/>
                    <a:pt x="0" y="0"/>
                    <a:pt x="0" y="0"/>
                  </a:cubicBezTo>
                  <a:cubicBezTo>
                    <a:pt x="0" y="2"/>
                    <a:pt x="0" y="2"/>
                    <a:pt x="0" y="2"/>
                  </a:cubicBezTo>
                  <a:cubicBezTo>
                    <a:pt x="0" y="1"/>
                    <a:pt x="0" y="1"/>
                    <a:pt x="0" y="1"/>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59" name="Freeform 25"/>
            <p:cNvSpPr>
              <a:spLocks/>
            </p:cNvSpPr>
            <p:nvPr/>
          </p:nvSpPr>
          <p:spPr bwMode="auto">
            <a:xfrm>
              <a:off x="10960100" y="1743075"/>
              <a:ext cx="95250" cy="153988"/>
            </a:xfrm>
            <a:custGeom>
              <a:avLst/>
              <a:gdLst>
                <a:gd name="T0" fmla="*/ 19 w 43"/>
                <a:gd name="T1" fmla="*/ 7 h 69"/>
                <a:gd name="T2" fmla="*/ 19 w 43"/>
                <a:gd name="T3" fmla="*/ 0 h 69"/>
                <a:gd name="T4" fmla="*/ 1 w 43"/>
                <a:gd name="T5" fmla="*/ 0 h 69"/>
                <a:gd name="T6" fmla="*/ 0 w 43"/>
                <a:gd name="T7" fmla="*/ 4 h 69"/>
                <a:gd name="T8" fmla="*/ 3 w 43"/>
                <a:gd name="T9" fmla="*/ 14 h 69"/>
                <a:gd name="T10" fmla="*/ 3 w 43"/>
                <a:gd name="T11" fmla="*/ 15 h 69"/>
                <a:gd name="T12" fmla="*/ 36 w 43"/>
                <a:gd name="T13" fmla="*/ 15 h 69"/>
                <a:gd name="T14" fmla="*/ 36 w 43"/>
                <a:gd name="T15" fmla="*/ 21 h 69"/>
                <a:gd name="T16" fmla="*/ 5 w 43"/>
                <a:gd name="T17" fmla="*/ 21 h 69"/>
                <a:gd name="T18" fmla="*/ 6 w 43"/>
                <a:gd name="T19" fmla="*/ 25 h 69"/>
                <a:gd name="T20" fmla="*/ 36 w 43"/>
                <a:gd name="T21" fmla="*/ 25 h 69"/>
                <a:gd name="T22" fmla="*/ 36 w 43"/>
                <a:gd name="T23" fmla="*/ 31 h 69"/>
                <a:gd name="T24" fmla="*/ 5 w 43"/>
                <a:gd name="T25" fmla="*/ 31 h 69"/>
                <a:gd name="T26" fmla="*/ 3 w 43"/>
                <a:gd name="T27" fmla="*/ 36 h 69"/>
                <a:gd name="T28" fmla="*/ 36 w 43"/>
                <a:gd name="T29" fmla="*/ 36 h 69"/>
                <a:gd name="T30" fmla="*/ 36 w 43"/>
                <a:gd name="T31" fmla="*/ 42 h 69"/>
                <a:gd name="T32" fmla="*/ 1 w 43"/>
                <a:gd name="T33" fmla="*/ 42 h 69"/>
                <a:gd name="T34" fmla="*/ 0 w 43"/>
                <a:gd name="T35" fmla="*/ 47 h 69"/>
                <a:gd name="T36" fmla="*/ 36 w 43"/>
                <a:gd name="T37" fmla="*/ 47 h 69"/>
                <a:gd name="T38" fmla="*/ 36 w 43"/>
                <a:gd name="T39" fmla="*/ 53 h 69"/>
                <a:gd name="T40" fmla="*/ 1 w 43"/>
                <a:gd name="T41" fmla="*/ 53 h 69"/>
                <a:gd name="T42" fmla="*/ 3 w 43"/>
                <a:gd name="T43" fmla="*/ 56 h 69"/>
                <a:gd name="T44" fmla="*/ 5 w 43"/>
                <a:gd name="T45" fmla="*/ 62 h 69"/>
                <a:gd name="T46" fmla="*/ 6 w 43"/>
                <a:gd name="T47" fmla="*/ 68 h 69"/>
                <a:gd name="T48" fmla="*/ 6 w 43"/>
                <a:gd name="T49" fmla="*/ 69 h 69"/>
                <a:gd name="T50" fmla="*/ 8 w 43"/>
                <a:gd name="T51" fmla="*/ 69 h 69"/>
                <a:gd name="T52" fmla="*/ 8 w 43"/>
                <a:gd name="T53" fmla="*/ 57 h 69"/>
                <a:gd name="T54" fmla="*/ 14 w 43"/>
                <a:gd name="T55" fmla="*/ 57 h 69"/>
                <a:gd name="T56" fmla="*/ 14 w 43"/>
                <a:gd name="T57" fmla="*/ 69 h 69"/>
                <a:gd name="T58" fmla="*/ 19 w 43"/>
                <a:gd name="T59" fmla="*/ 69 h 69"/>
                <a:gd name="T60" fmla="*/ 19 w 43"/>
                <a:gd name="T61" fmla="*/ 57 h 69"/>
                <a:gd name="T62" fmla="*/ 25 w 43"/>
                <a:gd name="T63" fmla="*/ 57 h 69"/>
                <a:gd name="T64" fmla="*/ 25 w 43"/>
                <a:gd name="T65" fmla="*/ 69 h 69"/>
                <a:gd name="T66" fmla="*/ 40 w 43"/>
                <a:gd name="T67" fmla="*/ 69 h 69"/>
                <a:gd name="T68" fmla="*/ 40 w 43"/>
                <a:gd name="T69" fmla="*/ 9 h 69"/>
                <a:gd name="T70" fmla="*/ 43 w 43"/>
                <a:gd name="T71" fmla="*/ 9 h 69"/>
                <a:gd name="T72" fmla="*/ 43 w 43"/>
                <a:gd name="T73" fmla="*/ 7 h 69"/>
                <a:gd name="T74" fmla="*/ 19 w 43"/>
                <a:gd name="T75"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 h="69">
                  <a:moveTo>
                    <a:pt x="19" y="7"/>
                  </a:moveTo>
                  <a:cubicBezTo>
                    <a:pt x="19" y="0"/>
                    <a:pt x="19" y="0"/>
                    <a:pt x="19" y="0"/>
                  </a:cubicBezTo>
                  <a:cubicBezTo>
                    <a:pt x="1" y="0"/>
                    <a:pt x="1" y="0"/>
                    <a:pt x="1" y="0"/>
                  </a:cubicBezTo>
                  <a:cubicBezTo>
                    <a:pt x="0" y="1"/>
                    <a:pt x="0" y="3"/>
                    <a:pt x="0" y="4"/>
                  </a:cubicBezTo>
                  <a:cubicBezTo>
                    <a:pt x="0" y="9"/>
                    <a:pt x="1" y="11"/>
                    <a:pt x="3" y="14"/>
                  </a:cubicBezTo>
                  <a:cubicBezTo>
                    <a:pt x="3" y="14"/>
                    <a:pt x="3" y="14"/>
                    <a:pt x="3" y="15"/>
                  </a:cubicBezTo>
                  <a:cubicBezTo>
                    <a:pt x="36" y="15"/>
                    <a:pt x="36" y="15"/>
                    <a:pt x="36" y="15"/>
                  </a:cubicBezTo>
                  <a:cubicBezTo>
                    <a:pt x="36" y="21"/>
                    <a:pt x="36" y="21"/>
                    <a:pt x="36" y="21"/>
                  </a:cubicBezTo>
                  <a:cubicBezTo>
                    <a:pt x="5" y="21"/>
                    <a:pt x="5" y="21"/>
                    <a:pt x="5" y="21"/>
                  </a:cubicBezTo>
                  <a:cubicBezTo>
                    <a:pt x="5" y="22"/>
                    <a:pt x="6" y="24"/>
                    <a:pt x="6" y="25"/>
                  </a:cubicBezTo>
                  <a:cubicBezTo>
                    <a:pt x="36" y="25"/>
                    <a:pt x="36" y="25"/>
                    <a:pt x="36" y="25"/>
                  </a:cubicBezTo>
                  <a:cubicBezTo>
                    <a:pt x="36" y="31"/>
                    <a:pt x="36" y="31"/>
                    <a:pt x="36" y="31"/>
                  </a:cubicBezTo>
                  <a:cubicBezTo>
                    <a:pt x="5" y="31"/>
                    <a:pt x="5" y="31"/>
                    <a:pt x="5" y="31"/>
                  </a:cubicBezTo>
                  <a:cubicBezTo>
                    <a:pt x="5" y="33"/>
                    <a:pt x="4" y="35"/>
                    <a:pt x="3" y="36"/>
                  </a:cubicBezTo>
                  <a:cubicBezTo>
                    <a:pt x="36" y="36"/>
                    <a:pt x="36" y="36"/>
                    <a:pt x="36" y="36"/>
                  </a:cubicBezTo>
                  <a:cubicBezTo>
                    <a:pt x="36" y="42"/>
                    <a:pt x="36" y="42"/>
                    <a:pt x="36" y="42"/>
                  </a:cubicBezTo>
                  <a:cubicBezTo>
                    <a:pt x="1" y="42"/>
                    <a:pt x="1" y="42"/>
                    <a:pt x="1" y="42"/>
                  </a:cubicBezTo>
                  <a:cubicBezTo>
                    <a:pt x="0" y="43"/>
                    <a:pt x="0" y="45"/>
                    <a:pt x="0" y="47"/>
                  </a:cubicBezTo>
                  <a:cubicBezTo>
                    <a:pt x="36" y="47"/>
                    <a:pt x="36" y="47"/>
                    <a:pt x="36" y="47"/>
                  </a:cubicBezTo>
                  <a:cubicBezTo>
                    <a:pt x="36" y="53"/>
                    <a:pt x="36" y="53"/>
                    <a:pt x="36" y="53"/>
                  </a:cubicBezTo>
                  <a:cubicBezTo>
                    <a:pt x="1" y="53"/>
                    <a:pt x="1" y="53"/>
                    <a:pt x="1" y="53"/>
                  </a:cubicBezTo>
                  <a:cubicBezTo>
                    <a:pt x="1" y="54"/>
                    <a:pt x="2" y="55"/>
                    <a:pt x="3" y="56"/>
                  </a:cubicBezTo>
                  <a:cubicBezTo>
                    <a:pt x="3" y="58"/>
                    <a:pt x="4" y="60"/>
                    <a:pt x="5" y="62"/>
                  </a:cubicBezTo>
                  <a:cubicBezTo>
                    <a:pt x="5" y="64"/>
                    <a:pt x="6" y="66"/>
                    <a:pt x="6" y="68"/>
                  </a:cubicBezTo>
                  <a:cubicBezTo>
                    <a:pt x="6" y="69"/>
                    <a:pt x="6" y="69"/>
                    <a:pt x="6" y="69"/>
                  </a:cubicBezTo>
                  <a:cubicBezTo>
                    <a:pt x="8" y="69"/>
                    <a:pt x="8" y="69"/>
                    <a:pt x="8" y="69"/>
                  </a:cubicBezTo>
                  <a:cubicBezTo>
                    <a:pt x="8" y="57"/>
                    <a:pt x="8" y="57"/>
                    <a:pt x="8" y="57"/>
                  </a:cubicBezTo>
                  <a:cubicBezTo>
                    <a:pt x="14" y="57"/>
                    <a:pt x="14" y="57"/>
                    <a:pt x="14" y="57"/>
                  </a:cubicBezTo>
                  <a:cubicBezTo>
                    <a:pt x="14" y="69"/>
                    <a:pt x="14" y="69"/>
                    <a:pt x="14" y="69"/>
                  </a:cubicBezTo>
                  <a:cubicBezTo>
                    <a:pt x="19" y="69"/>
                    <a:pt x="19" y="69"/>
                    <a:pt x="19" y="69"/>
                  </a:cubicBezTo>
                  <a:cubicBezTo>
                    <a:pt x="19" y="57"/>
                    <a:pt x="19" y="57"/>
                    <a:pt x="19" y="57"/>
                  </a:cubicBezTo>
                  <a:cubicBezTo>
                    <a:pt x="25" y="57"/>
                    <a:pt x="25" y="57"/>
                    <a:pt x="25" y="57"/>
                  </a:cubicBezTo>
                  <a:cubicBezTo>
                    <a:pt x="25" y="69"/>
                    <a:pt x="25" y="69"/>
                    <a:pt x="25" y="69"/>
                  </a:cubicBezTo>
                  <a:cubicBezTo>
                    <a:pt x="40" y="69"/>
                    <a:pt x="40" y="69"/>
                    <a:pt x="40" y="69"/>
                  </a:cubicBezTo>
                  <a:cubicBezTo>
                    <a:pt x="40" y="9"/>
                    <a:pt x="40" y="9"/>
                    <a:pt x="40" y="9"/>
                  </a:cubicBezTo>
                  <a:cubicBezTo>
                    <a:pt x="43" y="9"/>
                    <a:pt x="43" y="9"/>
                    <a:pt x="43" y="9"/>
                  </a:cubicBezTo>
                  <a:cubicBezTo>
                    <a:pt x="43" y="7"/>
                    <a:pt x="43" y="7"/>
                    <a:pt x="43" y="7"/>
                  </a:cubicBezTo>
                  <a:lnTo>
                    <a:pt x="19" y="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0" name="Freeform 26"/>
            <p:cNvSpPr>
              <a:spLocks/>
            </p:cNvSpPr>
            <p:nvPr/>
          </p:nvSpPr>
          <p:spPr bwMode="auto">
            <a:xfrm>
              <a:off x="10942638" y="1892300"/>
              <a:ext cx="0" cy="4763"/>
            </a:xfrm>
            <a:custGeom>
              <a:avLst/>
              <a:gdLst>
                <a:gd name="T0" fmla="*/ 0 h 2"/>
                <a:gd name="T1" fmla="*/ 2 h 2"/>
                <a:gd name="T2" fmla="*/ 2 h 2"/>
                <a:gd name="T3" fmla="*/ 1 h 2"/>
                <a:gd name="T4" fmla="*/ 0 h 2"/>
              </a:gdLst>
              <a:ahLst/>
              <a:cxnLst>
                <a:cxn ang="0">
                  <a:pos x="0" y="T0"/>
                </a:cxn>
                <a:cxn ang="0">
                  <a:pos x="0" y="T1"/>
                </a:cxn>
                <a:cxn ang="0">
                  <a:pos x="0" y="T2"/>
                </a:cxn>
                <a:cxn ang="0">
                  <a:pos x="0" y="T3"/>
                </a:cxn>
                <a:cxn ang="0">
                  <a:pos x="0" y="T4"/>
                </a:cxn>
              </a:cxnLst>
              <a:rect l="0" t="0" r="r" b="b"/>
              <a:pathLst>
                <a:path h="2">
                  <a:moveTo>
                    <a:pt x="0" y="0"/>
                  </a:moveTo>
                  <a:cubicBezTo>
                    <a:pt x="0" y="2"/>
                    <a:pt x="0" y="2"/>
                    <a:pt x="0" y="2"/>
                  </a:cubicBezTo>
                  <a:cubicBezTo>
                    <a:pt x="0" y="2"/>
                    <a:pt x="0" y="2"/>
                    <a:pt x="0" y="2"/>
                  </a:cubicBezTo>
                  <a:cubicBezTo>
                    <a:pt x="0" y="2"/>
                    <a:pt x="0" y="2"/>
                    <a:pt x="0" y="1"/>
                  </a:cubicBezTo>
                  <a:cubicBezTo>
                    <a:pt x="0" y="1"/>
                    <a:pt x="0" y="1"/>
                    <a:pt x="0"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1" name="Freeform 27"/>
            <p:cNvSpPr>
              <a:spLocks/>
            </p:cNvSpPr>
            <p:nvPr/>
          </p:nvSpPr>
          <p:spPr bwMode="auto">
            <a:xfrm>
              <a:off x="10931525" y="1706563"/>
              <a:ext cx="23813" cy="236538"/>
            </a:xfrm>
            <a:custGeom>
              <a:avLst/>
              <a:gdLst>
                <a:gd name="T0" fmla="*/ 11 w 11"/>
                <a:gd name="T1" fmla="*/ 44 h 107"/>
                <a:gd name="T2" fmla="*/ 11 w 11"/>
                <a:gd name="T3" fmla="*/ 43 h 107"/>
                <a:gd name="T4" fmla="*/ 8 w 11"/>
                <a:gd name="T5" fmla="*/ 31 h 107"/>
                <a:gd name="T6" fmla="*/ 6 w 11"/>
                <a:gd name="T7" fmla="*/ 21 h 107"/>
                <a:gd name="T8" fmla="*/ 8 w 11"/>
                <a:gd name="T9" fmla="*/ 12 h 107"/>
                <a:gd name="T10" fmla="*/ 11 w 11"/>
                <a:gd name="T11" fmla="*/ 0 h 107"/>
                <a:gd name="T12" fmla="*/ 5 w 11"/>
                <a:gd name="T13" fmla="*/ 0 h 107"/>
                <a:gd name="T14" fmla="*/ 3 w 11"/>
                <a:gd name="T15" fmla="*/ 9 h 107"/>
                <a:gd name="T16" fmla="*/ 0 w 11"/>
                <a:gd name="T17" fmla="*/ 21 h 107"/>
                <a:gd name="T18" fmla="*/ 2 w 11"/>
                <a:gd name="T19" fmla="*/ 31 h 107"/>
                <a:gd name="T20" fmla="*/ 3 w 11"/>
                <a:gd name="T21" fmla="*/ 33 h 107"/>
                <a:gd name="T22" fmla="*/ 5 w 11"/>
                <a:gd name="T23" fmla="*/ 43 h 107"/>
                <a:gd name="T24" fmla="*/ 3 w 11"/>
                <a:gd name="T25" fmla="*/ 52 h 107"/>
                <a:gd name="T26" fmla="*/ 0 w 11"/>
                <a:gd name="T27" fmla="*/ 64 h 107"/>
                <a:gd name="T28" fmla="*/ 3 w 11"/>
                <a:gd name="T29" fmla="*/ 76 h 107"/>
                <a:gd name="T30" fmla="*/ 4 w 11"/>
                <a:gd name="T31" fmla="*/ 79 h 107"/>
                <a:gd name="T32" fmla="*/ 5 w 11"/>
                <a:gd name="T33" fmla="*/ 85 h 107"/>
                <a:gd name="T34" fmla="*/ 3 w 11"/>
                <a:gd name="T35" fmla="*/ 95 h 107"/>
                <a:gd name="T36" fmla="*/ 0 w 11"/>
                <a:gd name="T37" fmla="*/ 107 h 107"/>
                <a:gd name="T38" fmla="*/ 6 w 11"/>
                <a:gd name="T39" fmla="*/ 107 h 107"/>
                <a:gd name="T40" fmla="*/ 8 w 11"/>
                <a:gd name="T41" fmla="*/ 97 h 107"/>
                <a:gd name="T42" fmla="*/ 11 w 11"/>
                <a:gd name="T43" fmla="*/ 85 h 107"/>
                <a:gd name="T44" fmla="*/ 10 w 11"/>
                <a:gd name="T45" fmla="*/ 79 h 107"/>
                <a:gd name="T46" fmla="*/ 8 w 11"/>
                <a:gd name="T47" fmla="*/ 73 h 107"/>
                <a:gd name="T48" fmla="*/ 6 w 11"/>
                <a:gd name="T49" fmla="*/ 64 h 107"/>
                <a:gd name="T50" fmla="*/ 8 w 11"/>
                <a:gd name="T51" fmla="*/ 55 h 107"/>
                <a:gd name="T52" fmla="*/ 11 w 11"/>
                <a:gd name="T53" fmla="*/ 4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107">
                  <a:moveTo>
                    <a:pt x="11" y="44"/>
                  </a:moveTo>
                  <a:cubicBezTo>
                    <a:pt x="11" y="44"/>
                    <a:pt x="11" y="43"/>
                    <a:pt x="11" y="43"/>
                  </a:cubicBezTo>
                  <a:cubicBezTo>
                    <a:pt x="11" y="37"/>
                    <a:pt x="9" y="34"/>
                    <a:pt x="8" y="31"/>
                  </a:cubicBezTo>
                  <a:cubicBezTo>
                    <a:pt x="7" y="28"/>
                    <a:pt x="6" y="26"/>
                    <a:pt x="6" y="21"/>
                  </a:cubicBezTo>
                  <a:cubicBezTo>
                    <a:pt x="6" y="17"/>
                    <a:pt x="7" y="15"/>
                    <a:pt x="8" y="12"/>
                  </a:cubicBezTo>
                  <a:cubicBezTo>
                    <a:pt x="9" y="9"/>
                    <a:pt x="11" y="6"/>
                    <a:pt x="11" y="0"/>
                  </a:cubicBezTo>
                  <a:cubicBezTo>
                    <a:pt x="5" y="0"/>
                    <a:pt x="5" y="0"/>
                    <a:pt x="5" y="0"/>
                  </a:cubicBezTo>
                  <a:cubicBezTo>
                    <a:pt x="5" y="5"/>
                    <a:pt x="4" y="7"/>
                    <a:pt x="3" y="9"/>
                  </a:cubicBezTo>
                  <a:cubicBezTo>
                    <a:pt x="2" y="12"/>
                    <a:pt x="0" y="15"/>
                    <a:pt x="0" y="21"/>
                  </a:cubicBezTo>
                  <a:cubicBezTo>
                    <a:pt x="0" y="26"/>
                    <a:pt x="1" y="29"/>
                    <a:pt x="2" y="31"/>
                  </a:cubicBezTo>
                  <a:cubicBezTo>
                    <a:pt x="2" y="32"/>
                    <a:pt x="3" y="33"/>
                    <a:pt x="3" y="33"/>
                  </a:cubicBezTo>
                  <a:cubicBezTo>
                    <a:pt x="4" y="36"/>
                    <a:pt x="5" y="38"/>
                    <a:pt x="5" y="43"/>
                  </a:cubicBezTo>
                  <a:cubicBezTo>
                    <a:pt x="5" y="47"/>
                    <a:pt x="4" y="50"/>
                    <a:pt x="3" y="52"/>
                  </a:cubicBezTo>
                  <a:cubicBezTo>
                    <a:pt x="2" y="55"/>
                    <a:pt x="0" y="58"/>
                    <a:pt x="0" y="64"/>
                  </a:cubicBezTo>
                  <a:cubicBezTo>
                    <a:pt x="0" y="70"/>
                    <a:pt x="2" y="73"/>
                    <a:pt x="3" y="76"/>
                  </a:cubicBezTo>
                  <a:cubicBezTo>
                    <a:pt x="3" y="77"/>
                    <a:pt x="4" y="78"/>
                    <a:pt x="4" y="79"/>
                  </a:cubicBezTo>
                  <a:cubicBezTo>
                    <a:pt x="5" y="81"/>
                    <a:pt x="5" y="83"/>
                    <a:pt x="5" y="85"/>
                  </a:cubicBezTo>
                  <a:cubicBezTo>
                    <a:pt x="5" y="90"/>
                    <a:pt x="4" y="92"/>
                    <a:pt x="3" y="95"/>
                  </a:cubicBezTo>
                  <a:cubicBezTo>
                    <a:pt x="2" y="97"/>
                    <a:pt x="0" y="101"/>
                    <a:pt x="0" y="107"/>
                  </a:cubicBezTo>
                  <a:cubicBezTo>
                    <a:pt x="6" y="107"/>
                    <a:pt x="6" y="107"/>
                    <a:pt x="6" y="107"/>
                  </a:cubicBezTo>
                  <a:cubicBezTo>
                    <a:pt x="6" y="102"/>
                    <a:pt x="7" y="100"/>
                    <a:pt x="8" y="97"/>
                  </a:cubicBezTo>
                  <a:cubicBezTo>
                    <a:pt x="9" y="94"/>
                    <a:pt x="11" y="91"/>
                    <a:pt x="11" y="85"/>
                  </a:cubicBezTo>
                  <a:cubicBezTo>
                    <a:pt x="11" y="83"/>
                    <a:pt x="11" y="81"/>
                    <a:pt x="10" y="79"/>
                  </a:cubicBezTo>
                  <a:cubicBezTo>
                    <a:pt x="10" y="77"/>
                    <a:pt x="9" y="75"/>
                    <a:pt x="8" y="73"/>
                  </a:cubicBezTo>
                  <a:cubicBezTo>
                    <a:pt x="7" y="71"/>
                    <a:pt x="6" y="69"/>
                    <a:pt x="6" y="64"/>
                  </a:cubicBezTo>
                  <a:cubicBezTo>
                    <a:pt x="6" y="59"/>
                    <a:pt x="7" y="57"/>
                    <a:pt x="8" y="55"/>
                  </a:cubicBezTo>
                  <a:cubicBezTo>
                    <a:pt x="9" y="52"/>
                    <a:pt x="11" y="49"/>
                    <a:pt x="11" y="44"/>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2" name="Freeform 28"/>
            <p:cNvSpPr>
              <a:spLocks/>
            </p:cNvSpPr>
            <p:nvPr/>
          </p:nvSpPr>
          <p:spPr bwMode="auto">
            <a:xfrm>
              <a:off x="10628313" y="1304925"/>
              <a:ext cx="152400" cy="174625"/>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3" name="Rectangle 29"/>
            <p:cNvSpPr>
              <a:spLocks noChangeArrowheads="1"/>
            </p:cNvSpPr>
            <p:nvPr/>
          </p:nvSpPr>
          <p:spPr bwMode="auto">
            <a:xfrm>
              <a:off x="10582275" y="1471613"/>
              <a:ext cx="244475" cy="230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4" name="Rectangle 30"/>
            <p:cNvSpPr>
              <a:spLocks noChangeArrowheads="1"/>
            </p:cNvSpPr>
            <p:nvPr/>
          </p:nvSpPr>
          <p:spPr bwMode="auto">
            <a:xfrm>
              <a:off x="10582275" y="1471613"/>
              <a:ext cx="65088" cy="23018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5" name="Freeform 31"/>
            <p:cNvSpPr>
              <a:spLocks/>
            </p:cNvSpPr>
            <p:nvPr/>
          </p:nvSpPr>
          <p:spPr bwMode="auto">
            <a:xfrm>
              <a:off x="10680700" y="1546225"/>
              <a:ext cx="47625" cy="88900"/>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6" name="Rectangle 32"/>
            <p:cNvSpPr>
              <a:spLocks noChangeArrowheads="1"/>
            </p:cNvSpPr>
            <p:nvPr/>
          </p:nvSpPr>
          <p:spPr bwMode="auto">
            <a:xfrm>
              <a:off x="10582275" y="1701800"/>
              <a:ext cx="242888" cy="301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7" name="Freeform 33"/>
            <p:cNvSpPr>
              <a:spLocks/>
            </p:cNvSpPr>
            <p:nvPr/>
          </p:nvSpPr>
          <p:spPr bwMode="auto">
            <a:xfrm>
              <a:off x="10426700" y="823913"/>
              <a:ext cx="549275" cy="361950"/>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68" name="Freeform 34"/>
            <p:cNvSpPr>
              <a:spLocks/>
            </p:cNvSpPr>
            <p:nvPr/>
          </p:nvSpPr>
          <p:spPr bwMode="auto">
            <a:xfrm>
              <a:off x="10939463" y="858838"/>
              <a:ext cx="153988" cy="100013"/>
            </a:xfrm>
            <a:custGeom>
              <a:avLst/>
              <a:gdLst>
                <a:gd name="T0" fmla="*/ 58 w 69"/>
                <a:gd name="T1" fmla="*/ 20 h 45"/>
                <a:gd name="T2" fmla="*/ 58 w 69"/>
                <a:gd name="T3" fmla="*/ 19 h 45"/>
                <a:gd name="T4" fmla="*/ 39 w 69"/>
                <a:gd name="T5" fmla="*/ 0 h 45"/>
                <a:gd name="T6" fmla="*/ 23 w 69"/>
                <a:gd name="T7" fmla="*/ 9 h 45"/>
                <a:gd name="T8" fmla="*/ 18 w 69"/>
                <a:gd name="T9" fmla="*/ 7 h 45"/>
                <a:gd name="T10" fmla="*/ 12 w 69"/>
                <a:gd name="T11" fmla="*/ 9 h 45"/>
                <a:gd name="T12" fmla="*/ 7 w 69"/>
                <a:gd name="T13" fmla="*/ 18 h 45"/>
                <a:gd name="T14" fmla="*/ 0 w 69"/>
                <a:gd name="T15" fmla="*/ 30 h 45"/>
                <a:gd name="T16" fmla="*/ 13 w 69"/>
                <a:gd name="T17" fmla="*/ 45 h 45"/>
                <a:gd name="T18" fmla="*/ 15 w 69"/>
                <a:gd name="T19" fmla="*/ 45 h 45"/>
                <a:gd name="T20" fmla="*/ 16 w 69"/>
                <a:gd name="T21" fmla="*/ 45 h 45"/>
                <a:gd name="T22" fmla="*/ 47 w 69"/>
                <a:gd name="T23" fmla="*/ 45 h 45"/>
                <a:gd name="T24" fmla="*/ 48 w 69"/>
                <a:gd name="T25" fmla="*/ 45 h 45"/>
                <a:gd name="T26" fmla="*/ 49 w 69"/>
                <a:gd name="T27" fmla="*/ 45 h 45"/>
                <a:gd name="T28" fmla="*/ 51 w 69"/>
                <a:gd name="T29" fmla="*/ 45 h 45"/>
                <a:gd name="T30" fmla="*/ 56 w 69"/>
                <a:gd name="T31" fmla="*/ 45 h 45"/>
                <a:gd name="T32" fmla="*/ 69 w 69"/>
                <a:gd name="T33" fmla="*/ 33 h 45"/>
                <a:gd name="T34" fmla="*/ 58 w 69"/>
                <a:gd name="T35"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8" y="20"/>
                  </a:moveTo>
                  <a:cubicBezTo>
                    <a:pt x="58" y="20"/>
                    <a:pt x="58" y="19"/>
                    <a:pt x="58" y="19"/>
                  </a:cubicBezTo>
                  <a:cubicBezTo>
                    <a:pt x="58" y="9"/>
                    <a:pt x="49" y="0"/>
                    <a:pt x="39" y="0"/>
                  </a:cubicBezTo>
                  <a:cubicBezTo>
                    <a:pt x="32" y="0"/>
                    <a:pt x="26" y="3"/>
                    <a:pt x="23" y="9"/>
                  </a:cubicBezTo>
                  <a:cubicBezTo>
                    <a:pt x="21" y="8"/>
                    <a:pt x="20" y="7"/>
                    <a:pt x="18" y="7"/>
                  </a:cubicBezTo>
                  <a:cubicBezTo>
                    <a:pt x="15" y="7"/>
                    <a:pt x="13" y="8"/>
                    <a:pt x="12" y="9"/>
                  </a:cubicBezTo>
                  <a:cubicBezTo>
                    <a:pt x="9" y="11"/>
                    <a:pt x="7" y="14"/>
                    <a:pt x="7" y="18"/>
                  </a:cubicBezTo>
                  <a:cubicBezTo>
                    <a:pt x="3" y="21"/>
                    <a:pt x="0" y="25"/>
                    <a:pt x="0" y="30"/>
                  </a:cubicBezTo>
                  <a:cubicBezTo>
                    <a:pt x="0" y="38"/>
                    <a:pt x="6" y="45"/>
                    <a:pt x="13" y="45"/>
                  </a:cubicBezTo>
                  <a:cubicBezTo>
                    <a:pt x="14" y="45"/>
                    <a:pt x="14" y="45"/>
                    <a:pt x="15" y="45"/>
                  </a:cubicBezTo>
                  <a:cubicBezTo>
                    <a:pt x="15" y="45"/>
                    <a:pt x="16" y="45"/>
                    <a:pt x="16" y="45"/>
                  </a:cubicBezTo>
                  <a:cubicBezTo>
                    <a:pt x="23" y="45"/>
                    <a:pt x="40" y="45"/>
                    <a:pt x="47" y="45"/>
                  </a:cubicBezTo>
                  <a:cubicBezTo>
                    <a:pt x="48" y="45"/>
                    <a:pt x="48" y="45"/>
                    <a:pt x="48" y="45"/>
                  </a:cubicBezTo>
                  <a:cubicBezTo>
                    <a:pt x="49" y="45"/>
                    <a:pt x="49" y="45"/>
                    <a:pt x="49" y="45"/>
                  </a:cubicBezTo>
                  <a:cubicBezTo>
                    <a:pt x="49" y="45"/>
                    <a:pt x="50" y="45"/>
                    <a:pt x="51" y="45"/>
                  </a:cubicBezTo>
                  <a:cubicBezTo>
                    <a:pt x="56" y="45"/>
                    <a:pt x="56" y="45"/>
                    <a:pt x="56" y="45"/>
                  </a:cubicBezTo>
                  <a:cubicBezTo>
                    <a:pt x="63" y="45"/>
                    <a:pt x="69" y="40"/>
                    <a:pt x="69" y="33"/>
                  </a:cubicBezTo>
                  <a:cubicBezTo>
                    <a:pt x="69" y="26"/>
                    <a:pt x="64" y="21"/>
                    <a:pt x="58" y="2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grpSp>
          <p:nvGrpSpPr>
            <p:cNvPr id="69" name="Group 68"/>
            <p:cNvGrpSpPr/>
            <p:nvPr/>
          </p:nvGrpSpPr>
          <p:grpSpPr>
            <a:xfrm>
              <a:off x="10186988" y="2246313"/>
              <a:ext cx="1050925" cy="496888"/>
              <a:chOff x="10186988" y="2246313"/>
              <a:chExt cx="1050925" cy="496888"/>
            </a:xfrm>
          </p:grpSpPr>
          <p:sp>
            <p:nvSpPr>
              <p:cNvPr id="70" name="Freeform 5"/>
              <p:cNvSpPr>
                <a:spLocks/>
              </p:cNvSpPr>
              <p:nvPr/>
            </p:nvSpPr>
            <p:spPr bwMode="auto">
              <a:xfrm>
                <a:off x="10186988" y="2428875"/>
                <a:ext cx="519113" cy="314325"/>
              </a:xfrm>
              <a:custGeom>
                <a:avLst/>
                <a:gdLst>
                  <a:gd name="T0" fmla="*/ 131 w 327"/>
                  <a:gd name="T1" fmla="*/ 33 h 198"/>
                  <a:gd name="T2" fmla="*/ 131 w 327"/>
                  <a:gd name="T3" fmla="*/ 0 h 198"/>
                  <a:gd name="T4" fmla="*/ 47 w 327"/>
                  <a:gd name="T5" fmla="*/ 0 h 198"/>
                  <a:gd name="T6" fmla="*/ 47 w 327"/>
                  <a:gd name="T7" fmla="*/ 33 h 198"/>
                  <a:gd name="T8" fmla="*/ 0 w 327"/>
                  <a:gd name="T9" fmla="*/ 33 h 198"/>
                  <a:gd name="T10" fmla="*/ 0 w 327"/>
                  <a:gd name="T11" fmla="*/ 42 h 198"/>
                  <a:gd name="T12" fmla="*/ 11 w 327"/>
                  <a:gd name="T13" fmla="*/ 42 h 198"/>
                  <a:gd name="T14" fmla="*/ 11 w 327"/>
                  <a:gd name="T15" fmla="*/ 198 h 198"/>
                  <a:gd name="T16" fmla="*/ 82 w 327"/>
                  <a:gd name="T17" fmla="*/ 198 h 198"/>
                  <a:gd name="T18" fmla="*/ 110 w 327"/>
                  <a:gd name="T19" fmla="*/ 198 h 198"/>
                  <a:gd name="T20" fmla="*/ 131 w 327"/>
                  <a:gd name="T21" fmla="*/ 198 h 198"/>
                  <a:gd name="T22" fmla="*/ 246 w 327"/>
                  <a:gd name="T23" fmla="*/ 198 h 198"/>
                  <a:gd name="T24" fmla="*/ 316 w 327"/>
                  <a:gd name="T25" fmla="*/ 198 h 198"/>
                  <a:gd name="T26" fmla="*/ 316 w 327"/>
                  <a:gd name="T27" fmla="*/ 42 h 198"/>
                  <a:gd name="T28" fmla="*/ 327 w 327"/>
                  <a:gd name="T29" fmla="*/ 42 h 198"/>
                  <a:gd name="T30" fmla="*/ 327 w 327"/>
                  <a:gd name="T31" fmla="*/ 33 h 198"/>
                  <a:gd name="T32" fmla="*/ 131 w 327"/>
                  <a:gd name="T33" fmla="*/ 3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7" h="198">
                    <a:moveTo>
                      <a:pt x="131" y="33"/>
                    </a:moveTo>
                    <a:lnTo>
                      <a:pt x="131" y="0"/>
                    </a:lnTo>
                    <a:lnTo>
                      <a:pt x="47" y="0"/>
                    </a:lnTo>
                    <a:lnTo>
                      <a:pt x="47" y="33"/>
                    </a:lnTo>
                    <a:lnTo>
                      <a:pt x="0" y="33"/>
                    </a:lnTo>
                    <a:lnTo>
                      <a:pt x="0" y="42"/>
                    </a:lnTo>
                    <a:lnTo>
                      <a:pt x="11" y="42"/>
                    </a:lnTo>
                    <a:lnTo>
                      <a:pt x="11" y="198"/>
                    </a:lnTo>
                    <a:lnTo>
                      <a:pt x="82" y="198"/>
                    </a:lnTo>
                    <a:lnTo>
                      <a:pt x="110" y="198"/>
                    </a:lnTo>
                    <a:lnTo>
                      <a:pt x="131" y="198"/>
                    </a:lnTo>
                    <a:lnTo>
                      <a:pt x="246" y="198"/>
                    </a:lnTo>
                    <a:lnTo>
                      <a:pt x="316" y="198"/>
                    </a:lnTo>
                    <a:lnTo>
                      <a:pt x="316" y="42"/>
                    </a:lnTo>
                    <a:lnTo>
                      <a:pt x="327" y="42"/>
                    </a:lnTo>
                    <a:lnTo>
                      <a:pt x="327" y="33"/>
                    </a:lnTo>
                    <a:lnTo>
                      <a:pt x="131" y="3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1" name="Freeform 6"/>
              <p:cNvSpPr>
                <a:spLocks/>
              </p:cNvSpPr>
              <p:nvPr/>
            </p:nvSpPr>
            <p:spPr bwMode="auto">
              <a:xfrm>
                <a:off x="10810875" y="2336800"/>
                <a:ext cx="427038" cy="406400"/>
              </a:xfrm>
              <a:custGeom>
                <a:avLst/>
                <a:gdLst>
                  <a:gd name="T0" fmla="*/ 130 w 269"/>
                  <a:gd name="T1" fmla="*/ 34 h 256"/>
                  <a:gd name="T2" fmla="*/ 130 w 269"/>
                  <a:gd name="T3" fmla="*/ 0 h 256"/>
                  <a:gd name="T4" fmla="*/ 46 w 269"/>
                  <a:gd name="T5" fmla="*/ 0 h 256"/>
                  <a:gd name="T6" fmla="*/ 46 w 269"/>
                  <a:gd name="T7" fmla="*/ 34 h 256"/>
                  <a:gd name="T8" fmla="*/ 0 w 269"/>
                  <a:gd name="T9" fmla="*/ 34 h 256"/>
                  <a:gd name="T10" fmla="*/ 0 w 269"/>
                  <a:gd name="T11" fmla="*/ 42 h 256"/>
                  <a:gd name="T12" fmla="*/ 11 w 269"/>
                  <a:gd name="T13" fmla="*/ 42 h 256"/>
                  <a:gd name="T14" fmla="*/ 11 w 269"/>
                  <a:gd name="T15" fmla="*/ 256 h 256"/>
                  <a:gd name="T16" fmla="*/ 81 w 269"/>
                  <a:gd name="T17" fmla="*/ 256 h 256"/>
                  <a:gd name="T18" fmla="*/ 109 w 269"/>
                  <a:gd name="T19" fmla="*/ 256 h 256"/>
                  <a:gd name="T20" fmla="*/ 130 w 269"/>
                  <a:gd name="T21" fmla="*/ 256 h 256"/>
                  <a:gd name="T22" fmla="*/ 188 w 269"/>
                  <a:gd name="T23" fmla="*/ 256 h 256"/>
                  <a:gd name="T24" fmla="*/ 258 w 269"/>
                  <a:gd name="T25" fmla="*/ 256 h 256"/>
                  <a:gd name="T26" fmla="*/ 258 w 269"/>
                  <a:gd name="T27" fmla="*/ 42 h 256"/>
                  <a:gd name="T28" fmla="*/ 269 w 269"/>
                  <a:gd name="T29" fmla="*/ 42 h 256"/>
                  <a:gd name="T30" fmla="*/ 269 w 269"/>
                  <a:gd name="T31" fmla="*/ 34 h 256"/>
                  <a:gd name="T32" fmla="*/ 130 w 269"/>
                  <a:gd name="T33" fmla="*/ 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9" h="256">
                    <a:moveTo>
                      <a:pt x="130" y="34"/>
                    </a:moveTo>
                    <a:lnTo>
                      <a:pt x="130" y="0"/>
                    </a:lnTo>
                    <a:lnTo>
                      <a:pt x="46" y="0"/>
                    </a:lnTo>
                    <a:lnTo>
                      <a:pt x="46" y="34"/>
                    </a:lnTo>
                    <a:lnTo>
                      <a:pt x="0" y="34"/>
                    </a:lnTo>
                    <a:lnTo>
                      <a:pt x="0" y="42"/>
                    </a:lnTo>
                    <a:lnTo>
                      <a:pt x="11" y="42"/>
                    </a:lnTo>
                    <a:lnTo>
                      <a:pt x="11" y="256"/>
                    </a:lnTo>
                    <a:lnTo>
                      <a:pt x="81" y="256"/>
                    </a:lnTo>
                    <a:lnTo>
                      <a:pt x="109" y="256"/>
                    </a:lnTo>
                    <a:lnTo>
                      <a:pt x="130" y="256"/>
                    </a:lnTo>
                    <a:lnTo>
                      <a:pt x="188" y="256"/>
                    </a:lnTo>
                    <a:lnTo>
                      <a:pt x="258" y="256"/>
                    </a:lnTo>
                    <a:lnTo>
                      <a:pt x="258" y="42"/>
                    </a:lnTo>
                    <a:lnTo>
                      <a:pt x="269" y="42"/>
                    </a:lnTo>
                    <a:lnTo>
                      <a:pt x="269" y="34"/>
                    </a:lnTo>
                    <a:lnTo>
                      <a:pt x="130" y="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2" name="Rectangle 7"/>
              <p:cNvSpPr>
                <a:spLocks noChangeArrowheads="1"/>
              </p:cNvSpPr>
              <p:nvPr/>
            </p:nvSpPr>
            <p:spPr bwMode="auto">
              <a:xfrm>
                <a:off x="10555288" y="2312988"/>
                <a:ext cx="347663" cy="4302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3" name="Rectangle 8"/>
              <p:cNvSpPr>
                <a:spLocks noChangeArrowheads="1"/>
              </p:cNvSpPr>
              <p:nvPr/>
            </p:nvSpPr>
            <p:spPr bwMode="auto">
              <a:xfrm>
                <a:off x="10537825" y="2298700"/>
                <a:ext cx="382588" cy="142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4" name="Rectangle 9"/>
              <p:cNvSpPr>
                <a:spLocks noChangeArrowheads="1"/>
              </p:cNvSpPr>
              <p:nvPr/>
            </p:nvSpPr>
            <p:spPr bwMode="auto">
              <a:xfrm>
                <a:off x="10747375" y="2657475"/>
                <a:ext cx="44450" cy="857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5" name="Rectangle 10"/>
              <p:cNvSpPr>
                <a:spLocks noChangeArrowheads="1"/>
              </p:cNvSpPr>
              <p:nvPr/>
            </p:nvSpPr>
            <p:spPr bwMode="auto">
              <a:xfrm>
                <a:off x="10669588" y="2657475"/>
                <a:ext cx="44450" cy="857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6" name="Rectangle 11"/>
              <p:cNvSpPr>
                <a:spLocks noChangeArrowheads="1"/>
              </p:cNvSpPr>
              <p:nvPr/>
            </p:nvSpPr>
            <p:spPr bwMode="auto">
              <a:xfrm>
                <a:off x="10588625" y="2351088"/>
                <a:ext cx="280988" cy="46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7" name="Rectangle 12"/>
              <p:cNvSpPr>
                <a:spLocks noChangeArrowheads="1"/>
              </p:cNvSpPr>
              <p:nvPr/>
            </p:nvSpPr>
            <p:spPr bwMode="auto">
              <a:xfrm>
                <a:off x="10588625" y="2428875"/>
                <a:ext cx="280988" cy="46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8" name="Rectangle 13"/>
              <p:cNvSpPr>
                <a:spLocks noChangeArrowheads="1"/>
              </p:cNvSpPr>
              <p:nvPr/>
            </p:nvSpPr>
            <p:spPr bwMode="auto">
              <a:xfrm>
                <a:off x="10588625" y="2506663"/>
                <a:ext cx="280988" cy="46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79" name="Rectangle 14"/>
              <p:cNvSpPr>
                <a:spLocks noChangeArrowheads="1"/>
              </p:cNvSpPr>
              <p:nvPr/>
            </p:nvSpPr>
            <p:spPr bwMode="auto">
              <a:xfrm>
                <a:off x="10588625" y="2584450"/>
                <a:ext cx="280988" cy="46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0" name="Rectangle 15"/>
              <p:cNvSpPr>
                <a:spLocks noChangeArrowheads="1"/>
              </p:cNvSpPr>
              <p:nvPr/>
            </p:nvSpPr>
            <p:spPr bwMode="auto">
              <a:xfrm>
                <a:off x="10614025" y="2246313"/>
                <a:ext cx="133350" cy="52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1" name="Rectangle 35"/>
              <p:cNvSpPr>
                <a:spLocks noChangeArrowheads="1"/>
              </p:cNvSpPr>
              <p:nvPr/>
            </p:nvSpPr>
            <p:spPr bwMode="auto">
              <a:xfrm>
                <a:off x="10420350" y="2674938"/>
                <a:ext cx="19050"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2" name="Oval 36"/>
              <p:cNvSpPr>
                <a:spLocks noChangeArrowheads="1"/>
              </p:cNvSpPr>
              <p:nvPr/>
            </p:nvSpPr>
            <p:spPr bwMode="auto">
              <a:xfrm>
                <a:off x="10383838" y="2614613"/>
                <a:ext cx="92075" cy="920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3" name="Oval 37"/>
              <p:cNvSpPr>
                <a:spLocks noChangeArrowheads="1"/>
              </p:cNvSpPr>
              <p:nvPr/>
            </p:nvSpPr>
            <p:spPr bwMode="auto">
              <a:xfrm>
                <a:off x="10394950" y="2568575"/>
                <a:ext cx="66675" cy="666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4" name="Rectangle 38"/>
              <p:cNvSpPr>
                <a:spLocks noChangeArrowheads="1"/>
              </p:cNvSpPr>
              <p:nvPr/>
            </p:nvSpPr>
            <p:spPr bwMode="auto">
              <a:xfrm>
                <a:off x="10298113" y="2674938"/>
                <a:ext cx="19050"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5" name="Oval 39"/>
              <p:cNvSpPr>
                <a:spLocks noChangeArrowheads="1"/>
              </p:cNvSpPr>
              <p:nvPr/>
            </p:nvSpPr>
            <p:spPr bwMode="auto">
              <a:xfrm>
                <a:off x="10261600" y="2614613"/>
                <a:ext cx="92075" cy="920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6" name="Oval 40"/>
              <p:cNvSpPr>
                <a:spLocks noChangeArrowheads="1"/>
              </p:cNvSpPr>
              <p:nvPr/>
            </p:nvSpPr>
            <p:spPr bwMode="auto">
              <a:xfrm>
                <a:off x="10272713" y="2568575"/>
                <a:ext cx="66675" cy="666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7" name="Rectangle 41"/>
              <p:cNvSpPr>
                <a:spLocks noChangeArrowheads="1"/>
              </p:cNvSpPr>
              <p:nvPr/>
            </p:nvSpPr>
            <p:spPr bwMode="auto">
              <a:xfrm>
                <a:off x="11106150" y="2674938"/>
                <a:ext cx="206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8" name="Oval 42"/>
              <p:cNvSpPr>
                <a:spLocks noChangeArrowheads="1"/>
              </p:cNvSpPr>
              <p:nvPr/>
            </p:nvSpPr>
            <p:spPr bwMode="auto">
              <a:xfrm>
                <a:off x="11069638" y="2614613"/>
                <a:ext cx="93663" cy="920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89" name="Oval 43"/>
              <p:cNvSpPr>
                <a:spLocks noChangeArrowheads="1"/>
              </p:cNvSpPr>
              <p:nvPr/>
            </p:nvSpPr>
            <p:spPr bwMode="auto">
              <a:xfrm>
                <a:off x="11082338" y="2568575"/>
                <a:ext cx="66675" cy="666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90" name="Rectangle 44"/>
              <p:cNvSpPr>
                <a:spLocks noChangeArrowheads="1"/>
              </p:cNvSpPr>
              <p:nvPr/>
            </p:nvSpPr>
            <p:spPr bwMode="auto">
              <a:xfrm>
                <a:off x="10983913" y="2674938"/>
                <a:ext cx="206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91" name="Oval 45"/>
              <p:cNvSpPr>
                <a:spLocks noChangeArrowheads="1"/>
              </p:cNvSpPr>
              <p:nvPr/>
            </p:nvSpPr>
            <p:spPr bwMode="auto">
              <a:xfrm>
                <a:off x="10948988" y="2614613"/>
                <a:ext cx="90488" cy="920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sp>
            <p:nvSpPr>
              <p:cNvPr id="92" name="Oval 46"/>
              <p:cNvSpPr>
                <a:spLocks noChangeArrowheads="1"/>
              </p:cNvSpPr>
              <p:nvPr/>
            </p:nvSpPr>
            <p:spPr bwMode="auto">
              <a:xfrm>
                <a:off x="10960100" y="2568575"/>
                <a:ext cx="66675" cy="666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9">
                  <a:defRPr/>
                </a:pPr>
                <a:endParaRPr lang="en-IN" sz="2216" kern="0">
                  <a:solidFill>
                    <a:srgbClr val="505050"/>
                  </a:solidFill>
                </a:endParaRPr>
              </a:p>
            </p:txBody>
          </p:sp>
        </p:grpSp>
      </p:grpSp>
    </p:spTree>
    <p:extLst>
      <p:ext uri="{BB962C8B-B14F-4D97-AF65-F5344CB8AC3E}">
        <p14:creationId xmlns:p14="http://schemas.microsoft.com/office/powerpoint/2010/main" val="174781542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64820" y="1547516"/>
            <a:ext cx="9128760" cy="1640184"/>
          </a:xfrm>
          <a:noFill/>
        </p:spPr>
        <p:txBody>
          <a:bodyPr wrap="square" tIns="91440" bIns="91440" anchor="ctr" anchorCtr="0">
            <a:noAutofit/>
          </a:bodyPr>
          <a:lstStyle>
            <a:lvl1pPr>
              <a:defRPr sz="7198" spc="-100" baseline="0">
                <a:gradFill>
                  <a:gsLst>
                    <a:gs pos="100000">
                      <a:schemeClr val="tx1"/>
                    </a:gs>
                    <a:gs pos="0">
                      <a:schemeClr val="tx1"/>
                    </a:gs>
                  </a:gsLst>
                  <a:lin ang="5400000" scaled="0"/>
                </a:gradFill>
              </a:defRPr>
            </a:lvl1pPr>
          </a:lstStyle>
          <a:p>
            <a:r>
              <a:rPr lang="en-US"/>
              <a:t>Section title</a:t>
            </a:r>
          </a:p>
        </p:txBody>
      </p:sp>
      <p:grpSp>
        <p:nvGrpSpPr>
          <p:cNvPr id="101" name="Group 100"/>
          <p:cNvGrpSpPr/>
          <p:nvPr userDrawn="1"/>
        </p:nvGrpSpPr>
        <p:grpSpPr>
          <a:xfrm>
            <a:off x="8371643" y="3912098"/>
            <a:ext cx="3607632" cy="2603003"/>
            <a:chOff x="1081088" y="4006850"/>
            <a:chExt cx="2662238" cy="1920876"/>
          </a:xfrm>
        </p:grpSpPr>
        <p:sp>
          <p:nvSpPr>
            <p:cNvPr id="8" name="Freeform 7"/>
            <p:cNvSpPr>
              <a:spLocks/>
            </p:cNvSpPr>
            <p:nvPr userDrawn="1"/>
          </p:nvSpPr>
          <p:spPr bwMode="auto">
            <a:xfrm>
              <a:off x="3321051" y="4429125"/>
              <a:ext cx="311150" cy="201613"/>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 name="Freeform 8"/>
            <p:cNvSpPr>
              <a:spLocks/>
            </p:cNvSpPr>
            <p:nvPr userDrawn="1"/>
          </p:nvSpPr>
          <p:spPr bwMode="auto">
            <a:xfrm>
              <a:off x="2330451" y="5432425"/>
              <a:ext cx="587375" cy="495300"/>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0" name="Freeform 9"/>
            <p:cNvSpPr>
              <a:spLocks/>
            </p:cNvSpPr>
            <p:nvPr userDrawn="1"/>
          </p:nvSpPr>
          <p:spPr bwMode="auto">
            <a:xfrm>
              <a:off x="2640013" y="5432425"/>
              <a:ext cx="585788" cy="495300"/>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1" name="Freeform 10"/>
            <p:cNvSpPr>
              <a:spLocks/>
            </p:cNvSpPr>
            <p:nvPr userDrawn="1"/>
          </p:nvSpPr>
          <p:spPr bwMode="auto">
            <a:xfrm>
              <a:off x="1081088" y="4429125"/>
              <a:ext cx="307975" cy="201613"/>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2" name="Rectangle 11"/>
            <p:cNvSpPr>
              <a:spLocks noChangeArrowheads="1"/>
            </p:cNvSpPr>
            <p:nvPr userDrawn="1"/>
          </p:nvSpPr>
          <p:spPr bwMode="auto">
            <a:xfrm>
              <a:off x="1957388" y="5257800"/>
              <a:ext cx="531813" cy="6699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 name="Rectangle 12"/>
            <p:cNvSpPr>
              <a:spLocks noChangeArrowheads="1"/>
            </p:cNvSpPr>
            <p:nvPr userDrawn="1"/>
          </p:nvSpPr>
          <p:spPr bwMode="auto">
            <a:xfrm>
              <a:off x="1931988" y="5238750"/>
              <a:ext cx="584200" cy="190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 name="Rectangle 13"/>
            <p:cNvSpPr>
              <a:spLocks noChangeArrowheads="1"/>
            </p:cNvSpPr>
            <p:nvPr userDrawn="1"/>
          </p:nvSpPr>
          <p:spPr bwMode="auto">
            <a:xfrm>
              <a:off x="2006601" y="5318125"/>
              <a:ext cx="68263" cy="714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 name="Rectangle 14"/>
            <p:cNvSpPr>
              <a:spLocks noChangeArrowheads="1"/>
            </p:cNvSpPr>
            <p:nvPr userDrawn="1"/>
          </p:nvSpPr>
          <p:spPr bwMode="auto">
            <a:xfrm>
              <a:off x="2006601" y="5318125"/>
              <a:ext cx="68263" cy="365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6" name="Rectangle 15"/>
            <p:cNvSpPr>
              <a:spLocks noChangeArrowheads="1"/>
            </p:cNvSpPr>
            <p:nvPr userDrawn="1"/>
          </p:nvSpPr>
          <p:spPr bwMode="auto">
            <a:xfrm>
              <a:off x="2127251" y="5318125"/>
              <a:ext cx="68263" cy="714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7" name="Rectangle 16"/>
            <p:cNvSpPr>
              <a:spLocks noChangeArrowheads="1"/>
            </p:cNvSpPr>
            <p:nvPr userDrawn="1"/>
          </p:nvSpPr>
          <p:spPr bwMode="auto">
            <a:xfrm>
              <a:off x="2246313" y="5318125"/>
              <a:ext cx="71438" cy="714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8" name="Rectangle 17"/>
            <p:cNvSpPr>
              <a:spLocks noChangeArrowheads="1"/>
            </p:cNvSpPr>
            <p:nvPr userDrawn="1"/>
          </p:nvSpPr>
          <p:spPr bwMode="auto">
            <a:xfrm>
              <a:off x="2127251" y="5791200"/>
              <a:ext cx="68263"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9" name="Rectangle 18"/>
            <p:cNvSpPr>
              <a:spLocks noChangeArrowheads="1"/>
            </p:cNvSpPr>
            <p:nvPr userDrawn="1"/>
          </p:nvSpPr>
          <p:spPr bwMode="auto">
            <a:xfrm>
              <a:off x="2246313" y="5791200"/>
              <a:ext cx="71438" cy="1365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0" name="Rectangle 19"/>
            <p:cNvSpPr>
              <a:spLocks noChangeArrowheads="1"/>
            </p:cNvSpPr>
            <p:nvPr userDrawn="1"/>
          </p:nvSpPr>
          <p:spPr bwMode="auto">
            <a:xfrm>
              <a:off x="2368551" y="5318125"/>
              <a:ext cx="69850" cy="714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1" name="Rectangle 20"/>
            <p:cNvSpPr>
              <a:spLocks noChangeArrowheads="1"/>
            </p:cNvSpPr>
            <p:nvPr userDrawn="1"/>
          </p:nvSpPr>
          <p:spPr bwMode="auto">
            <a:xfrm>
              <a:off x="2006601" y="5438775"/>
              <a:ext cx="68263" cy="714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2" name="Rectangle 21"/>
            <p:cNvSpPr>
              <a:spLocks noChangeArrowheads="1"/>
            </p:cNvSpPr>
            <p:nvPr userDrawn="1"/>
          </p:nvSpPr>
          <p:spPr bwMode="auto">
            <a:xfrm>
              <a:off x="2127251" y="5438775"/>
              <a:ext cx="68263" cy="714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3" name="Rectangle 22"/>
            <p:cNvSpPr>
              <a:spLocks noChangeArrowheads="1"/>
            </p:cNvSpPr>
            <p:nvPr userDrawn="1"/>
          </p:nvSpPr>
          <p:spPr bwMode="auto">
            <a:xfrm>
              <a:off x="2246313" y="5438775"/>
              <a:ext cx="71438" cy="714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4" name="Rectangle 23"/>
            <p:cNvSpPr>
              <a:spLocks noChangeArrowheads="1"/>
            </p:cNvSpPr>
            <p:nvPr userDrawn="1"/>
          </p:nvSpPr>
          <p:spPr bwMode="auto">
            <a:xfrm>
              <a:off x="2368551" y="5438775"/>
              <a:ext cx="69850" cy="714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5" name="Rectangle 24"/>
            <p:cNvSpPr>
              <a:spLocks noChangeArrowheads="1"/>
            </p:cNvSpPr>
            <p:nvPr userDrawn="1"/>
          </p:nvSpPr>
          <p:spPr bwMode="auto">
            <a:xfrm>
              <a:off x="2006601" y="5561013"/>
              <a:ext cx="68263"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6" name="Rectangle 25"/>
            <p:cNvSpPr>
              <a:spLocks noChangeArrowheads="1"/>
            </p:cNvSpPr>
            <p:nvPr userDrawn="1"/>
          </p:nvSpPr>
          <p:spPr bwMode="auto">
            <a:xfrm>
              <a:off x="2127251" y="5561013"/>
              <a:ext cx="68263" cy="682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7" name="Rectangle 26"/>
            <p:cNvSpPr>
              <a:spLocks noChangeArrowheads="1"/>
            </p:cNvSpPr>
            <p:nvPr userDrawn="1"/>
          </p:nvSpPr>
          <p:spPr bwMode="auto">
            <a:xfrm>
              <a:off x="2246313" y="5561013"/>
              <a:ext cx="71438" cy="682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8" name="Rectangle 27"/>
            <p:cNvSpPr>
              <a:spLocks noChangeArrowheads="1"/>
            </p:cNvSpPr>
            <p:nvPr userDrawn="1"/>
          </p:nvSpPr>
          <p:spPr bwMode="auto">
            <a:xfrm>
              <a:off x="2368551" y="5561013"/>
              <a:ext cx="69850"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9" name="Rectangle 28"/>
            <p:cNvSpPr>
              <a:spLocks noChangeArrowheads="1"/>
            </p:cNvSpPr>
            <p:nvPr userDrawn="1"/>
          </p:nvSpPr>
          <p:spPr bwMode="auto">
            <a:xfrm>
              <a:off x="2006601" y="5680075"/>
              <a:ext cx="68263"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0" name="Rectangle 29"/>
            <p:cNvSpPr>
              <a:spLocks noChangeArrowheads="1"/>
            </p:cNvSpPr>
            <p:nvPr userDrawn="1"/>
          </p:nvSpPr>
          <p:spPr bwMode="auto">
            <a:xfrm>
              <a:off x="2127251" y="5680075"/>
              <a:ext cx="68263"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1" name="Rectangle 30"/>
            <p:cNvSpPr>
              <a:spLocks noChangeArrowheads="1"/>
            </p:cNvSpPr>
            <p:nvPr userDrawn="1"/>
          </p:nvSpPr>
          <p:spPr bwMode="auto">
            <a:xfrm>
              <a:off x="2246313" y="5680075"/>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2" name="Rectangle 31"/>
            <p:cNvSpPr>
              <a:spLocks noChangeArrowheads="1"/>
            </p:cNvSpPr>
            <p:nvPr userDrawn="1"/>
          </p:nvSpPr>
          <p:spPr bwMode="auto">
            <a:xfrm>
              <a:off x="2368551" y="5680075"/>
              <a:ext cx="69850" cy="698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3" name="Rectangle 32"/>
            <p:cNvSpPr>
              <a:spLocks noChangeArrowheads="1"/>
            </p:cNvSpPr>
            <p:nvPr userDrawn="1"/>
          </p:nvSpPr>
          <p:spPr bwMode="auto">
            <a:xfrm>
              <a:off x="2006601" y="5561013"/>
              <a:ext cx="68263" cy="333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4" name="Rectangle 33"/>
            <p:cNvSpPr>
              <a:spLocks noChangeArrowheads="1"/>
            </p:cNvSpPr>
            <p:nvPr userDrawn="1"/>
          </p:nvSpPr>
          <p:spPr bwMode="auto">
            <a:xfrm>
              <a:off x="2368551" y="5561013"/>
              <a:ext cx="69850" cy="333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5" name="Rectangle 34"/>
            <p:cNvSpPr>
              <a:spLocks noChangeArrowheads="1"/>
            </p:cNvSpPr>
            <p:nvPr userDrawn="1"/>
          </p:nvSpPr>
          <p:spPr bwMode="auto">
            <a:xfrm>
              <a:off x="2368551" y="5438775"/>
              <a:ext cx="69850" cy="34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6" name="Rectangle 35"/>
            <p:cNvSpPr>
              <a:spLocks noChangeArrowheads="1"/>
            </p:cNvSpPr>
            <p:nvPr userDrawn="1"/>
          </p:nvSpPr>
          <p:spPr bwMode="auto">
            <a:xfrm>
              <a:off x="1193801" y="5894388"/>
              <a:ext cx="763588" cy="333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7" name="Rectangle 36"/>
            <p:cNvSpPr>
              <a:spLocks noChangeArrowheads="1"/>
            </p:cNvSpPr>
            <p:nvPr userDrawn="1"/>
          </p:nvSpPr>
          <p:spPr bwMode="auto">
            <a:xfrm>
              <a:off x="1612901" y="5778500"/>
              <a:ext cx="31750" cy="115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8" name="Oval 37"/>
            <p:cNvSpPr>
              <a:spLocks noChangeArrowheads="1"/>
            </p:cNvSpPr>
            <p:nvPr userDrawn="1"/>
          </p:nvSpPr>
          <p:spPr bwMode="auto">
            <a:xfrm>
              <a:off x="1550988" y="5676900"/>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9" name="Oval 38"/>
            <p:cNvSpPr>
              <a:spLocks noChangeArrowheads="1"/>
            </p:cNvSpPr>
            <p:nvPr userDrawn="1"/>
          </p:nvSpPr>
          <p:spPr bwMode="auto">
            <a:xfrm>
              <a:off x="1571626" y="5599113"/>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0" name="Rectangle 39"/>
            <p:cNvSpPr>
              <a:spLocks noChangeArrowheads="1"/>
            </p:cNvSpPr>
            <p:nvPr userDrawn="1"/>
          </p:nvSpPr>
          <p:spPr bwMode="auto">
            <a:xfrm>
              <a:off x="1812926" y="5778500"/>
              <a:ext cx="31750" cy="115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1" name="Oval 40"/>
            <p:cNvSpPr>
              <a:spLocks noChangeArrowheads="1"/>
            </p:cNvSpPr>
            <p:nvPr userDrawn="1"/>
          </p:nvSpPr>
          <p:spPr bwMode="auto">
            <a:xfrm>
              <a:off x="1751013" y="5676900"/>
              <a:ext cx="153988" cy="15240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2" name="Oval 41"/>
            <p:cNvSpPr>
              <a:spLocks noChangeArrowheads="1"/>
            </p:cNvSpPr>
            <p:nvPr userDrawn="1"/>
          </p:nvSpPr>
          <p:spPr bwMode="auto">
            <a:xfrm>
              <a:off x="1771651" y="5599113"/>
              <a:ext cx="112713" cy="1111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3" name="Rectangle 42"/>
            <p:cNvSpPr>
              <a:spLocks noChangeArrowheads="1"/>
            </p:cNvSpPr>
            <p:nvPr userDrawn="1"/>
          </p:nvSpPr>
          <p:spPr bwMode="auto">
            <a:xfrm>
              <a:off x="2195513" y="5154613"/>
              <a:ext cx="206375" cy="841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4" name="Rectangle 43"/>
            <p:cNvSpPr>
              <a:spLocks noChangeArrowheads="1"/>
            </p:cNvSpPr>
            <p:nvPr userDrawn="1"/>
          </p:nvSpPr>
          <p:spPr bwMode="auto">
            <a:xfrm>
              <a:off x="3259138" y="5502275"/>
              <a:ext cx="484188" cy="4254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5" name="Rectangle 44"/>
            <p:cNvSpPr>
              <a:spLocks noChangeArrowheads="1"/>
            </p:cNvSpPr>
            <p:nvPr userDrawn="1"/>
          </p:nvSpPr>
          <p:spPr bwMode="auto">
            <a:xfrm>
              <a:off x="3233738" y="5483225"/>
              <a:ext cx="509588" cy="190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6" name="Rectangle 45"/>
            <p:cNvSpPr>
              <a:spLocks noChangeArrowheads="1"/>
            </p:cNvSpPr>
            <p:nvPr userDrawn="1"/>
          </p:nvSpPr>
          <p:spPr bwMode="auto">
            <a:xfrm>
              <a:off x="3429001" y="5791200"/>
              <a:ext cx="69850" cy="13652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7" name="Rectangle 46"/>
            <p:cNvSpPr>
              <a:spLocks noChangeArrowheads="1"/>
            </p:cNvSpPr>
            <p:nvPr userDrawn="1"/>
          </p:nvSpPr>
          <p:spPr bwMode="auto">
            <a:xfrm>
              <a:off x="3548063" y="5791200"/>
              <a:ext cx="71438" cy="13652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8" name="Rectangle 47"/>
            <p:cNvSpPr>
              <a:spLocks noChangeArrowheads="1"/>
            </p:cNvSpPr>
            <p:nvPr userDrawn="1"/>
          </p:nvSpPr>
          <p:spPr bwMode="auto">
            <a:xfrm>
              <a:off x="3308351" y="5561013"/>
              <a:ext cx="68263"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9" name="Rectangle 48"/>
            <p:cNvSpPr>
              <a:spLocks noChangeArrowheads="1"/>
            </p:cNvSpPr>
            <p:nvPr userDrawn="1"/>
          </p:nvSpPr>
          <p:spPr bwMode="auto">
            <a:xfrm>
              <a:off x="3429001" y="5561013"/>
              <a:ext cx="69850" cy="682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0" name="Rectangle 49"/>
            <p:cNvSpPr>
              <a:spLocks noChangeArrowheads="1"/>
            </p:cNvSpPr>
            <p:nvPr userDrawn="1"/>
          </p:nvSpPr>
          <p:spPr bwMode="auto">
            <a:xfrm>
              <a:off x="3548063" y="5561013"/>
              <a:ext cx="71438" cy="6826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1" name="Rectangle 50"/>
            <p:cNvSpPr>
              <a:spLocks noChangeArrowheads="1"/>
            </p:cNvSpPr>
            <p:nvPr userDrawn="1"/>
          </p:nvSpPr>
          <p:spPr bwMode="auto">
            <a:xfrm>
              <a:off x="3670301" y="5561013"/>
              <a:ext cx="69850"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2" name="Rectangle 51"/>
            <p:cNvSpPr>
              <a:spLocks noChangeArrowheads="1"/>
            </p:cNvSpPr>
            <p:nvPr userDrawn="1"/>
          </p:nvSpPr>
          <p:spPr bwMode="auto">
            <a:xfrm>
              <a:off x="3308351" y="5680075"/>
              <a:ext cx="68263" cy="698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3" name="Rectangle 52"/>
            <p:cNvSpPr>
              <a:spLocks noChangeArrowheads="1"/>
            </p:cNvSpPr>
            <p:nvPr userDrawn="1"/>
          </p:nvSpPr>
          <p:spPr bwMode="auto">
            <a:xfrm>
              <a:off x="3429001" y="5680075"/>
              <a:ext cx="69850"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4" name="Rectangle 53"/>
            <p:cNvSpPr>
              <a:spLocks noChangeArrowheads="1"/>
            </p:cNvSpPr>
            <p:nvPr userDrawn="1"/>
          </p:nvSpPr>
          <p:spPr bwMode="auto">
            <a:xfrm>
              <a:off x="3548063" y="5680075"/>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5" name="Rectangle 54"/>
            <p:cNvSpPr>
              <a:spLocks noChangeArrowheads="1"/>
            </p:cNvSpPr>
            <p:nvPr userDrawn="1"/>
          </p:nvSpPr>
          <p:spPr bwMode="auto">
            <a:xfrm>
              <a:off x="3670301" y="5680075"/>
              <a:ext cx="69850" cy="698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6" name="Rectangle 55"/>
            <p:cNvSpPr>
              <a:spLocks noChangeArrowheads="1"/>
            </p:cNvSpPr>
            <p:nvPr userDrawn="1"/>
          </p:nvSpPr>
          <p:spPr bwMode="auto">
            <a:xfrm>
              <a:off x="3308351" y="5561013"/>
              <a:ext cx="68263" cy="333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7" name="Rectangle 56"/>
            <p:cNvSpPr>
              <a:spLocks noChangeArrowheads="1"/>
            </p:cNvSpPr>
            <p:nvPr userDrawn="1"/>
          </p:nvSpPr>
          <p:spPr bwMode="auto">
            <a:xfrm>
              <a:off x="3670301" y="5561013"/>
              <a:ext cx="69850" cy="333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8" name="Rectangle 57"/>
            <p:cNvSpPr>
              <a:spLocks noChangeArrowheads="1"/>
            </p:cNvSpPr>
            <p:nvPr userDrawn="1"/>
          </p:nvSpPr>
          <p:spPr bwMode="auto">
            <a:xfrm>
              <a:off x="3498851" y="5399088"/>
              <a:ext cx="204788" cy="841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59" name="Rectangle 58"/>
            <p:cNvSpPr>
              <a:spLocks noChangeArrowheads="1"/>
            </p:cNvSpPr>
            <p:nvPr userDrawn="1"/>
          </p:nvSpPr>
          <p:spPr bwMode="auto">
            <a:xfrm>
              <a:off x="2608263" y="5021263"/>
              <a:ext cx="531813" cy="9064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0" name="Rectangle 59"/>
            <p:cNvSpPr>
              <a:spLocks noChangeArrowheads="1"/>
            </p:cNvSpPr>
            <p:nvPr userDrawn="1"/>
          </p:nvSpPr>
          <p:spPr bwMode="auto">
            <a:xfrm>
              <a:off x="2582863" y="4999038"/>
              <a:ext cx="584200"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1" name="Rectangle 60"/>
            <p:cNvSpPr>
              <a:spLocks noChangeArrowheads="1"/>
            </p:cNvSpPr>
            <p:nvPr userDrawn="1"/>
          </p:nvSpPr>
          <p:spPr bwMode="auto">
            <a:xfrm>
              <a:off x="2657476" y="5318125"/>
              <a:ext cx="68263" cy="714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2" name="Rectangle 61"/>
            <p:cNvSpPr>
              <a:spLocks noChangeArrowheads="1"/>
            </p:cNvSpPr>
            <p:nvPr userDrawn="1"/>
          </p:nvSpPr>
          <p:spPr bwMode="auto">
            <a:xfrm>
              <a:off x="2657476" y="5318125"/>
              <a:ext cx="68263" cy="365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3" name="Rectangle 62"/>
            <p:cNvSpPr>
              <a:spLocks noChangeArrowheads="1"/>
            </p:cNvSpPr>
            <p:nvPr userDrawn="1"/>
          </p:nvSpPr>
          <p:spPr bwMode="auto">
            <a:xfrm>
              <a:off x="2778126" y="5318125"/>
              <a:ext cx="68263"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4" name="Rectangle 63"/>
            <p:cNvSpPr>
              <a:spLocks noChangeArrowheads="1"/>
            </p:cNvSpPr>
            <p:nvPr userDrawn="1"/>
          </p:nvSpPr>
          <p:spPr bwMode="auto">
            <a:xfrm>
              <a:off x="2897188" y="5318125"/>
              <a:ext cx="71438" cy="714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5" name="Rectangle 64"/>
            <p:cNvSpPr>
              <a:spLocks noChangeArrowheads="1"/>
            </p:cNvSpPr>
            <p:nvPr userDrawn="1"/>
          </p:nvSpPr>
          <p:spPr bwMode="auto">
            <a:xfrm>
              <a:off x="2778126" y="5791200"/>
              <a:ext cx="68263"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6" name="Rectangle 65"/>
            <p:cNvSpPr>
              <a:spLocks noChangeArrowheads="1"/>
            </p:cNvSpPr>
            <p:nvPr userDrawn="1"/>
          </p:nvSpPr>
          <p:spPr bwMode="auto">
            <a:xfrm>
              <a:off x="2897188" y="5791200"/>
              <a:ext cx="71438" cy="1365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7" name="Rectangle 66"/>
            <p:cNvSpPr>
              <a:spLocks noChangeArrowheads="1"/>
            </p:cNvSpPr>
            <p:nvPr userDrawn="1"/>
          </p:nvSpPr>
          <p:spPr bwMode="auto">
            <a:xfrm>
              <a:off x="3019426" y="5318125"/>
              <a:ext cx="69850"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8" name="Rectangle 67"/>
            <p:cNvSpPr>
              <a:spLocks noChangeArrowheads="1"/>
            </p:cNvSpPr>
            <p:nvPr userDrawn="1"/>
          </p:nvSpPr>
          <p:spPr bwMode="auto">
            <a:xfrm>
              <a:off x="2657476" y="5438775"/>
              <a:ext cx="68263" cy="714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69" name="Rectangle 68"/>
            <p:cNvSpPr>
              <a:spLocks noChangeArrowheads="1"/>
            </p:cNvSpPr>
            <p:nvPr userDrawn="1"/>
          </p:nvSpPr>
          <p:spPr bwMode="auto">
            <a:xfrm>
              <a:off x="2778126" y="5438775"/>
              <a:ext cx="68263"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0" name="Rectangle 69"/>
            <p:cNvSpPr>
              <a:spLocks noChangeArrowheads="1"/>
            </p:cNvSpPr>
            <p:nvPr userDrawn="1"/>
          </p:nvSpPr>
          <p:spPr bwMode="auto">
            <a:xfrm>
              <a:off x="2897188" y="5438775"/>
              <a:ext cx="71438"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1" name="Rectangle 70"/>
            <p:cNvSpPr>
              <a:spLocks noChangeArrowheads="1"/>
            </p:cNvSpPr>
            <p:nvPr userDrawn="1"/>
          </p:nvSpPr>
          <p:spPr bwMode="auto">
            <a:xfrm>
              <a:off x="3019426" y="5438775"/>
              <a:ext cx="69850" cy="714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2" name="Rectangle 71"/>
            <p:cNvSpPr>
              <a:spLocks noChangeArrowheads="1"/>
            </p:cNvSpPr>
            <p:nvPr userDrawn="1"/>
          </p:nvSpPr>
          <p:spPr bwMode="auto">
            <a:xfrm>
              <a:off x="2657476" y="5561013"/>
              <a:ext cx="68263"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3" name="Rectangle 72"/>
            <p:cNvSpPr>
              <a:spLocks noChangeArrowheads="1"/>
            </p:cNvSpPr>
            <p:nvPr userDrawn="1"/>
          </p:nvSpPr>
          <p:spPr bwMode="auto">
            <a:xfrm>
              <a:off x="2778126" y="5561013"/>
              <a:ext cx="68263" cy="682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4" name="Rectangle 73"/>
            <p:cNvSpPr>
              <a:spLocks noChangeArrowheads="1"/>
            </p:cNvSpPr>
            <p:nvPr userDrawn="1"/>
          </p:nvSpPr>
          <p:spPr bwMode="auto">
            <a:xfrm>
              <a:off x="2897188" y="5561013"/>
              <a:ext cx="71438" cy="68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5" name="Rectangle 74"/>
            <p:cNvSpPr>
              <a:spLocks noChangeArrowheads="1"/>
            </p:cNvSpPr>
            <p:nvPr userDrawn="1"/>
          </p:nvSpPr>
          <p:spPr bwMode="auto">
            <a:xfrm>
              <a:off x="3019426" y="5561013"/>
              <a:ext cx="69850"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6" name="Rectangle 75"/>
            <p:cNvSpPr>
              <a:spLocks noChangeArrowheads="1"/>
            </p:cNvSpPr>
            <p:nvPr userDrawn="1"/>
          </p:nvSpPr>
          <p:spPr bwMode="auto">
            <a:xfrm>
              <a:off x="2657476" y="5680075"/>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7" name="Rectangle 76"/>
            <p:cNvSpPr>
              <a:spLocks noChangeArrowheads="1"/>
            </p:cNvSpPr>
            <p:nvPr userDrawn="1"/>
          </p:nvSpPr>
          <p:spPr bwMode="auto">
            <a:xfrm>
              <a:off x="2778126" y="5680075"/>
              <a:ext cx="68263"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8" name="Rectangle 77"/>
            <p:cNvSpPr>
              <a:spLocks noChangeArrowheads="1"/>
            </p:cNvSpPr>
            <p:nvPr userDrawn="1"/>
          </p:nvSpPr>
          <p:spPr bwMode="auto">
            <a:xfrm>
              <a:off x="2897188" y="5680075"/>
              <a:ext cx="71438" cy="69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79" name="Rectangle 78"/>
            <p:cNvSpPr>
              <a:spLocks noChangeArrowheads="1"/>
            </p:cNvSpPr>
            <p:nvPr userDrawn="1"/>
          </p:nvSpPr>
          <p:spPr bwMode="auto">
            <a:xfrm>
              <a:off x="3019426" y="5680075"/>
              <a:ext cx="69850" cy="698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0" name="Rectangle 79"/>
            <p:cNvSpPr>
              <a:spLocks noChangeArrowheads="1"/>
            </p:cNvSpPr>
            <p:nvPr userDrawn="1"/>
          </p:nvSpPr>
          <p:spPr bwMode="auto">
            <a:xfrm>
              <a:off x="2657476" y="5561013"/>
              <a:ext cx="68263" cy="333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1" name="Rectangle 80"/>
            <p:cNvSpPr>
              <a:spLocks noChangeArrowheads="1"/>
            </p:cNvSpPr>
            <p:nvPr userDrawn="1"/>
          </p:nvSpPr>
          <p:spPr bwMode="auto">
            <a:xfrm>
              <a:off x="3019426" y="5561013"/>
              <a:ext cx="69850" cy="333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2" name="Rectangle 81"/>
            <p:cNvSpPr>
              <a:spLocks noChangeArrowheads="1"/>
            </p:cNvSpPr>
            <p:nvPr userDrawn="1"/>
          </p:nvSpPr>
          <p:spPr bwMode="auto">
            <a:xfrm>
              <a:off x="3019426" y="5438775"/>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3" name="Rectangle 82"/>
            <p:cNvSpPr>
              <a:spLocks noChangeArrowheads="1"/>
            </p:cNvSpPr>
            <p:nvPr userDrawn="1"/>
          </p:nvSpPr>
          <p:spPr bwMode="auto">
            <a:xfrm>
              <a:off x="2657476" y="5078413"/>
              <a:ext cx="68263"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4" name="Rectangle 83"/>
            <p:cNvSpPr>
              <a:spLocks noChangeArrowheads="1"/>
            </p:cNvSpPr>
            <p:nvPr userDrawn="1"/>
          </p:nvSpPr>
          <p:spPr bwMode="auto">
            <a:xfrm>
              <a:off x="2657476" y="5078413"/>
              <a:ext cx="68263"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5" name="Rectangle 84"/>
            <p:cNvSpPr>
              <a:spLocks noChangeArrowheads="1"/>
            </p:cNvSpPr>
            <p:nvPr userDrawn="1"/>
          </p:nvSpPr>
          <p:spPr bwMode="auto">
            <a:xfrm>
              <a:off x="2778126" y="5078413"/>
              <a:ext cx="68263" cy="68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6" name="Rectangle 85"/>
            <p:cNvSpPr>
              <a:spLocks noChangeArrowheads="1"/>
            </p:cNvSpPr>
            <p:nvPr userDrawn="1"/>
          </p:nvSpPr>
          <p:spPr bwMode="auto">
            <a:xfrm>
              <a:off x="2897188" y="5078413"/>
              <a:ext cx="71438" cy="682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7" name="Rectangle 86"/>
            <p:cNvSpPr>
              <a:spLocks noChangeArrowheads="1"/>
            </p:cNvSpPr>
            <p:nvPr userDrawn="1"/>
          </p:nvSpPr>
          <p:spPr bwMode="auto">
            <a:xfrm>
              <a:off x="3019426" y="5078413"/>
              <a:ext cx="69850" cy="68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8" name="Rectangle 87"/>
            <p:cNvSpPr>
              <a:spLocks noChangeArrowheads="1"/>
            </p:cNvSpPr>
            <p:nvPr userDrawn="1"/>
          </p:nvSpPr>
          <p:spPr bwMode="auto">
            <a:xfrm>
              <a:off x="2657476" y="5199063"/>
              <a:ext cx="68263" cy="682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89" name="Rectangle 88"/>
            <p:cNvSpPr>
              <a:spLocks noChangeArrowheads="1"/>
            </p:cNvSpPr>
            <p:nvPr userDrawn="1"/>
          </p:nvSpPr>
          <p:spPr bwMode="auto">
            <a:xfrm>
              <a:off x="2778126" y="5199063"/>
              <a:ext cx="68263" cy="68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0" name="Rectangle 89"/>
            <p:cNvSpPr>
              <a:spLocks noChangeArrowheads="1"/>
            </p:cNvSpPr>
            <p:nvPr userDrawn="1"/>
          </p:nvSpPr>
          <p:spPr bwMode="auto">
            <a:xfrm>
              <a:off x="2897188" y="5199063"/>
              <a:ext cx="71438" cy="68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1" name="Rectangle 90"/>
            <p:cNvSpPr>
              <a:spLocks noChangeArrowheads="1"/>
            </p:cNvSpPr>
            <p:nvPr userDrawn="1"/>
          </p:nvSpPr>
          <p:spPr bwMode="auto">
            <a:xfrm>
              <a:off x="3019426" y="5199063"/>
              <a:ext cx="69850"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2" name="Rectangle 91"/>
            <p:cNvSpPr>
              <a:spLocks noChangeArrowheads="1"/>
            </p:cNvSpPr>
            <p:nvPr userDrawn="1"/>
          </p:nvSpPr>
          <p:spPr bwMode="auto">
            <a:xfrm>
              <a:off x="3019426" y="5199063"/>
              <a:ext cx="69850" cy="34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3" name="Rectangle 92"/>
            <p:cNvSpPr>
              <a:spLocks noChangeArrowheads="1"/>
            </p:cNvSpPr>
            <p:nvPr userDrawn="1"/>
          </p:nvSpPr>
          <p:spPr bwMode="auto">
            <a:xfrm>
              <a:off x="2695576" y="491648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4" name="Rectangle 93"/>
            <p:cNvSpPr>
              <a:spLocks noChangeArrowheads="1"/>
            </p:cNvSpPr>
            <p:nvPr userDrawn="1"/>
          </p:nvSpPr>
          <p:spPr bwMode="auto">
            <a:xfrm>
              <a:off x="2781301" y="4916488"/>
              <a:ext cx="63500" cy="825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5" name="Rectangle 94"/>
            <p:cNvSpPr>
              <a:spLocks noChangeArrowheads="1"/>
            </p:cNvSpPr>
            <p:nvPr userDrawn="1"/>
          </p:nvSpPr>
          <p:spPr bwMode="auto">
            <a:xfrm>
              <a:off x="2449513" y="5894388"/>
              <a:ext cx="198438" cy="333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6" name="Rectangle 95"/>
            <p:cNvSpPr>
              <a:spLocks noChangeArrowheads="1"/>
            </p:cNvSpPr>
            <p:nvPr userDrawn="1"/>
          </p:nvSpPr>
          <p:spPr bwMode="auto">
            <a:xfrm>
              <a:off x="3019426" y="5894388"/>
              <a:ext cx="288925" cy="333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7" name="Freeform 96"/>
            <p:cNvSpPr>
              <a:spLocks/>
            </p:cNvSpPr>
            <p:nvPr userDrawn="1"/>
          </p:nvSpPr>
          <p:spPr bwMode="auto">
            <a:xfrm>
              <a:off x="1587501" y="4019550"/>
              <a:ext cx="1020763" cy="674688"/>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8" name="Freeform 97"/>
            <p:cNvSpPr>
              <a:spLocks/>
            </p:cNvSpPr>
            <p:nvPr userDrawn="1"/>
          </p:nvSpPr>
          <p:spPr bwMode="auto">
            <a:xfrm>
              <a:off x="1571626" y="4467225"/>
              <a:ext cx="1246188" cy="1266825"/>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99" name="Freeform 98"/>
            <p:cNvSpPr>
              <a:spLocks/>
            </p:cNvSpPr>
            <p:nvPr userDrawn="1"/>
          </p:nvSpPr>
          <p:spPr bwMode="auto">
            <a:xfrm>
              <a:off x="2668588" y="4006850"/>
              <a:ext cx="663575" cy="438150"/>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00" name="Freeform 99"/>
            <p:cNvSpPr>
              <a:spLocks/>
            </p:cNvSpPr>
            <p:nvPr userDrawn="1"/>
          </p:nvSpPr>
          <p:spPr bwMode="auto">
            <a:xfrm>
              <a:off x="2655888" y="4300538"/>
              <a:ext cx="690563" cy="1433513"/>
            </a:xfrm>
            <a:custGeom>
              <a:avLst/>
              <a:gdLst>
                <a:gd name="T0" fmla="*/ 308 w 311"/>
                <a:gd name="T1" fmla="*/ 638 h 645"/>
                <a:gd name="T2" fmla="*/ 166 w 311"/>
                <a:gd name="T3" fmla="*/ 460 h 645"/>
                <a:gd name="T4" fmla="*/ 106 w 311"/>
                <a:gd name="T5" fmla="*/ 28 h 645"/>
                <a:gd name="T6" fmla="*/ 156 w 311"/>
                <a:gd name="T7" fmla="*/ 29 h 645"/>
                <a:gd name="T8" fmla="*/ 311 w 311"/>
                <a:gd name="T9" fmla="*/ 4 h 645"/>
                <a:gd name="T10" fmla="*/ 308 w 311"/>
                <a:gd name="T11" fmla="*/ 0 h 645"/>
                <a:gd name="T12" fmla="*/ 304 w 311"/>
                <a:gd name="T13" fmla="*/ 4 h 645"/>
                <a:gd name="T14" fmla="*/ 156 w 311"/>
                <a:gd name="T15" fmla="*/ 21 h 645"/>
                <a:gd name="T16" fmla="*/ 7 w 311"/>
                <a:gd name="T17" fmla="*/ 4 h 645"/>
                <a:gd name="T18" fmla="*/ 3 w 311"/>
                <a:gd name="T19" fmla="*/ 0 h 645"/>
                <a:gd name="T20" fmla="*/ 0 w 311"/>
                <a:gd name="T21" fmla="*/ 4 h 645"/>
                <a:gd name="T22" fmla="*/ 99 w 311"/>
                <a:gd name="T23" fmla="*/ 27 h 645"/>
                <a:gd name="T24" fmla="*/ 159 w 311"/>
                <a:gd name="T25" fmla="*/ 462 h 645"/>
                <a:gd name="T26" fmla="*/ 308 w 311"/>
                <a:gd name="T27" fmla="*/ 645 h 645"/>
                <a:gd name="T28" fmla="*/ 311 w 311"/>
                <a:gd name="T29" fmla="*/ 642 h 645"/>
                <a:gd name="T30" fmla="*/ 308 w 311"/>
                <a:gd name="T31" fmla="*/ 63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1" h="645">
                  <a:moveTo>
                    <a:pt x="308" y="638"/>
                  </a:moveTo>
                  <a:cubicBezTo>
                    <a:pt x="255" y="638"/>
                    <a:pt x="204" y="575"/>
                    <a:pt x="166" y="460"/>
                  </a:cubicBezTo>
                  <a:cubicBezTo>
                    <a:pt x="128" y="345"/>
                    <a:pt x="106" y="191"/>
                    <a:pt x="106" y="28"/>
                  </a:cubicBezTo>
                  <a:cubicBezTo>
                    <a:pt x="132" y="29"/>
                    <a:pt x="153" y="29"/>
                    <a:pt x="156" y="29"/>
                  </a:cubicBezTo>
                  <a:cubicBezTo>
                    <a:pt x="162" y="29"/>
                    <a:pt x="311" y="29"/>
                    <a:pt x="311" y="4"/>
                  </a:cubicBezTo>
                  <a:cubicBezTo>
                    <a:pt x="311" y="2"/>
                    <a:pt x="310" y="0"/>
                    <a:pt x="308" y="0"/>
                  </a:cubicBezTo>
                  <a:cubicBezTo>
                    <a:pt x="306" y="0"/>
                    <a:pt x="304" y="1"/>
                    <a:pt x="304" y="4"/>
                  </a:cubicBezTo>
                  <a:cubicBezTo>
                    <a:pt x="302" y="10"/>
                    <a:pt x="250" y="21"/>
                    <a:pt x="156" y="21"/>
                  </a:cubicBezTo>
                  <a:cubicBezTo>
                    <a:pt x="61" y="21"/>
                    <a:pt x="10" y="10"/>
                    <a:pt x="7" y="4"/>
                  </a:cubicBezTo>
                  <a:cubicBezTo>
                    <a:pt x="7" y="2"/>
                    <a:pt x="5" y="0"/>
                    <a:pt x="3" y="0"/>
                  </a:cubicBezTo>
                  <a:cubicBezTo>
                    <a:pt x="1" y="0"/>
                    <a:pt x="0" y="2"/>
                    <a:pt x="0" y="4"/>
                  </a:cubicBezTo>
                  <a:cubicBezTo>
                    <a:pt x="0" y="19"/>
                    <a:pt x="54" y="25"/>
                    <a:pt x="99" y="27"/>
                  </a:cubicBezTo>
                  <a:cubicBezTo>
                    <a:pt x="99" y="192"/>
                    <a:pt x="120" y="346"/>
                    <a:pt x="159" y="462"/>
                  </a:cubicBezTo>
                  <a:cubicBezTo>
                    <a:pt x="198" y="580"/>
                    <a:pt x="251" y="645"/>
                    <a:pt x="308" y="645"/>
                  </a:cubicBezTo>
                  <a:cubicBezTo>
                    <a:pt x="310" y="645"/>
                    <a:pt x="311" y="644"/>
                    <a:pt x="311" y="642"/>
                  </a:cubicBezTo>
                  <a:cubicBezTo>
                    <a:pt x="311" y="640"/>
                    <a:pt x="310" y="638"/>
                    <a:pt x="308" y="6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grpSp>
    </p:spTree>
    <p:extLst>
      <p:ext uri="{BB962C8B-B14F-4D97-AF65-F5344CB8AC3E}">
        <p14:creationId xmlns:p14="http://schemas.microsoft.com/office/powerpoint/2010/main" val="337490639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64820" y="1547516"/>
            <a:ext cx="9128760" cy="1640184"/>
          </a:xfrm>
          <a:noFill/>
        </p:spPr>
        <p:txBody>
          <a:bodyPr wrap="square" tIns="91440" bIns="91440" anchor="ctr" anchorCtr="0">
            <a:noAutofit/>
          </a:bodyPr>
          <a:lstStyle>
            <a:lvl1pPr>
              <a:defRPr sz="7198" spc="-100" baseline="0">
                <a:gradFill>
                  <a:gsLst>
                    <a:gs pos="100000">
                      <a:schemeClr val="tx1"/>
                    </a:gs>
                    <a:gs pos="0">
                      <a:schemeClr val="tx1"/>
                    </a:gs>
                  </a:gsLst>
                  <a:lin ang="5400000" scaled="0"/>
                </a:gradFill>
              </a:defRPr>
            </a:lvl1pPr>
          </a:lstStyle>
          <a:p>
            <a:r>
              <a:rPr lang="en-US"/>
              <a:t>Section title</a:t>
            </a:r>
          </a:p>
        </p:txBody>
      </p:sp>
      <p:grpSp>
        <p:nvGrpSpPr>
          <p:cNvPr id="46" name="Group 45"/>
          <p:cNvGrpSpPr/>
          <p:nvPr userDrawn="1"/>
        </p:nvGrpSpPr>
        <p:grpSpPr>
          <a:xfrm>
            <a:off x="9593581" y="3608060"/>
            <a:ext cx="2385695" cy="2907041"/>
            <a:chOff x="3940175" y="4017963"/>
            <a:chExt cx="1576387" cy="1920875"/>
          </a:xfrm>
        </p:grpSpPr>
        <p:sp>
          <p:nvSpPr>
            <p:cNvPr id="9" name="Freeform 7"/>
            <p:cNvSpPr>
              <a:spLocks noEditPoints="1"/>
            </p:cNvSpPr>
            <p:nvPr userDrawn="1"/>
          </p:nvSpPr>
          <p:spPr bwMode="auto">
            <a:xfrm>
              <a:off x="5026025" y="4652963"/>
              <a:ext cx="107950" cy="144463"/>
            </a:xfrm>
            <a:custGeom>
              <a:avLst/>
              <a:gdLst>
                <a:gd name="T0" fmla="*/ 38 w 68"/>
                <a:gd name="T1" fmla="*/ 10 h 91"/>
                <a:gd name="T2" fmla="*/ 38 w 68"/>
                <a:gd name="T3" fmla="*/ 0 h 91"/>
                <a:gd name="T4" fmla="*/ 12 w 68"/>
                <a:gd name="T5" fmla="*/ 0 h 91"/>
                <a:gd name="T6" fmla="*/ 12 w 68"/>
                <a:gd name="T7" fmla="*/ 10 h 91"/>
                <a:gd name="T8" fmla="*/ 0 w 68"/>
                <a:gd name="T9" fmla="*/ 10 h 91"/>
                <a:gd name="T10" fmla="*/ 0 w 68"/>
                <a:gd name="T11" fmla="*/ 13 h 91"/>
                <a:gd name="T12" fmla="*/ 3 w 68"/>
                <a:gd name="T13" fmla="*/ 13 h 91"/>
                <a:gd name="T14" fmla="*/ 3 w 68"/>
                <a:gd name="T15" fmla="*/ 91 h 91"/>
                <a:gd name="T16" fmla="*/ 22 w 68"/>
                <a:gd name="T17" fmla="*/ 91 h 91"/>
                <a:gd name="T18" fmla="*/ 22 w 68"/>
                <a:gd name="T19" fmla="*/ 76 h 91"/>
                <a:gd name="T20" fmla="*/ 31 w 68"/>
                <a:gd name="T21" fmla="*/ 76 h 91"/>
                <a:gd name="T22" fmla="*/ 31 w 68"/>
                <a:gd name="T23" fmla="*/ 91 h 91"/>
                <a:gd name="T24" fmla="*/ 38 w 68"/>
                <a:gd name="T25" fmla="*/ 91 h 91"/>
                <a:gd name="T26" fmla="*/ 38 w 68"/>
                <a:gd name="T27" fmla="*/ 76 h 91"/>
                <a:gd name="T28" fmla="*/ 46 w 68"/>
                <a:gd name="T29" fmla="*/ 76 h 91"/>
                <a:gd name="T30" fmla="*/ 46 w 68"/>
                <a:gd name="T31" fmla="*/ 91 h 91"/>
                <a:gd name="T32" fmla="*/ 66 w 68"/>
                <a:gd name="T33" fmla="*/ 91 h 91"/>
                <a:gd name="T34" fmla="*/ 66 w 68"/>
                <a:gd name="T35" fmla="*/ 13 h 91"/>
                <a:gd name="T36" fmla="*/ 68 w 68"/>
                <a:gd name="T37" fmla="*/ 13 h 91"/>
                <a:gd name="T38" fmla="*/ 68 w 68"/>
                <a:gd name="T39" fmla="*/ 10 h 91"/>
                <a:gd name="T40" fmla="*/ 38 w 68"/>
                <a:gd name="T41" fmla="*/ 10 h 91"/>
                <a:gd name="T42" fmla="*/ 60 w 68"/>
                <a:gd name="T43" fmla="*/ 70 h 91"/>
                <a:gd name="T44" fmla="*/ 8 w 68"/>
                <a:gd name="T45" fmla="*/ 70 h 91"/>
                <a:gd name="T46" fmla="*/ 8 w 68"/>
                <a:gd name="T47" fmla="*/ 62 h 91"/>
                <a:gd name="T48" fmla="*/ 60 w 68"/>
                <a:gd name="T49" fmla="*/ 62 h 91"/>
                <a:gd name="T50" fmla="*/ 60 w 68"/>
                <a:gd name="T51" fmla="*/ 70 h 91"/>
                <a:gd name="T52" fmla="*/ 60 w 68"/>
                <a:gd name="T53" fmla="*/ 56 h 91"/>
                <a:gd name="T54" fmla="*/ 8 w 68"/>
                <a:gd name="T55" fmla="*/ 56 h 91"/>
                <a:gd name="T56" fmla="*/ 8 w 68"/>
                <a:gd name="T57" fmla="*/ 48 h 91"/>
                <a:gd name="T58" fmla="*/ 60 w 68"/>
                <a:gd name="T59" fmla="*/ 48 h 91"/>
                <a:gd name="T60" fmla="*/ 60 w 68"/>
                <a:gd name="T61" fmla="*/ 56 h 91"/>
                <a:gd name="T62" fmla="*/ 60 w 68"/>
                <a:gd name="T63" fmla="*/ 42 h 91"/>
                <a:gd name="T64" fmla="*/ 8 w 68"/>
                <a:gd name="T65" fmla="*/ 42 h 91"/>
                <a:gd name="T66" fmla="*/ 8 w 68"/>
                <a:gd name="T67" fmla="*/ 34 h 91"/>
                <a:gd name="T68" fmla="*/ 60 w 68"/>
                <a:gd name="T69" fmla="*/ 34 h 91"/>
                <a:gd name="T70" fmla="*/ 60 w 68"/>
                <a:gd name="T71" fmla="*/ 42 h 91"/>
                <a:gd name="T72" fmla="*/ 60 w 68"/>
                <a:gd name="T73" fmla="*/ 28 h 91"/>
                <a:gd name="T74" fmla="*/ 8 w 68"/>
                <a:gd name="T75" fmla="*/ 28 h 91"/>
                <a:gd name="T76" fmla="*/ 8 w 68"/>
                <a:gd name="T77" fmla="*/ 20 h 91"/>
                <a:gd name="T78" fmla="*/ 60 w 68"/>
                <a:gd name="T79" fmla="*/ 20 h 91"/>
                <a:gd name="T80" fmla="*/ 60 w 68"/>
                <a:gd name="T81" fmla="*/ 2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8" h="91">
                  <a:moveTo>
                    <a:pt x="38" y="10"/>
                  </a:moveTo>
                  <a:lnTo>
                    <a:pt x="38" y="0"/>
                  </a:lnTo>
                  <a:lnTo>
                    <a:pt x="12" y="0"/>
                  </a:lnTo>
                  <a:lnTo>
                    <a:pt x="12" y="10"/>
                  </a:lnTo>
                  <a:lnTo>
                    <a:pt x="0" y="10"/>
                  </a:lnTo>
                  <a:lnTo>
                    <a:pt x="0" y="13"/>
                  </a:lnTo>
                  <a:lnTo>
                    <a:pt x="3" y="13"/>
                  </a:lnTo>
                  <a:lnTo>
                    <a:pt x="3" y="91"/>
                  </a:lnTo>
                  <a:lnTo>
                    <a:pt x="22" y="91"/>
                  </a:lnTo>
                  <a:lnTo>
                    <a:pt x="22" y="76"/>
                  </a:lnTo>
                  <a:lnTo>
                    <a:pt x="31" y="76"/>
                  </a:lnTo>
                  <a:lnTo>
                    <a:pt x="31" y="91"/>
                  </a:lnTo>
                  <a:lnTo>
                    <a:pt x="38" y="91"/>
                  </a:lnTo>
                  <a:lnTo>
                    <a:pt x="38" y="76"/>
                  </a:lnTo>
                  <a:lnTo>
                    <a:pt x="46" y="76"/>
                  </a:lnTo>
                  <a:lnTo>
                    <a:pt x="46" y="91"/>
                  </a:lnTo>
                  <a:lnTo>
                    <a:pt x="66" y="91"/>
                  </a:lnTo>
                  <a:lnTo>
                    <a:pt x="66" y="13"/>
                  </a:lnTo>
                  <a:lnTo>
                    <a:pt x="68" y="13"/>
                  </a:lnTo>
                  <a:lnTo>
                    <a:pt x="68" y="10"/>
                  </a:lnTo>
                  <a:lnTo>
                    <a:pt x="38" y="10"/>
                  </a:lnTo>
                  <a:close/>
                  <a:moveTo>
                    <a:pt x="60" y="70"/>
                  </a:moveTo>
                  <a:lnTo>
                    <a:pt x="8" y="70"/>
                  </a:lnTo>
                  <a:lnTo>
                    <a:pt x="8" y="62"/>
                  </a:lnTo>
                  <a:lnTo>
                    <a:pt x="60" y="62"/>
                  </a:lnTo>
                  <a:lnTo>
                    <a:pt x="60" y="70"/>
                  </a:lnTo>
                  <a:close/>
                  <a:moveTo>
                    <a:pt x="60" y="56"/>
                  </a:moveTo>
                  <a:lnTo>
                    <a:pt x="8" y="56"/>
                  </a:lnTo>
                  <a:lnTo>
                    <a:pt x="8" y="48"/>
                  </a:lnTo>
                  <a:lnTo>
                    <a:pt x="60" y="48"/>
                  </a:lnTo>
                  <a:lnTo>
                    <a:pt x="60" y="56"/>
                  </a:lnTo>
                  <a:close/>
                  <a:moveTo>
                    <a:pt x="60" y="42"/>
                  </a:moveTo>
                  <a:lnTo>
                    <a:pt x="8" y="42"/>
                  </a:lnTo>
                  <a:lnTo>
                    <a:pt x="8" y="34"/>
                  </a:lnTo>
                  <a:lnTo>
                    <a:pt x="60" y="34"/>
                  </a:lnTo>
                  <a:lnTo>
                    <a:pt x="60" y="42"/>
                  </a:lnTo>
                  <a:close/>
                  <a:moveTo>
                    <a:pt x="60" y="28"/>
                  </a:moveTo>
                  <a:lnTo>
                    <a:pt x="8" y="28"/>
                  </a:lnTo>
                  <a:lnTo>
                    <a:pt x="8" y="20"/>
                  </a:lnTo>
                  <a:lnTo>
                    <a:pt x="60" y="20"/>
                  </a:lnTo>
                  <a:lnTo>
                    <a:pt x="60" y="2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0" name="Freeform 8"/>
            <p:cNvSpPr>
              <a:spLocks noEditPoints="1"/>
            </p:cNvSpPr>
            <p:nvPr userDrawn="1"/>
          </p:nvSpPr>
          <p:spPr bwMode="auto">
            <a:xfrm>
              <a:off x="5089525" y="4389438"/>
              <a:ext cx="80962" cy="106363"/>
            </a:xfrm>
            <a:custGeom>
              <a:avLst/>
              <a:gdLst>
                <a:gd name="T0" fmla="*/ 28 w 51"/>
                <a:gd name="T1" fmla="*/ 7 h 67"/>
                <a:gd name="T2" fmla="*/ 28 w 51"/>
                <a:gd name="T3" fmla="*/ 0 h 67"/>
                <a:gd name="T4" fmla="*/ 10 w 51"/>
                <a:gd name="T5" fmla="*/ 0 h 67"/>
                <a:gd name="T6" fmla="*/ 10 w 51"/>
                <a:gd name="T7" fmla="*/ 7 h 67"/>
                <a:gd name="T8" fmla="*/ 0 w 51"/>
                <a:gd name="T9" fmla="*/ 7 h 67"/>
                <a:gd name="T10" fmla="*/ 0 w 51"/>
                <a:gd name="T11" fmla="*/ 10 h 67"/>
                <a:gd name="T12" fmla="*/ 3 w 51"/>
                <a:gd name="T13" fmla="*/ 10 h 67"/>
                <a:gd name="T14" fmla="*/ 3 w 51"/>
                <a:gd name="T15" fmla="*/ 67 h 67"/>
                <a:gd name="T16" fmla="*/ 17 w 51"/>
                <a:gd name="T17" fmla="*/ 67 h 67"/>
                <a:gd name="T18" fmla="*/ 17 w 51"/>
                <a:gd name="T19" fmla="*/ 56 h 67"/>
                <a:gd name="T20" fmla="*/ 24 w 51"/>
                <a:gd name="T21" fmla="*/ 56 h 67"/>
                <a:gd name="T22" fmla="*/ 24 w 51"/>
                <a:gd name="T23" fmla="*/ 67 h 67"/>
                <a:gd name="T24" fmla="*/ 28 w 51"/>
                <a:gd name="T25" fmla="*/ 67 h 67"/>
                <a:gd name="T26" fmla="*/ 28 w 51"/>
                <a:gd name="T27" fmla="*/ 56 h 67"/>
                <a:gd name="T28" fmla="*/ 34 w 51"/>
                <a:gd name="T29" fmla="*/ 56 h 67"/>
                <a:gd name="T30" fmla="*/ 34 w 51"/>
                <a:gd name="T31" fmla="*/ 67 h 67"/>
                <a:gd name="T32" fmla="*/ 49 w 51"/>
                <a:gd name="T33" fmla="*/ 67 h 67"/>
                <a:gd name="T34" fmla="*/ 49 w 51"/>
                <a:gd name="T35" fmla="*/ 10 h 67"/>
                <a:gd name="T36" fmla="*/ 51 w 51"/>
                <a:gd name="T37" fmla="*/ 10 h 67"/>
                <a:gd name="T38" fmla="*/ 51 w 51"/>
                <a:gd name="T39" fmla="*/ 7 h 67"/>
                <a:gd name="T40" fmla="*/ 28 w 51"/>
                <a:gd name="T41" fmla="*/ 7 h 67"/>
                <a:gd name="T42" fmla="*/ 45 w 51"/>
                <a:gd name="T43" fmla="*/ 52 h 67"/>
                <a:gd name="T44" fmla="*/ 7 w 51"/>
                <a:gd name="T45" fmla="*/ 52 h 67"/>
                <a:gd name="T46" fmla="*/ 7 w 51"/>
                <a:gd name="T47" fmla="*/ 46 h 67"/>
                <a:gd name="T48" fmla="*/ 45 w 51"/>
                <a:gd name="T49" fmla="*/ 46 h 67"/>
                <a:gd name="T50" fmla="*/ 45 w 51"/>
                <a:gd name="T51" fmla="*/ 52 h 67"/>
                <a:gd name="T52" fmla="*/ 45 w 51"/>
                <a:gd name="T53" fmla="*/ 42 h 67"/>
                <a:gd name="T54" fmla="*/ 7 w 51"/>
                <a:gd name="T55" fmla="*/ 42 h 67"/>
                <a:gd name="T56" fmla="*/ 7 w 51"/>
                <a:gd name="T57" fmla="*/ 35 h 67"/>
                <a:gd name="T58" fmla="*/ 45 w 51"/>
                <a:gd name="T59" fmla="*/ 35 h 67"/>
                <a:gd name="T60" fmla="*/ 45 w 51"/>
                <a:gd name="T61" fmla="*/ 42 h 67"/>
                <a:gd name="T62" fmla="*/ 45 w 51"/>
                <a:gd name="T63" fmla="*/ 31 h 67"/>
                <a:gd name="T64" fmla="*/ 7 w 51"/>
                <a:gd name="T65" fmla="*/ 31 h 67"/>
                <a:gd name="T66" fmla="*/ 7 w 51"/>
                <a:gd name="T67" fmla="*/ 25 h 67"/>
                <a:gd name="T68" fmla="*/ 45 w 51"/>
                <a:gd name="T69" fmla="*/ 25 h 67"/>
                <a:gd name="T70" fmla="*/ 45 w 51"/>
                <a:gd name="T71" fmla="*/ 31 h 67"/>
                <a:gd name="T72" fmla="*/ 45 w 51"/>
                <a:gd name="T73" fmla="*/ 21 h 67"/>
                <a:gd name="T74" fmla="*/ 7 w 51"/>
                <a:gd name="T75" fmla="*/ 21 h 67"/>
                <a:gd name="T76" fmla="*/ 7 w 51"/>
                <a:gd name="T77" fmla="*/ 14 h 67"/>
                <a:gd name="T78" fmla="*/ 45 w 51"/>
                <a:gd name="T79" fmla="*/ 14 h 67"/>
                <a:gd name="T80" fmla="*/ 45 w 51"/>
                <a:gd name="T81" fmla="*/ 2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67">
                  <a:moveTo>
                    <a:pt x="28" y="7"/>
                  </a:moveTo>
                  <a:lnTo>
                    <a:pt x="28" y="0"/>
                  </a:lnTo>
                  <a:lnTo>
                    <a:pt x="10" y="0"/>
                  </a:lnTo>
                  <a:lnTo>
                    <a:pt x="10" y="7"/>
                  </a:lnTo>
                  <a:lnTo>
                    <a:pt x="0" y="7"/>
                  </a:lnTo>
                  <a:lnTo>
                    <a:pt x="0" y="10"/>
                  </a:lnTo>
                  <a:lnTo>
                    <a:pt x="3" y="10"/>
                  </a:lnTo>
                  <a:lnTo>
                    <a:pt x="3" y="67"/>
                  </a:lnTo>
                  <a:lnTo>
                    <a:pt x="17" y="67"/>
                  </a:lnTo>
                  <a:lnTo>
                    <a:pt x="17" y="56"/>
                  </a:lnTo>
                  <a:lnTo>
                    <a:pt x="24" y="56"/>
                  </a:lnTo>
                  <a:lnTo>
                    <a:pt x="24" y="67"/>
                  </a:lnTo>
                  <a:lnTo>
                    <a:pt x="28" y="67"/>
                  </a:lnTo>
                  <a:lnTo>
                    <a:pt x="28" y="56"/>
                  </a:lnTo>
                  <a:lnTo>
                    <a:pt x="34" y="56"/>
                  </a:lnTo>
                  <a:lnTo>
                    <a:pt x="34" y="67"/>
                  </a:lnTo>
                  <a:lnTo>
                    <a:pt x="49" y="67"/>
                  </a:lnTo>
                  <a:lnTo>
                    <a:pt x="49" y="10"/>
                  </a:lnTo>
                  <a:lnTo>
                    <a:pt x="51" y="10"/>
                  </a:lnTo>
                  <a:lnTo>
                    <a:pt x="51" y="7"/>
                  </a:lnTo>
                  <a:lnTo>
                    <a:pt x="28" y="7"/>
                  </a:lnTo>
                  <a:close/>
                  <a:moveTo>
                    <a:pt x="45" y="52"/>
                  </a:moveTo>
                  <a:lnTo>
                    <a:pt x="7" y="52"/>
                  </a:lnTo>
                  <a:lnTo>
                    <a:pt x="7" y="46"/>
                  </a:lnTo>
                  <a:lnTo>
                    <a:pt x="45" y="46"/>
                  </a:lnTo>
                  <a:lnTo>
                    <a:pt x="45" y="52"/>
                  </a:lnTo>
                  <a:close/>
                  <a:moveTo>
                    <a:pt x="45" y="42"/>
                  </a:moveTo>
                  <a:lnTo>
                    <a:pt x="7" y="42"/>
                  </a:lnTo>
                  <a:lnTo>
                    <a:pt x="7" y="35"/>
                  </a:lnTo>
                  <a:lnTo>
                    <a:pt x="45" y="35"/>
                  </a:lnTo>
                  <a:lnTo>
                    <a:pt x="45" y="42"/>
                  </a:lnTo>
                  <a:close/>
                  <a:moveTo>
                    <a:pt x="45" y="31"/>
                  </a:moveTo>
                  <a:lnTo>
                    <a:pt x="7" y="31"/>
                  </a:lnTo>
                  <a:lnTo>
                    <a:pt x="7" y="25"/>
                  </a:lnTo>
                  <a:lnTo>
                    <a:pt x="45" y="25"/>
                  </a:lnTo>
                  <a:lnTo>
                    <a:pt x="45" y="31"/>
                  </a:lnTo>
                  <a:close/>
                  <a:moveTo>
                    <a:pt x="45" y="21"/>
                  </a:moveTo>
                  <a:lnTo>
                    <a:pt x="7" y="21"/>
                  </a:lnTo>
                  <a:lnTo>
                    <a:pt x="7" y="14"/>
                  </a:lnTo>
                  <a:lnTo>
                    <a:pt x="45" y="14"/>
                  </a:lnTo>
                  <a:lnTo>
                    <a:pt x="45" y="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1" name="Freeform 9"/>
            <p:cNvSpPr>
              <a:spLocks noEditPoints="1"/>
            </p:cNvSpPr>
            <p:nvPr userDrawn="1"/>
          </p:nvSpPr>
          <p:spPr bwMode="auto">
            <a:xfrm>
              <a:off x="5226050" y="4367213"/>
              <a:ext cx="79375" cy="106363"/>
            </a:xfrm>
            <a:custGeom>
              <a:avLst/>
              <a:gdLst>
                <a:gd name="T0" fmla="*/ 26 w 50"/>
                <a:gd name="T1" fmla="*/ 8 h 67"/>
                <a:gd name="T2" fmla="*/ 26 w 50"/>
                <a:gd name="T3" fmla="*/ 0 h 67"/>
                <a:gd name="T4" fmla="*/ 10 w 50"/>
                <a:gd name="T5" fmla="*/ 0 h 67"/>
                <a:gd name="T6" fmla="*/ 10 w 50"/>
                <a:gd name="T7" fmla="*/ 8 h 67"/>
                <a:gd name="T8" fmla="*/ 0 w 50"/>
                <a:gd name="T9" fmla="*/ 8 h 67"/>
                <a:gd name="T10" fmla="*/ 0 w 50"/>
                <a:gd name="T11" fmla="*/ 10 h 67"/>
                <a:gd name="T12" fmla="*/ 1 w 50"/>
                <a:gd name="T13" fmla="*/ 10 h 67"/>
                <a:gd name="T14" fmla="*/ 1 w 50"/>
                <a:gd name="T15" fmla="*/ 67 h 67"/>
                <a:gd name="T16" fmla="*/ 17 w 50"/>
                <a:gd name="T17" fmla="*/ 67 h 67"/>
                <a:gd name="T18" fmla="*/ 17 w 50"/>
                <a:gd name="T19" fmla="*/ 56 h 67"/>
                <a:gd name="T20" fmla="*/ 22 w 50"/>
                <a:gd name="T21" fmla="*/ 56 h 67"/>
                <a:gd name="T22" fmla="*/ 22 w 50"/>
                <a:gd name="T23" fmla="*/ 67 h 67"/>
                <a:gd name="T24" fmla="*/ 26 w 50"/>
                <a:gd name="T25" fmla="*/ 67 h 67"/>
                <a:gd name="T26" fmla="*/ 26 w 50"/>
                <a:gd name="T27" fmla="*/ 56 h 67"/>
                <a:gd name="T28" fmla="*/ 33 w 50"/>
                <a:gd name="T29" fmla="*/ 56 h 67"/>
                <a:gd name="T30" fmla="*/ 33 w 50"/>
                <a:gd name="T31" fmla="*/ 67 h 67"/>
                <a:gd name="T32" fmla="*/ 47 w 50"/>
                <a:gd name="T33" fmla="*/ 67 h 67"/>
                <a:gd name="T34" fmla="*/ 47 w 50"/>
                <a:gd name="T35" fmla="*/ 10 h 67"/>
                <a:gd name="T36" fmla="*/ 50 w 50"/>
                <a:gd name="T37" fmla="*/ 10 h 67"/>
                <a:gd name="T38" fmla="*/ 50 w 50"/>
                <a:gd name="T39" fmla="*/ 8 h 67"/>
                <a:gd name="T40" fmla="*/ 26 w 50"/>
                <a:gd name="T41" fmla="*/ 8 h 67"/>
                <a:gd name="T42" fmla="*/ 43 w 50"/>
                <a:gd name="T43" fmla="*/ 52 h 67"/>
                <a:gd name="T44" fmla="*/ 5 w 50"/>
                <a:gd name="T45" fmla="*/ 52 h 67"/>
                <a:gd name="T46" fmla="*/ 5 w 50"/>
                <a:gd name="T47" fmla="*/ 46 h 67"/>
                <a:gd name="T48" fmla="*/ 43 w 50"/>
                <a:gd name="T49" fmla="*/ 46 h 67"/>
                <a:gd name="T50" fmla="*/ 43 w 50"/>
                <a:gd name="T51" fmla="*/ 52 h 67"/>
                <a:gd name="T52" fmla="*/ 43 w 50"/>
                <a:gd name="T53" fmla="*/ 42 h 67"/>
                <a:gd name="T54" fmla="*/ 5 w 50"/>
                <a:gd name="T55" fmla="*/ 42 h 67"/>
                <a:gd name="T56" fmla="*/ 5 w 50"/>
                <a:gd name="T57" fmla="*/ 35 h 67"/>
                <a:gd name="T58" fmla="*/ 43 w 50"/>
                <a:gd name="T59" fmla="*/ 35 h 67"/>
                <a:gd name="T60" fmla="*/ 43 w 50"/>
                <a:gd name="T61" fmla="*/ 42 h 67"/>
                <a:gd name="T62" fmla="*/ 43 w 50"/>
                <a:gd name="T63" fmla="*/ 31 h 67"/>
                <a:gd name="T64" fmla="*/ 5 w 50"/>
                <a:gd name="T65" fmla="*/ 31 h 67"/>
                <a:gd name="T66" fmla="*/ 5 w 50"/>
                <a:gd name="T67" fmla="*/ 25 h 67"/>
                <a:gd name="T68" fmla="*/ 43 w 50"/>
                <a:gd name="T69" fmla="*/ 25 h 67"/>
                <a:gd name="T70" fmla="*/ 43 w 50"/>
                <a:gd name="T71" fmla="*/ 31 h 67"/>
                <a:gd name="T72" fmla="*/ 43 w 50"/>
                <a:gd name="T73" fmla="*/ 21 h 67"/>
                <a:gd name="T74" fmla="*/ 5 w 50"/>
                <a:gd name="T75" fmla="*/ 21 h 67"/>
                <a:gd name="T76" fmla="*/ 5 w 50"/>
                <a:gd name="T77" fmla="*/ 15 h 67"/>
                <a:gd name="T78" fmla="*/ 43 w 50"/>
                <a:gd name="T79" fmla="*/ 15 h 67"/>
                <a:gd name="T80" fmla="*/ 43 w 50"/>
                <a:gd name="T81" fmla="*/ 2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67">
                  <a:moveTo>
                    <a:pt x="26" y="8"/>
                  </a:moveTo>
                  <a:lnTo>
                    <a:pt x="26" y="0"/>
                  </a:lnTo>
                  <a:lnTo>
                    <a:pt x="10" y="0"/>
                  </a:lnTo>
                  <a:lnTo>
                    <a:pt x="10" y="8"/>
                  </a:lnTo>
                  <a:lnTo>
                    <a:pt x="0" y="8"/>
                  </a:lnTo>
                  <a:lnTo>
                    <a:pt x="0" y="10"/>
                  </a:lnTo>
                  <a:lnTo>
                    <a:pt x="1" y="10"/>
                  </a:lnTo>
                  <a:lnTo>
                    <a:pt x="1" y="67"/>
                  </a:lnTo>
                  <a:lnTo>
                    <a:pt x="17" y="67"/>
                  </a:lnTo>
                  <a:lnTo>
                    <a:pt x="17" y="56"/>
                  </a:lnTo>
                  <a:lnTo>
                    <a:pt x="22" y="56"/>
                  </a:lnTo>
                  <a:lnTo>
                    <a:pt x="22" y="67"/>
                  </a:lnTo>
                  <a:lnTo>
                    <a:pt x="26" y="67"/>
                  </a:lnTo>
                  <a:lnTo>
                    <a:pt x="26" y="56"/>
                  </a:lnTo>
                  <a:lnTo>
                    <a:pt x="33" y="56"/>
                  </a:lnTo>
                  <a:lnTo>
                    <a:pt x="33" y="67"/>
                  </a:lnTo>
                  <a:lnTo>
                    <a:pt x="47" y="67"/>
                  </a:lnTo>
                  <a:lnTo>
                    <a:pt x="47" y="10"/>
                  </a:lnTo>
                  <a:lnTo>
                    <a:pt x="50" y="10"/>
                  </a:lnTo>
                  <a:lnTo>
                    <a:pt x="50" y="8"/>
                  </a:lnTo>
                  <a:lnTo>
                    <a:pt x="26" y="8"/>
                  </a:lnTo>
                  <a:close/>
                  <a:moveTo>
                    <a:pt x="43" y="52"/>
                  </a:moveTo>
                  <a:lnTo>
                    <a:pt x="5" y="52"/>
                  </a:lnTo>
                  <a:lnTo>
                    <a:pt x="5" y="46"/>
                  </a:lnTo>
                  <a:lnTo>
                    <a:pt x="43" y="46"/>
                  </a:lnTo>
                  <a:lnTo>
                    <a:pt x="43" y="52"/>
                  </a:lnTo>
                  <a:close/>
                  <a:moveTo>
                    <a:pt x="43" y="42"/>
                  </a:moveTo>
                  <a:lnTo>
                    <a:pt x="5" y="42"/>
                  </a:lnTo>
                  <a:lnTo>
                    <a:pt x="5" y="35"/>
                  </a:lnTo>
                  <a:lnTo>
                    <a:pt x="43" y="35"/>
                  </a:lnTo>
                  <a:lnTo>
                    <a:pt x="43" y="42"/>
                  </a:lnTo>
                  <a:close/>
                  <a:moveTo>
                    <a:pt x="43" y="31"/>
                  </a:moveTo>
                  <a:lnTo>
                    <a:pt x="5" y="31"/>
                  </a:lnTo>
                  <a:lnTo>
                    <a:pt x="5" y="25"/>
                  </a:lnTo>
                  <a:lnTo>
                    <a:pt x="43" y="25"/>
                  </a:lnTo>
                  <a:lnTo>
                    <a:pt x="43" y="31"/>
                  </a:lnTo>
                  <a:close/>
                  <a:moveTo>
                    <a:pt x="43" y="21"/>
                  </a:moveTo>
                  <a:lnTo>
                    <a:pt x="5" y="21"/>
                  </a:lnTo>
                  <a:lnTo>
                    <a:pt x="5" y="15"/>
                  </a:lnTo>
                  <a:lnTo>
                    <a:pt x="43" y="15"/>
                  </a:lnTo>
                  <a:lnTo>
                    <a:pt x="43" y="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2" name="Freeform 10"/>
            <p:cNvSpPr>
              <a:spLocks noEditPoints="1"/>
            </p:cNvSpPr>
            <p:nvPr userDrawn="1"/>
          </p:nvSpPr>
          <p:spPr bwMode="auto">
            <a:xfrm>
              <a:off x="5178425" y="4529138"/>
              <a:ext cx="144462" cy="188913"/>
            </a:xfrm>
            <a:custGeom>
              <a:avLst/>
              <a:gdLst>
                <a:gd name="T0" fmla="*/ 49 w 91"/>
                <a:gd name="T1" fmla="*/ 14 h 119"/>
                <a:gd name="T2" fmla="*/ 49 w 91"/>
                <a:gd name="T3" fmla="*/ 0 h 119"/>
                <a:gd name="T4" fmla="*/ 19 w 91"/>
                <a:gd name="T5" fmla="*/ 0 h 119"/>
                <a:gd name="T6" fmla="*/ 19 w 91"/>
                <a:gd name="T7" fmla="*/ 14 h 119"/>
                <a:gd name="T8" fmla="*/ 0 w 91"/>
                <a:gd name="T9" fmla="*/ 14 h 119"/>
                <a:gd name="T10" fmla="*/ 0 w 91"/>
                <a:gd name="T11" fmla="*/ 17 h 119"/>
                <a:gd name="T12" fmla="*/ 5 w 91"/>
                <a:gd name="T13" fmla="*/ 17 h 119"/>
                <a:gd name="T14" fmla="*/ 5 w 91"/>
                <a:gd name="T15" fmla="*/ 119 h 119"/>
                <a:gd name="T16" fmla="*/ 31 w 91"/>
                <a:gd name="T17" fmla="*/ 119 h 119"/>
                <a:gd name="T18" fmla="*/ 31 w 91"/>
                <a:gd name="T19" fmla="*/ 98 h 119"/>
                <a:gd name="T20" fmla="*/ 42 w 91"/>
                <a:gd name="T21" fmla="*/ 98 h 119"/>
                <a:gd name="T22" fmla="*/ 42 w 91"/>
                <a:gd name="T23" fmla="*/ 119 h 119"/>
                <a:gd name="T24" fmla="*/ 49 w 91"/>
                <a:gd name="T25" fmla="*/ 119 h 119"/>
                <a:gd name="T26" fmla="*/ 49 w 91"/>
                <a:gd name="T27" fmla="*/ 98 h 119"/>
                <a:gd name="T28" fmla="*/ 61 w 91"/>
                <a:gd name="T29" fmla="*/ 98 h 119"/>
                <a:gd name="T30" fmla="*/ 61 w 91"/>
                <a:gd name="T31" fmla="*/ 119 h 119"/>
                <a:gd name="T32" fmla="*/ 87 w 91"/>
                <a:gd name="T33" fmla="*/ 119 h 119"/>
                <a:gd name="T34" fmla="*/ 87 w 91"/>
                <a:gd name="T35" fmla="*/ 17 h 119"/>
                <a:gd name="T36" fmla="*/ 91 w 91"/>
                <a:gd name="T37" fmla="*/ 17 h 119"/>
                <a:gd name="T38" fmla="*/ 91 w 91"/>
                <a:gd name="T39" fmla="*/ 14 h 119"/>
                <a:gd name="T40" fmla="*/ 49 w 91"/>
                <a:gd name="T41" fmla="*/ 14 h 119"/>
                <a:gd name="T42" fmla="*/ 79 w 91"/>
                <a:gd name="T43" fmla="*/ 91 h 119"/>
                <a:gd name="T44" fmla="*/ 13 w 91"/>
                <a:gd name="T45" fmla="*/ 91 h 119"/>
                <a:gd name="T46" fmla="*/ 13 w 91"/>
                <a:gd name="T47" fmla="*/ 81 h 119"/>
                <a:gd name="T48" fmla="*/ 79 w 91"/>
                <a:gd name="T49" fmla="*/ 81 h 119"/>
                <a:gd name="T50" fmla="*/ 79 w 91"/>
                <a:gd name="T51" fmla="*/ 91 h 119"/>
                <a:gd name="T52" fmla="*/ 79 w 91"/>
                <a:gd name="T53" fmla="*/ 73 h 119"/>
                <a:gd name="T54" fmla="*/ 13 w 91"/>
                <a:gd name="T55" fmla="*/ 73 h 119"/>
                <a:gd name="T56" fmla="*/ 13 w 91"/>
                <a:gd name="T57" fmla="*/ 63 h 119"/>
                <a:gd name="T58" fmla="*/ 79 w 91"/>
                <a:gd name="T59" fmla="*/ 63 h 119"/>
                <a:gd name="T60" fmla="*/ 79 w 91"/>
                <a:gd name="T61" fmla="*/ 73 h 119"/>
                <a:gd name="T62" fmla="*/ 79 w 91"/>
                <a:gd name="T63" fmla="*/ 55 h 119"/>
                <a:gd name="T64" fmla="*/ 13 w 91"/>
                <a:gd name="T65" fmla="*/ 55 h 119"/>
                <a:gd name="T66" fmla="*/ 13 w 91"/>
                <a:gd name="T67" fmla="*/ 43 h 119"/>
                <a:gd name="T68" fmla="*/ 79 w 91"/>
                <a:gd name="T69" fmla="*/ 43 h 119"/>
                <a:gd name="T70" fmla="*/ 79 w 91"/>
                <a:gd name="T71" fmla="*/ 55 h 119"/>
                <a:gd name="T72" fmla="*/ 79 w 91"/>
                <a:gd name="T73" fmla="*/ 36 h 119"/>
                <a:gd name="T74" fmla="*/ 13 w 91"/>
                <a:gd name="T75" fmla="*/ 36 h 119"/>
                <a:gd name="T76" fmla="*/ 13 w 91"/>
                <a:gd name="T77" fmla="*/ 25 h 119"/>
                <a:gd name="T78" fmla="*/ 79 w 91"/>
                <a:gd name="T79" fmla="*/ 25 h 119"/>
                <a:gd name="T80" fmla="*/ 79 w 91"/>
                <a:gd name="T81" fmla="*/ 3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1" h="119">
                  <a:moveTo>
                    <a:pt x="49" y="14"/>
                  </a:moveTo>
                  <a:lnTo>
                    <a:pt x="49" y="0"/>
                  </a:lnTo>
                  <a:lnTo>
                    <a:pt x="19" y="0"/>
                  </a:lnTo>
                  <a:lnTo>
                    <a:pt x="19" y="14"/>
                  </a:lnTo>
                  <a:lnTo>
                    <a:pt x="0" y="14"/>
                  </a:lnTo>
                  <a:lnTo>
                    <a:pt x="0" y="17"/>
                  </a:lnTo>
                  <a:lnTo>
                    <a:pt x="5" y="17"/>
                  </a:lnTo>
                  <a:lnTo>
                    <a:pt x="5" y="119"/>
                  </a:lnTo>
                  <a:lnTo>
                    <a:pt x="31" y="119"/>
                  </a:lnTo>
                  <a:lnTo>
                    <a:pt x="31" y="98"/>
                  </a:lnTo>
                  <a:lnTo>
                    <a:pt x="42" y="98"/>
                  </a:lnTo>
                  <a:lnTo>
                    <a:pt x="42" y="119"/>
                  </a:lnTo>
                  <a:lnTo>
                    <a:pt x="49" y="119"/>
                  </a:lnTo>
                  <a:lnTo>
                    <a:pt x="49" y="98"/>
                  </a:lnTo>
                  <a:lnTo>
                    <a:pt x="61" y="98"/>
                  </a:lnTo>
                  <a:lnTo>
                    <a:pt x="61" y="119"/>
                  </a:lnTo>
                  <a:lnTo>
                    <a:pt x="87" y="119"/>
                  </a:lnTo>
                  <a:lnTo>
                    <a:pt x="87" y="17"/>
                  </a:lnTo>
                  <a:lnTo>
                    <a:pt x="91" y="17"/>
                  </a:lnTo>
                  <a:lnTo>
                    <a:pt x="91" y="14"/>
                  </a:lnTo>
                  <a:lnTo>
                    <a:pt x="49" y="14"/>
                  </a:lnTo>
                  <a:close/>
                  <a:moveTo>
                    <a:pt x="79" y="91"/>
                  </a:moveTo>
                  <a:lnTo>
                    <a:pt x="13" y="91"/>
                  </a:lnTo>
                  <a:lnTo>
                    <a:pt x="13" y="81"/>
                  </a:lnTo>
                  <a:lnTo>
                    <a:pt x="79" y="81"/>
                  </a:lnTo>
                  <a:lnTo>
                    <a:pt x="79" y="91"/>
                  </a:lnTo>
                  <a:close/>
                  <a:moveTo>
                    <a:pt x="79" y="73"/>
                  </a:moveTo>
                  <a:lnTo>
                    <a:pt x="13" y="73"/>
                  </a:lnTo>
                  <a:lnTo>
                    <a:pt x="13" y="63"/>
                  </a:lnTo>
                  <a:lnTo>
                    <a:pt x="79" y="63"/>
                  </a:lnTo>
                  <a:lnTo>
                    <a:pt x="79" y="73"/>
                  </a:lnTo>
                  <a:close/>
                  <a:moveTo>
                    <a:pt x="79" y="55"/>
                  </a:moveTo>
                  <a:lnTo>
                    <a:pt x="13" y="55"/>
                  </a:lnTo>
                  <a:lnTo>
                    <a:pt x="13" y="43"/>
                  </a:lnTo>
                  <a:lnTo>
                    <a:pt x="79" y="43"/>
                  </a:lnTo>
                  <a:lnTo>
                    <a:pt x="79" y="55"/>
                  </a:lnTo>
                  <a:close/>
                  <a:moveTo>
                    <a:pt x="79" y="36"/>
                  </a:moveTo>
                  <a:lnTo>
                    <a:pt x="13" y="36"/>
                  </a:lnTo>
                  <a:lnTo>
                    <a:pt x="13" y="25"/>
                  </a:lnTo>
                  <a:lnTo>
                    <a:pt x="79" y="25"/>
                  </a:lnTo>
                  <a:lnTo>
                    <a:pt x="79" y="3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3" name="Freeform 11"/>
            <p:cNvSpPr>
              <a:spLocks noEditPoints="1"/>
            </p:cNvSpPr>
            <p:nvPr userDrawn="1"/>
          </p:nvSpPr>
          <p:spPr bwMode="auto">
            <a:xfrm>
              <a:off x="5194300" y="4130675"/>
              <a:ext cx="142875" cy="187325"/>
            </a:xfrm>
            <a:custGeom>
              <a:avLst/>
              <a:gdLst>
                <a:gd name="T0" fmla="*/ 49 w 90"/>
                <a:gd name="T1" fmla="*/ 13 h 118"/>
                <a:gd name="T2" fmla="*/ 49 w 90"/>
                <a:gd name="T3" fmla="*/ 0 h 118"/>
                <a:gd name="T4" fmla="*/ 17 w 90"/>
                <a:gd name="T5" fmla="*/ 0 h 118"/>
                <a:gd name="T6" fmla="*/ 17 w 90"/>
                <a:gd name="T7" fmla="*/ 13 h 118"/>
                <a:gd name="T8" fmla="*/ 0 w 90"/>
                <a:gd name="T9" fmla="*/ 13 h 118"/>
                <a:gd name="T10" fmla="*/ 0 w 90"/>
                <a:gd name="T11" fmla="*/ 16 h 118"/>
                <a:gd name="T12" fmla="*/ 4 w 90"/>
                <a:gd name="T13" fmla="*/ 16 h 118"/>
                <a:gd name="T14" fmla="*/ 4 w 90"/>
                <a:gd name="T15" fmla="*/ 118 h 118"/>
                <a:gd name="T16" fmla="*/ 31 w 90"/>
                <a:gd name="T17" fmla="*/ 118 h 118"/>
                <a:gd name="T18" fmla="*/ 31 w 90"/>
                <a:gd name="T19" fmla="*/ 97 h 118"/>
                <a:gd name="T20" fmla="*/ 41 w 90"/>
                <a:gd name="T21" fmla="*/ 97 h 118"/>
                <a:gd name="T22" fmla="*/ 41 w 90"/>
                <a:gd name="T23" fmla="*/ 118 h 118"/>
                <a:gd name="T24" fmla="*/ 49 w 90"/>
                <a:gd name="T25" fmla="*/ 118 h 118"/>
                <a:gd name="T26" fmla="*/ 49 w 90"/>
                <a:gd name="T27" fmla="*/ 97 h 118"/>
                <a:gd name="T28" fmla="*/ 59 w 90"/>
                <a:gd name="T29" fmla="*/ 97 h 118"/>
                <a:gd name="T30" fmla="*/ 59 w 90"/>
                <a:gd name="T31" fmla="*/ 118 h 118"/>
                <a:gd name="T32" fmla="*/ 86 w 90"/>
                <a:gd name="T33" fmla="*/ 118 h 118"/>
                <a:gd name="T34" fmla="*/ 86 w 90"/>
                <a:gd name="T35" fmla="*/ 16 h 118"/>
                <a:gd name="T36" fmla="*/ 90 w 90"/>
                <a:gd name="T37" fmla="*/ 16 h 118"/>
                <a:gd name="T38" fmla="*/ 90 w 90"/>
                <a:gd name="T39" fmla="*/ 13 h 118"/>
                <a:gd name="T40" fmla="*/ 49 w 90"/>
                <a:gd name="T41" fmla="*/ 13 h 118"/>
                <a:gd name="T42" fmla="*/ 79 w 90"/>
                <a:gd name="T43" fmla="*/ 91 h 118"/>
                <a:gd name="T44" fmla="*/ 11 w 90"/>
                <a:gd name="T45" fmla="*/ 91 h 118"/>
                <a:gd name="T46" fmla="*/ 11 w 90"/>
                <a:gd name="T47" fmla="*/ 80 h 118"/>
                <a:gd name="T48" fmla="*/ 79 w 90"/>
                <a:gd name="T49" fmla="*/ 80 h 118"/>
                <a:gd name="T50" fmla="*/ 79 w 90"/>
                <a:gd name="T51" fmla="*/ 91 h 118"/>
                <a:gd name="T52" fmla="*/ 79 w 90"/>
                <a:gd name="T53" fmla="*/ 73 h 118"/>
                <a:gd name="T54" fmla="*/ 11 w 90"/>
                <a:gd name="T55" fmla="*/ 73 h 118"/>
                <a:gd name="T56" fmla="*/ 11 w 90"/>
                <a:gd name="T57" fmla="*/ 62 h 118"/>
                <a:gd name="T58" fmla="*/ 79 w 90"/>
                <a:gd name="T59" fmla="*/ 62 h 118"/>
                <a:gd name="T60" fmla="*/ 79 w 90"/>
                <a:gd name="T61" fmla="*/ 73 h 118"/>
                <a:gd name="T62" fmla="*/ 79 w 90"/>
                <a:gd name="T63" fmla="*/ 54 h 118"/>
                <a:gd name="T64" fmla="*/ 11 w 90"/>
                <a:gd name="T65" fmla="*/ 54 h 118"/>
                <a:gd name="T66" fmla="*/ 11 w 90"/>
                <a:gd name="T67" fmla="*/ 44 h 118"/>
                <a:gd name="T68" fmla="*/ 79 w 90"/>
                <a:gd name="T69" fmla="*/ 44 h 118"/>
                <a:gd name="T70" fmla="*/ 79 w 90"/>
                <a:gd name="T71" fmla="*/ 54 h 118"/>
                <a:gd name="T72" fmla="*/ 79 w 90"/>
                <a:gd name="T73" fmla="*/ 35 h 118"/>
                <a:gd name="T74" fmla="*/ 11 w 90"/>
                <a:gd name="T75" fmla="*/ 35 h 118"/>
                <a:gd name="T76" fmla="*/ 11 w 90"/>
                <a:gd name="T77" fmla="*/ 26 h 118"/>
                <a:gd name="T78" fmla="*/ 79 w 90"/>
                <a:gd name="T79" fmla="*/ 26 h 118"/>
                <a:gd name="T80" fmla="*/ 79 w 90"/>
                <a:gd name="T81" fmla="*/ 3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118">
                  <a:moveTo>
                    <a:pt x="49" y="13"/>
                  </a:moveTo>
                  <a:lnTo>
                    <a:pt x="49" y="0"/>
                  </a:lnTo>
                  <a:lnTo>
                    <a:pt x="17" y="0"/>
                  </a:lnTo>
                  <a:lnTo>
                    <a:pt x="17" y="13"/>
                  </a:lnTo>
                  <a:lnTo>
                    <a:pt x="0" y="13"/>
                  </a:lnTo>
                  <a:lnTo>
                    <a:pt x="0" y="16"/>
                  </a:lnTo>
                  <a:lnTo>
                    <a:pt x="4" y="16"/>
                  </a:lnTo>
                  <a:lnTo>
                    <a:pt x="4" y="118"/>
                  </a:lnTo>
                  <a:lnTo>
                    <a:pt x="31" y="118"/>
                  </a:lnTo>
                  <a:lnTo>
                    <a:pt x="31" y="97"/>
                  </a:lnTo>
                  <a:lnTo>
                    <a:pt x="41" y="97"/>
                  </a:lnTo>
                  <a:lnTo>
                    <a:pt x="41" y="118"/>
                  </a:lnTo>
                  <a:lnTo>
                    <a:pt x="49" y="118"/>
                  </a:lnTo>
                  <a:lnTo>
                    <a:pt x="49" y="97"/>
                  </a:lnTo>
                  <a:lnTo>
                    <a:pt x="59" y="97"/>
                  </a:lnTo>
                  <a:lnTo>
                    <a:pt x="59" y="118"/>
                  </a:lnTo>
                  <a:lnTo>
                    <a:pt x="86" y="118"/>
                  </a:lnTo>
                  <a:lnTo>
                    <a:pt x="86" y="16"/>
                  </a:lnTo>
                  <a:lnTo>
                    <a:pt x="90" y="16"/>
                  </a:lnTo>
                  <a:lnTo>
                    <a:pt x="90" y="13"/>
                  </a:lnTo>
                  <a:lnTo>
                    <a:pt x="49" y="13"/>
                  </a:lnTo>
                  <a:close/>
                  <a:moveTo>
                    <a:pt x="79" y="91"/>
                  </a:moveTo>
                  <a:lnTo>
                    <a:pt x="11" y="91"/>
                  </a:lnTo>
                  <a:lnTo>
                    <a:pt x="11" y="80"/>
                  </a:lnTo>
                  <a:lnTo>
                    <a:pt x="79" y="80"/>
                  </a:lnTo>
                  <a:lnTo>
                    <a:pt x="79" y="91"/>
                  </a:lnTo>
                  <a:close/>
                  <a:moveTo>
                    <a:pt x="79" y="73"/>
                  </a:moveTo>
                  <a:lnTo>
                    <a:pt x="11" y="73"/>
                  </a:lnTo>
                  <a:lnTo>
                    <a:pt x="11" y="62"/>
                  </a:lnTo>
                  <a:lnTo>
                    <a:pt x="79" y="62"/>
                  </a:lnTo>
                  <a:lnTo>
                    <a:pt x="79" y="73"/>
                  </a:lnTo>
                  <a:close/>
                  <a:moveTo>
                    <a:pt x="79" y="54"/>
                  </a:moveTo>
                  <a:lnTo>
                    <a:pt x="11" y="54"/>
                  </a:lnTo>
                  <a:lnTo>
                    <a:pt x="11" y="44"/>
                  </a:lnTo>
                  <a:lnTo>
                    <a:pt x="79" y="44"/>
                  </a:lnTo>
                  <a:lnTo>
                    <a:pt x="79" y="54"/>
                  </a:lnTo>
                  <a:close/>
                  <a:moveTo>
                    <a:pt x="79" y="35"/>
                  </a:moveTo>
                  <a:lnTo>
                    <a:pt x="11" y="35"/>
                  </a:lnTo>
                  <a:lnTo>
                    <a:pt x="11" y="26"/>
                  </a:lnTo>
                  <a:lnTo>
                    <a:pt x="79" y="26"/>
                  </a:lnTo>
                  <a:lnTo>
                    <a:pt x="79" y="3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4" name="Freeform 12"/>
            <p:cNvSpPr>
              <a:spLocks noEditPoints="1"/>
            </p:cNvSpPr>
            <p:nvPr userDrawn="1"/>
          </p:nvSpPr>
          <p:spPr bwMode="auto">
            <a:xfrm>
              <a:off x="5353050" y="4360863"/>
              <a:ext cx="163512" cy="214313"/>
            </a:xfrm>
            <a:custGeom>
              <a:avLst/>
              <a:gdLst>
                <a:gd name="T0" fmla="*/ 57 w 103"/>
                <a:gd name="T1" fmla="*/ 14 h 135"/>
                <a:gd name="T2" fmla="*/ 57 w 103"/>
                <a:gd name="T3" fmla="*/ 0 h 135"/>
                <a:gd name="T4" fmla="*/ 19 w 103"/>
                <a:gd name="T5" fmla="*/ 0 h 135"/>
                <a:gd name="T6" fmla="*/ 19 w 103"/>
                <a:gd name="T7" fmla="*/ 14 h 135"/>
                <a:gd name="T8" fmla="*/ 0 w 103"/>
                <a:gd name="T9" fmla="*/ 14 h 135"/>
                <a:gd name="T10" fmla="*/ 0 w 103"/>
                <a:gd name="T11" fmla="*/ 18 h 135"/>
                <a:gd name="T12" fmla="*/ 4 w 103"/>
                <a:gd name="T13" fmla="*/ 18 h 135"/>
                <a:gd name="T14" fmla="*/ 4 w 103"/>
                <a:gd name="T15" fmla="*/ 135 h 135"/>
                <a:gd name="T16" fmla="*/ 35 w 103"/>
                <a:gd name="T17" fmla="*/ 135 h 135"/>
                <a:gd name="T18" fmla="*/ 35 w 103"/>
                <a:gd name="T19" fmla="*/ 112 h 135"/>
                <a:gd name="T20" fmla="*/ 47 w 103"/>
                <a:gd name="T21" fmla="*/ 112 h 135"/>
                <a:gd name="T22" fmla="*/ 47 w 103"/>
                <a:gd name="T23" fmla="*/ 135 h 135"/>
                <a:gd name="T24" fmla="*/ 57 w 103"/>
                <a:gd name="T25" fmla="*/ 135 h 135"/>
                <a:gd name="T26" fmla="*/ 57 w 103"/>
                <a:gd name="T27" fmla="*/ 112 h 135"/>
                <a:gd name="T28" fmla="*/ 68 w 103"/>
                <a:gd name="T29" fmla="*/ 112 h 135"/>
                <a:gd name="T30" fmla="*/ 68 w 103"/>
                <a:gd name="T31" fmla="*/ 135 h 135"/>
                <a:gd name="T32" fmla="*/ 99 w 103"/>
                <a:gd name="T33" fmla="*/ 135 h 135"/>
                <a:gd name="T34" fmla="*/ 99 w 103"/>
                <a:gd name="T35" fmla="*/ 18 h 135"/>
                <a:gd name="T36" fmla="*/ 103 w 103"/>
                <a:gd name="T37" fmla="*/ 18 h 135"/>
                <a:gd name="T38" fmla="*/ 103 w 103"/>
                <a:gd name="T39" fmla="*/ 14 h 135"/>
                <a:gd name="T40" fmla="*/ 57 w 103"/>
                <a:gd name="T41" fmla="*/ 14 h 135"/>
                <a:gd name="T42" fmla="*/ 91 w 103"/>
                <a:gd name="T43" fmla="*/ 105 h 135"/>
                <a:gd name="T44" fmla="*/ 14 w 103"/>
                <a:gd name="T45" fmla="*/ 105 h 135"/>
                <a:gd name="T46" fmla="*/ 14 w 103"/>
                <a:gd name="T47" fmla="*/ 92 h 135"/>
                <a:gd name="T48" fmla="*/ 91 w 103"/>
                <a:gd name="T49" fmla="*/ 92 h 135"/>
                <a:gd name="T50" fmla="*/ 91 w 103"/>
                <a:gd name="T51" fmla="*/ 105 h 135"/>
                <a:gd name="T52" fmla="*/ 91 w 103"/>
                <a:gd name="T53" fmla="*/ 84 h 135"/>
                <a:gd name="T54" fmla="*/ 14 w 103"/>
                <a:gd name="T55" fmla="*/ 84 h 135"/>
                <a:gd name="T56" fmla="*/ 14 w 103"/>
                <a:gd name="T57" fmla="*/ 71 h 135"/>
                <a:gd name="T58" fmla="*/ 91 w 103"/>
                <a:gd name="T59" fmla="*/ 71 h 135"/>
                <a:gd name="T60" fmla="*/ 91 w 103"/>
                <a:gd name="T61" fmla="*/ 84 h 135"/>
                <a:gd name="T62" fmla="*/ 91 w 103"/>
                <a:gd name="T63" fmla="*/ 61 h 135"/>
                <a:gd name="T64" fmla="*/ 14 w 103"/>
                <a:gd name="T65" fmla="*/ 61 h 135"/>
                <a:gd name="T66" fmla="*/ 14 w 103"/>
                <a:gd name="T67" fmla="*/ 50 h 135"/>
                <a:gd name="T68" fmla="*/ 91 w 103"/>
                <a:gd name="T69" fmla="*/ 50 h 135"/>
                <a:gd name="T70" fmla="*/ 91 w 103"/>
                <a:gd name="T71" fmla="*/ 61 h 135"/>
                <a:gd name="T72" fmla="*/ 91 w 103"/>
                <a:gd name="T73" fmla="*/ 40 h 135"/>
                <a:gd name="T74" fmla="*/ 14 w 103"/>
                <a:gd name="T75" fmla="*/ 40 h 135"/>
                <a:gd name="T76" fmla="*/ 14 w 103"/>
                <a:gd name="T77" fmla="*/ 28 h 135"/>
                <a:gd name="T78" fmla="*/ 91 w 103"/>
                <a:gd name="T79" fmla="*/ 28 h 135"/>
                <a:gd name="T80" fmla="*/ 91 w 103"/>
                <a:gd name="T81" fmla="*/ 4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3" h="135">
                  <a:moveTo>
                    <a:pt x="57" y="14"/>
                  </a:moveTo>
                  <a:lnTo>
                    <a:pt x="57" y="0"/>
                  </a:lnTo>
                  <a:lnTo>
                    <a:pt x="19" y="0"/>
                  </a:lnTo>
                  <a:lnTo>
                    <a:pt x="19" y="14"/>
                  </a:lnTo>
                  <a:lnTo>
                    <a:pt x="0" y="14"/>
                  </a:lnTo>
                  <a:lnTo>
                    <a:pt x="0" y="18"/>
                  </a:lnTo>
                  <a:lnTo>
                    <a:pt x="4" y="18"/>
                  </a:lnTo>
                  <a:lnTo>
                    <a:pt x="4" y="135"/>
                  </a:lnTo>
                  <a:lnTo>
                    <a:pt x="35" y="135"/>
                  </a:lnTo>
                  <a:lnTo>
                    <a:pt x="35" y="112"/>
                  </a:lnTo>
                  <a:lnTo>
                    <a:pt x="47" y="112"/>
                  </a:lnTo>
                  <a:lnTo>
                    <a:pt x="47" y="135"/>
                  </a:lnTo>
                  <a:lnTo>
                    <a:pt x="57" y="135"/>
                  </a:lnTo>
                  <a:lnTo>
                    <a:pt x="57" y="112"/>
                  </a:lnTo>
                  <a:lnTo>
                    <a:pt x="68" y="112"/>
                  </a:lnTo>
                  <a:lnTo>
                    <a:pt x="68" y="135"/>
                  </a:lnTo>
                  <a:lnTo>
                    <a:pt x="99" y="135"/>
                  </a:lnTo>
                  <a:lnTo>
                    <a:pt x="99" y="18"/>
                  </a:lnTo>
                  <a:lnTo>
                    <a:pt x="103" y="18"/>
                  </a:lnTo>
                  <a:lnTo>
                    <a:pt x="103" y="14"/>
                  </a:lnTo>
                  <a:lnTo>
                    <a:pt x="57" y="14"/>
                  </a:lnTo>
                  <a:close/>
                  <a:moveTo>
                    <a:pt x="91" y="105"/>
                  </a:moveTo>
                  <a:lnTo>
                    <a:pt x="14" y="105"/>
                  </a:lnTo>
                  <a:lnTo>
                    <a:pt x="14" y="92"/>
                  </a:lnTo>
                  <a:lnTo>
                    <a:pt x="91" y="92"/>
                  </a:lnTo>
                  <a:lnTo>
                    <a:pt x="91" y="105"/>
                  </a:lnTo>
                  <a:close/>
                  <a:moveTo>
                    <a:pt x="91" y="84"/>
                  </a:moveTo>
                  <a:lnTo>
                    <a:pt x="14" y="84"/>
                  </a:lnTo>
                  <a:lnTo>
                    <a:pt x="14" y="71"/>
                  </a:lnTo>
                  <a:lnTo>
                    <a:pt x="91" y="71"/>
                  </a:lnTo>
                  <a:lnTo>
                    <a:pt x="91" y="84"/>
                  </a:lnTo>
                  <a:close/>
                  <a:moveTo>
                    <a:pt x="91" y="61"/>
                  </a:moveTo>
                  <a:lnTo>
                    <a:pt x="14" y="61"/>
                  </a:lnTo>
                  <a:lnTo>
                    <a:pt x="14" y="50"/>
                  </a:lnTo>
                  <a:lnTo>
                    <a:pt x="91" y="50"/>
                  </a:lnTo>
                  <a:lnTo>
                    <a:pt x="91" y="61"/>
                  </a:lnTo>
                  <a:close/>
                  <a:moveTo>
                    <a:pt x="91" y="40"/>
                  </a:moveTo>
                  <a:lnTo>
                    <a:pt x="14" y="40"/>
                  </a:lnTo>
                  <a:lnTo>
                    <a:pt x="14" y="28"/>
                  </a:lnTo>
                  <a:lnTo>
                    <a:pt x="91" y="28"/>
                  </a:lnTo>
                  <a:lnTo>
                    <a:pt x="91" y="4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5" name="Freeform 13"/>
            <p:cNvSpPr>
              <a:spLocks/>
            </p:cNvSpPr>
            <p:nvPr userDrawn="1"/>
          </p:nvSpPr>
          <p:spPr bwMode="auto">
            <a:xfrm>
              <a:off x="3940175" y="4378325"/>
              <a:ext cx="230187" cy="149225"/>
            </a:xfrm>
            <a:custGeom>
              <a:avLst/>
              <a:gdLst>
                <a:gd name="T0" fmla="*/ 86 w 103"/>
                <a:gd name="T1" fmla="*/ 29 h 67"/>
                <a:gd name="T2" fmla="*/ 86 w 103"/>
                <a:gd name="T3" fmla="*/ 28 h 67"/>
                <a:gd name="T4" fmla="*/ 58 w 103"/>
                <a:gd name="T5" fmla="*/ 0 h 67"/>
                <a:gd name="T6" fmla="*/ 35 w 103"/>
                <a:gd name="T7" fmla="*/ 12 h 67"/>
                <a:gd name="T8" fmla="*/ 27 w 103"/>
                <a:gd name="T9" fmla="*/ 10 h 67"/>
                <a:gd name="T10" fmla="*/ 18 w 103"/>
                <a:gd name="T11" fmla="*/ 13 h 67"/>
                <a:gd name="T12" fmla="*/ 10 w 103"/>
                <a:gd name="T13" fmla="*/ 26 h 67"/>
                <a:gd name="T14" fmla="*/ 0 w 103"/>
                <a:gd name="T15" fmla="*/ 45 h 67"/>
                <a:gd name="T16" fmla="*/ 20 w 103"/>
                <a:gd name="T17" fmla="*/ 67 h 67"/>
                <a:gd name="T18" fmla="*/ 22 w 103"/>
                <a:gd name="T19" fmla="*/ 67 h 67"/>
                <a:gd name="T20" fmla="*/ 25 w 103"/>
                <a:gd name="T21" fmla="*/ 67 h 67"/>
                <a:gd name="T22" fmla="*/ 71 w 103"/>
                <a:gd name="T23" fmla="*/ 67 h 67"/>
                <a:gd name="T24" fmla="*/ 72 w 103"/>
                <a:gd name="T25" fmla="*/ 67 h 67"/>
                <a:gd name="T26" fmla="*/ 73 w 103"/>
                <a:gd name="T27" fmla="*/ 67 h 67"/>
                <a:gd name="T28" fmla="*/ 76 w 103"/>
                <a:gd name="T29" fmla="*/ 67 h 67"/>
                <a:gd name="T30" fmla="*/ 84 w 103"/>
                <a:gd name="T31" fmla="*/ 67 h 67"/>
                <a:gd name="T32" fmla="*/ 103 w 103"/>
                <a:gd name="T33" fmla="*/ 48 h 67"/>
                <a:gd name="T34" fmla="*/ 86 w 103"/>
                <a:gd name="T35" fmla="*/ 2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67">
                  <a:moveTo>
                    <a:pt x="86" y="29"/>
                  </a:moveTo>
                  <a:cubicBezTo>
                    <a:pt x="86" y="29"/>
                    <a:pt x="86" y="28"/>
                    <a:pt x="86" y="28"/>
                  </a:cubicBezTo>
                  <a:cubicBezTo>
                    <a:pt x="86" y="12"/>
                    <a:pt x="74" y="0"/>
                    <a:pt x="58" y="0"/>
                  </a:cubicBezTo>
                  <a:cubicBezTo>
                    <a:pt x="48" y="0"/>
                    <a:pt x="40" y="5"/>
                    <a:pt x="35" y="12"/>
                  </a:cubicBezTo>
                  <a:cubicBezTo>
                    <a:pt x="32" y="11"/>
                    <a:pt x="30" y="10"/>
                    <a:pt x="27" y="10"/>
                  </a:cubicBezTo>
                  <a:cubicBezTo>
                    <a:pt x="23" y="10"/>
                    <a:pt x="20" y="11"/>
                    <a:pt x="18" y="13"/>
                  </a:cubicBezTo>
                  <a:cubicBezTo>
                    <a:pt x="13" y="16"/>
                    <a:pt x="11" y="21"/>
                    <a:pt x="10" y="26"/>
                  </a:cubicBezTo>
                  <a:cubicBezTo>
                    <a:pt x="4" y="30"/>
                    <a:pt x="0" y="37"/>
                    <a:pt x="0" y="45"/>
                  </a:cubicBezTo>
                  <a:cubicBezTo>
                    <a:pt x="0" y="56"/>
                    <a:pt x="9" y="66"/>
                    <a:pt x="20" y="67"/>
                  </a:cubicBezTo>
                  <a:cubicBezTo>
                    <a:pt x="21" y="67"/>
                    <a:pt x="22" y="67"/>
                    <a:pt x="22" y="67"/>
                  </a:cubicBezTo>
                  <a:cubicBezTo>
                    <a:pt x="23" y="67"/>
                    <a:pt x="24" y="67"/>
                    <a:pt x="25" y="67"/>
                  </a:cubicBezTo>
                  <a:cubicBezTo>
                    <a:pt x="35" y="67"/>
                    <a:pt x="59" y="67"/>
                    <a:pt x="71" y="67"/>
                  </a:cubicBezTo>
                  <a:cubicBezTo>
                    <a:pt x="71" y="67"/>
                    <a:pt x="71" y="67"/>
                    <a:pt x="72" y="67"/>
                  </a:cubicBezTo>
                  <a:cubicBezTo>
                    <a:pt x="73" y="67"/>
                    <a:pt x="73" y="67"/>
                    <a:pt x="73" y="67"/>
                  </a:cubicBezTo>
                  <a:cubicBezTo>
                    <a:pt x="73" y="67"/>
                    <a:pt x="75" y="67"/>
                    <a:pt x="76" y="67"/>
                  </a:cubicBezTo>
                  <a:cubicBezTo>
                    <a:pt x="84" y="67"/>
                    <a:pt x="84" y="67"/>
                    <a:pt x="84" y="67"/>
                  </a:cubicBezTo>
                  <a:cubicBezTo>
                    <a:pt x="94" y="67"/>
                    <a:pt x="103" y="58"/>
                    <a:pt x="103" y="48"/>
                  </a:cubicBezTo>
                  <a:cubicBezTo>
                    <a:pt x="103" y="39"/>
                    <a:pt x="95" y="31"/>
                    <a:pt x="86" y="2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6" name="Freeform 14"/>
            <p:cNvSpPr>
              <a:spLocks/>
            </p:cNvSpPr>
            <p:nvPr userDrawn="1"/>
          </p:nvSpPr>
          <p:spPr bwMode="auto">
            <a:xfrm>
              <a:off x="4100513" y="4549775"/>
              <a:ext cx="227012" cy="147638"/>
            </a:xfrm>
            <a:custGeom>
              <a:avLst/>
              <a:gdLst>
                <a:gd name="T0" fmla="*/ 86 w 102"/>
                <a:gd name="T1" fmla="*/ 29 h 67"/>
                <a:gd name="T2" fmla="*/ 86 w 102"/>
                <a:gd name="T3" fmla="*/ 28 h 67"/>
                <a:gd name="T4" fmla="*/ 58 w 102"/>
                <a:gd name="T5" fmla="*/ 0 h 67"/>
                <a:gd name="T6" fmla="*/ 34 w 102"/>
                <a:gd name="T7" fmla="*/ 12 h 67"/>
                <a:gd name="T8" fmla="*/ 27 w 102"/>
                <a:gd name="T9" fmla="*/ 10 h 67"/>
                <a:gd name="T10" fmla="*/ 17 w 102"/>
                <a:gd name="T11" fmla="*/ 13 h 67"/>
                <a:gd name="T12" fmla="*/ 10 w 102"/>
                <a:gd name="T13" fmla="*/ 26 h 67"/>
                <a:gd name="T14" fmla="*/ 0 w 102"/>
                <a:gd name="T15" fmla="*/ 45 h 67"/>
                <a:gd name="T16" fmla="*/ 20 w 102"/>
                <a:gd name="T17" fmla="*/ 67 h 67"/>
                <a:gd name="T18" fmla="*/ 22 w 102"/>
                <a:gd name="T19" fmla="*/ 67 h 67"/>
                <a:gd name="T20" fmla="*/ 24 w 102"/>
                <a:gd name="T21" fmla="*/ 67 h 67"/>
                <a:gd name="T22" fmla="*/ 71 w 102"/>
                <a:gd name="T23" fmla="*/ 67 h 67"/>
                <a:gd name="T24" fmla="*/ 71 w 102"/>
                <a:gd name="T25" fmla="*/ 67 h 67"/>
                <a:gd name="T26" fmla="*/ 73 w 102"/>
                <a:gd name="T27" fmla="*/ 67 h 67"/>
                <a:gd name="T28" fmla="*/ 76 w 102"/>
                <a:gd name="T29" fmla="*/ 67 h 67"/>
                <a:gd name="T30" fmla="*/ 83 w 102"/>
                <a:gd name="T31" fmla="*/ 67 h 67"/>
                <a:gd name="T32" fmla="*/ 102 w 102"/>
                <a:gd name="T33" fmla="*/ 48 h 67"/>
                <a:gd name="T34" fmla="*/ 86 w 102"/>
                <a:gd name="T35" fmla="*/ 2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67">
                  <a:moveTo>
                    <a:pt x="86" y="29"/>
                  </a:moveTo>
                  <a:cubicBezTo>
                    <a:pt x="86" y="29"/>
                    <a:pt x="86" y="28"/>
                    <a:pt x="86" y="28"/>
                  </a:cubicBezTo>
                  <a:cubicBezTo>
                    <a:pt x="86" y="12"/>
                    <a:pt x="73" y="0"/>
                    <a:pt x="58" y="0"/>
                  </a:cubicBezTo>
                  <a:cubicBezTo>
                    <a:pt x="48" y="0"/>
                    <a:pt x="39" y="5"/>
                    <a:pt x="34" y="12"/>
                  </a:cubicBezTo>
                  <a:cubicBezTo>
                    <a:pt x="32" y="11"/>
                    <a:pt x="29" y="10"/>
                    <a:pt x="27" y="10"/>
                  </a:cubicBezTo>
                  <a:cubicBezTo>
                    <a:pt x="23" y="10"/>
                    <a:pt x="20" y="11"/>
                    <a:pt x="17" y="13"/>
                  </a:cubicBezTo>
                  <a:cubicBezTo>
                    <a:pt x="13" y="16"/>
                    <a:pt x="10" y="21"/>
                    <a:pt x="10" y="26"/>
                  </a:cubicBezTo>
                  <a:cubicBezTo>
                    <a:pt x="4" y="30"/>
                    <a:pt x="0" y="37"/>
                    <a:pt x="0" y="45"/>
                  </a:cubicBezTo>
                  <a:cubicBezTo>
                    <a:pt x="0" y="56"/>
                    <a:pt x="9" y="66"/>
                    <a:pt x="20" y="67"/>
                  </a:cubicBezTo>
                  <a:cubicBezTo>
                    <a:pt x="20" y="67"/>
                    <a:pt x="21" y="67"/>
                    <a:pt x="22" y="67"/>
                  </a:cubicBezTo>
                  <a:cubicBezTo>
                    <a:pt x="23" y="67"/>
                    <a:pt x="24" y="67"/>
                    <a:pt x="24" y="67"/>
                  </a:cubicBezTo>
                  <a:cubicBezTo>
                    <a:pt x="35" y="67"/>
                    <a:pt x="59" y="67"/>
                    <a:pt x="71" y="67"/>
                  </a:cubicBezTo>
                  <a:cubicBezTo>
                    <a:pt x="71" y="67"/>
                    <a:pt x="71" y="67"/>
                    <a:pt x="71" y="67"/>
                  </a:cubicBezTo>
                  <a:cubicBezTo>
                    <a:pt x="73" y="67"/>
                    <a:pt x="73" y="67"/>
                    <a:pt x="73" y="67"/>
                  </a:cubicBezTo>
                  <a:cubicBezTo>
                    <a:pt x="73" y="67"/>
                    <a:pt x="75" y="67"/>
                    <a:pt x="76" y="67"/>
                  </a:cubicBezTo>
                  <a:cubicBezTo>
                    <a:pt x="83" y="67"/>
                    <a:pt x="83" y="67"/>
                    <a:pt x="83" y="67"/>
                  </a:cubicBezTo>
                  <a:cubicBezTo>
                    <a:pt x="94" y="67"/>
                    <a:pt x="102" y="58"/>
                    <a:pt x="102" y="48"/>
                  </a:cubicBezTo>
                  <a:cubicBezTo>
                    <a:pt x="102" y="38"/>
                    <a:pt x="95" y="31"/>
                    <a:pt x="86" y="2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7" name="Freeform 15"/>
            <p:cNvSpPr>
              <a:spLocks/>
            </p:cNvSpPr>
            <p:nvPr userDrawn="1"/>
          </p:nvSpPr>
          <p:spPr bwMode="auto">
            <a:xfrm>
              <a:off x="4189413" y="4408488"/>
              <a:ext cx="125412" cy="82550"/>
            </a:xfrm>
            <a:custGeom>
              <a:avLst/>
              <a:gdLst>
                <a:gd name="T0" fmla="*/ 47 w 56"/>
                <a:gd name="T1" fmla="*/ 16 h 37"/>
                <a:gd name="T2" fmla="*/ 47 w 56"/>
                <a:gd name="T3" fmla="*/ 15 h 37"/>
                <a:gd name="T4" fmla="*/ 32 w 56"/>
                <a:gd name="T5" fmla="*/ 0 h 37"/>
                <a:gd name="T6" fmla="*/ 19 w 56"/>
                <a:gd name="T7" fmla="*/ 7 h 37"/>
                <a:gd name="T8" fmla="*/ 15 w 56"/>
                <a:gd name="T9" fmla="*/ 6 h 37"/>
                <a:gd name="T10" fmla="*/ 10 w 56"/>
                <a:gd name="T11" fmla="*/ 7 h 37"/>
                <a:gd name="T12" fmla="*/ 6 w 56"/>
                <a:gd name="T13" fmla="*/ 14 h 37"/>
                <a:gd name="T14" fmla="*/ 0 w 56"/>
                <a:gd name="T15" fmla="*/ 25 h 37"/>
                <a:gd name="T16" fmla="*/ 11 w 56"/>
                <a:gd name="T17" fmla="*/ 37 h 37"/>
                <a:gd name="T18" fmla="*/ 13 w 56"/>
                <a:gd name="T19" fmla="*/ 37 h 37"/>
                <a:gd name="T20" fmla="*/ 14 w 56"/>
                <a:gd name="T21" fmla="*/ 37 h 37"/>
                <a:gd name="T22" fmla="*/ 39 w 56"/>
                <a:gd name="T23" fmla="*/ 37 h 37"/>
                <a:gd name="T24" fmla="*/ 39 w 56"/>
                <a:gd name="T25" fmla="*/ 37 h 37"/>
                <a:gd name="T26" fmla="*/ 40 w 56"/>
                <a:gd name="T27" fmla="*/ 37 h 37"/>
                <a:gd name="T28" fmla="*/ 42 w 56"/>
                <a:gd name="T29" fmla="*/ 37 h 37"/>
                <a:gd name="T30" fmla="*/ 46 w 56"/>
                <a:gd name="T31" fmla="*/ 37 h 37"/>
                <a:gd name="T32" fmla="*/ 56 w 56"/>
                <a:gd name="T33" fmla="*/ 26 h 37"/>
                <a:gd name="T34" fmla="*/ 47 w 56"/>
                <a:gd name="T35"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37">
                  <a:moveTo>
                    <a:pt x="47" y="16"/>
                  </a:moveTo>
                  <a:cubicBezTo>
                    <a:pt x="47" y="15"/>
                    <a:pt x="47" y="15"/>
                    <a:pt x="47" y="15"/>
                  </a:cubicBezTo>
                  <a:cubicBezTo>
                    <a:pt x="47" y="7"/>
                    <a:pt x="40" y="0"/>
                    <a:pt x="32" y="0"/>
                  </a:cubicBezTo>
                  <a:cubicBezTo>
                    <a:pt x="27" y="0"/>
                    <a:pt x="22" y="3"/>
                    <a:pt x="19" y="7"/>
                  </a:cubicBezTo>
                  <a:cubicBezTo>
                    <a:pt x="18" y="6"/>
                    <a:pt x="16" y="6"/>
                    <a:pt x="15" y="6"/>
                  </a:cubicBezTo>
                  <a:cubicBezTo>
                    <a:pt x="13" y="6"/>
                    <a:pt x="11" y="6"/>
                    <a:pt x="10" y="7"/>
                  </a:cubicBezTo>
                  <a:cubicBezTo>
                    <a:pt x="8" y="9"/>
                    <a:pt x="6" y="11"/>
                    <a:pt x="6" y="14"/>
                  </a:cubicBezTo>
                  <a:cubicBezTo>
                    <a:pt x="3" y="17"/>
                    <a:pt x="0" y="20"/>
                    <a:pt x="0" y="25"/>
                  </a:cubicBezTo>
                  <a:cubicBezTo>
                    <a:pt x="0" y="31"/>
                    <a:pt x="5" y="36"/>
                    <a:pt x="11" y="37"/>
                  </a:cubicBezTo>
                  <a:cubicBezTo>
                    <a:pt x="12" y="37"/>
                    <a:pt x="12" y="37"/>
                    <a:pt x="13" y="37"/>
                  </a:cubicBezTo>
                  <a:cubicBezTo>
                    <a:pt x="13" y="37"/>
                    <a:pt x="13" y="37"/>
                    <a:pt x="14" y="37"/>
                  </a:cubicBezTo>
                  <a:cubicBezTo>
                    <a:pt x="19" y="37"/>
                    <a:pt x="33" y="37"/>
                    <a:pt x="39" y="37"/>
                  </a:cubicBezTo>
                  <a:cubicBezTo>
                    <a:pt x="39" y="37"/>
                    <a:pt x="39" y="37"/>
                    <a:pt x="39" y="37"/>
                  </a:cubicBezTo>
                  <a:cubicBezTo>
                    <a:pt x="40" y="37"/>
                    <a:pt x="40" y="37"/>
                    <a:pt x="40" y="37"/>
                  </a:cubicBezTo>
                  <a:cubicBezTo>
                    <a:pt x="40" y="37"/>
                    <a:pt x="41" y="37"/>
                    <a:pt x="42" y="37"/>
                  </a:cubicBezTo>
                  <a:cubicBezTo>
                    <a:pt x="46" y="37"/>
                    <a:pt x="46" y="37"/>
                    <a:pt x="46" y="37"/>
                  </a:cubicBezTo>
                  <a:cubicBezTo>
                    <a:pt x="52" y="37"/>
                    <a:pt x="56" y="32"/>
                    <a:pt x="56" y="26"/>
                  </a:cubicBezTo>
                  <a:cubicBezTo>
                    <a:pt x="56" y="21"/>
                    <a:pt x="52" y="17"/>
                    <a:pt x="47" y="1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8" name="Freeform 16"/>
            <p:cNvSpPr>
              <a:spLocks/>
            </p:cNvSpPr>
            <p:nvPr userDrawn="1"/>
          </p:nvSpPr>
          <p:spPr bwMode="auto">
            <a:xfrm>
              <a:off x="4078288" y="4173538"/>
              <a:ext cx="198437" cy="131763"/>
            </a:xfrm>
            <a:custGeom>
              <a:avLst/>
              <a:gdLst>
                <a:gd name="T0" fmla="*/ 75 w 89"/>
                <a:gd name="T1" fmla="*/ 26 h 59"/>
                <a:gd name="T2" fmla="*/ 75 w 89"/>
                <a:gd name="T3" fmla="*/ 25 h 59"/>
                <a:gd name="T4" fmla="*/ 50 w 89"/>
                <a:gd name="T5" fmla="*/ 0 h 59"/>
                <a:gd name="T6" fmla="*/ 30 w 89"/>
                <a:gd name="T7" fmla="*/ 11 h 59"/>
                <a:gd name="T8" fmla="*/ 23 w 89"/>
                <a:gd name="T9" fmla="*/ 10 h 59"/>
                <a:gd name="T10" fmla="*/ 15 w 89"/>
                <a:gd name="T11" fmla="*/ 12 h 59"/>
                <a:gd name="T12" fmla="*/ 9 w 89"/>
                <a:gd name="T13" fmla="*/ 24 h 59"/>
                <a:gd name="T14" fmla="*/ 0 w 89"/>
                <a:gd name="T15" fmla="*/ 40 h 59"/>
                <a:gd name="T16" fmla="*/ 17 w 89"/>
                <a:gd name="T17" fmla="*/ 59 h 59"/>
                <a:gd name="T18" fmla="*/ 19 w 89"/>
                <a:gd name="T19" fmla="*/ 59 h 59"/>
                <a:gd name="T20" fmla="*/ 21 w 89"/>
                <a:gd name="T21" fmla="*/ 59 h 59"/>
                <a:gd name="T22" fmla="*/ 61 w 89"/>
                <a:gd name="T23" fmla="*/ 59 h 59"/>
                <a:gd name="T24" fmla="*/ 62 w 89"/>
                <a:gd name="T25" fmla="*/ 59 h 59"/>
                <a:gd name="T26" fmla="*/ 63 w 89"/>
                <a:gd name="T27" fmla="*/ 59 h 59"/>
                <a:gd name="T28" fmla="*/ 66 w 89"/>
                <a:gd name="T29" fmla="*/ 59 h 59"/>
                <a:gd name="T30" fmla="*/ 73 w 89"/>
                <a:gd name="T31" fmla="*/ 59 h 59"/>
                <a:gd name="T32" fmla="*/ 89 w 89"/>
                <a:gd name="T33" fmla="*/ 43 h 59"/>
                <a:gd name="T34" fmla="*/ 75 w 89"/>
                <a:gd name="T35" fmla="*/ 2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59">
                  <a:moveTo>
                    <a:pt x="75" y="26"/>
                  </a:moveTo>
                  <a:cubicBezTo>
                    <a:pt x="75" y="25"/>
                    <a:pt x="75" y="25"/>
                    <a:pt x="75" y="25"/>
                  </a:cubicBezTo>
                  <a:cubicBezTo>
                    <a:pt x="75" y="11"/>
                    <a:pt x="64" y="0"/>
                    <a:pt x="50" y="0"/>
                  </a:cubicBezTo>
                  <a:cubicBezTo>
                    <a:pt x="42" y="0"/>
                    <a:pt x="34" y="5"/>
                    <a:pt x="30" y="11"/>
                  </a:cubicBezTo>
                  <a:cubicBezTo>
                    <a:pt x="28" y="10"/>
                    <a:pt x="25" y="10"/>
                    <a:pt x="23" y="10"/>
                  </a:cubicBezTo>
                  <a:cubicBezTo>
                    <a:pt x="20" y="10"/>
                    <a:pt x="17" y="10"/>
                    <a:pt x="15" y="12"/>
                  </a:cubicBezTo>
                  <a:cubicBezTo>
                    <a:pt x="11" y="14"/>
                    <a:pt x="9" y="19"/>
                    <a:pt x="9" y="24"/>
                  </a:cubicBezTo>
                  <a:cubicBezTo>
                    <a:pt x="3" y="27"/>
                    <a:pt x="0" y="33"/>
                    <a:pt x="0" y="40"/>
                  </a:cubicBezTo>
                  <a:cubicBezTo>
                    <a:pt x="0" y="50"/>
                    <a:pt x="7" y="58"/>
                    <a:pt x="17" y="59"/>
                  </a:cubicBezTo>
                  <a:cubicBezTo>
                    <a:pt x="18" y="59"/>
                    <a:pt x="19" y="59"/>
                    <a:pt x="19" y="59"/>
                  </a:cubicBezTo>
                  <a:cubicBezTo>
                    <a:pt x="20" y="59"/>
                    <a:pt x="21" y="59"/>
                    <a:pt x="21" y="59"/>
                  </a:cubicBezTo>
                  <a:cubicBezTo>
                    <a:pt x="30" y="59"/>
                    <a:pt x="51" y="59"/>
                    <a:pt x="61" y="59"/>
                  </a:cubicBezTo>
                  <a:cubicBezTo>
                    <a:pt x="62" y="59"/>
                    <a:pt x="62" y="59"/>
                    <a:pt x="62" y="59"/>
                  </a:cubicBezTo>
                  <a:cubicBezTo>
                    <a:pt x="63" y="59"/>
                    <a:pt x="63" y="59"/>
                    <a:pt x="63" y="59"/>
                  </a:cubicBezTo>
                  <a:cubicBezTo>
                    <a:pt x="64" y="59"/>
                    <a:pt x="65" y="59"/>
                    <a:pt x="66" y="59"/>
                  </a:cubicBezTo>
                  <a:cubicBezTo>
                    <a:pt x="73" y="59"/>
                    <a:pt x="73" y="59"/>
                    <a:pt x="73" y="59"/>
                  </a:cubicBezTo>
                  <a:cubicBezTo>
                    <a:pt x="82" y="59"/>
                    <a:pt x="89" y="52"/>
                    <a:pt x="89" y="43"/>
                  </a:cubicBezTo>
                  <a:cubicBezTo>
                    <a:pt x="89" y="34"/>
                    <a:pt x="83" y="27"/>
                    <a:pt x="7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19" name="Freeform 17"/>
            <p:cNvSpPr>
              <a:spLocks/>
            </p:cNvSpPr>
            <p:nvPr userDrawn="1"/>
          </p:nvSpPr>
          <p:spPr bwMode="auto">
            <a:xfrm>
              <a:off x="4287838" y="4722813"/>
              <a:ext cx="123825" cy="79375"/>
            </a:xfrm>
            <a:custGeom>
              <a:avLst/>
              <a:gdLst>
                <a:gd name="T0" fmla="*/ 47 w 56"/>
                <a:gd name="T1" fmla="*/ 16 h 36"/>
                <a:gd name="T2" fmla="*/ 47 w 56"/>
                <a:gd name="T3" fmla="*/ 15 h 36"/>
                <a:gd name="T4" fmla="*/ 31 w 56"/>
                <a:gd name="T5" fmla="*/ 0 h 36"/>
                <a:gd name="T6" fmla="*/ 18 w 56"/>
                <a:gd name="T7" fmla="*/ 7 h 36"/>
                <a:gd name="T8" fmla="*/ 14 w 56"/>
                <a:gd name="T9" fmla="*/ 6 h 36"/>
                <a:gd name="T10" fmla="*/ 9 w 56"/>
                <a:gd name="T11" fmla="*/ 7 h 36"/>
                <a:gd name="T12" fmla="*/ 5 w 56"/>
                <a:gd name="T13" fmla="*/ 14 h 36"/>
                <a:gd name="T14" fmla="*/ 0 w 56"/>
                <a:gd name="T15" fmla="*/ 24 h 36"/>
                <a:gd name="T16" fmla="*/ 11 w 56"/>
                <a:gd name="T17" fmla="*/ 36 h 36"/>
                <a:gd name="T18" fmla="*/ 12 w 56"/>
                <a:gd name="T19" fmla="*/ 36 h 36"/>
                <a:gd name="T20" fmla="*/ 13 w 56"/>
                <a:gd name="T21" fmla="*/ 36 h 36"/>
                <a:gd name="T22" fmla="*/ 38 w 56"/>
                <a:gd name="T23" fmla="*/ 36 h 36"/>
                <a:gd name="T24" fmla="*/ 39 w 56"/>
                <a:gd name="T25" fmla="*/ 36 h 36"/>
                <a:gd name="T26" fmla="*/ 39 w 56"/>
                <a:gd name="T27" fmla="*/ 36 h 36"/>
                <a:gd name="T28" fmla="*/ 41 w 56"/>
                <a:gd name="T29" fmla="*/ 36 h 36"/>
                <a:gd name="T30" fmla="*/ 45 w 56"/>
                <a:gd name="T31" fmla="*/ 36 h 36"/>
                <a:gd name="T32" fmla="*/ 56 w 56"/>
                <a:gd name="T33" fmla="*/ 26 h 36"/>
                <a:gd name="T34" fmla="*/ 47 w 56"/>
                <a:gd name="T3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36">
                  <a:moveTo>
                    <a:pt x="47" y="16"/>
                  </a:moveTo>
                  <a:cubicBezTo>
                    <a:pt x="47" y="15"/>
                    <a:pt x="47" y="15"/>
                    <a:pt x="47" y="15"/>
                  </a:cubicBezTo>
                  <a:cubicBezTo>
                    <a:pt x="47" y="7"/>
                    <a:pt x="40" y="0"/>
                    <a:pt x="31" y="0"/>
                  </a:cubicBezTo>
                  <a:cubicBezTo>
                    <a:pt x="26" y="0"/>
                    <a:pt x="21" y="3"/>
                    <a:pt x="18" y="7"/>
                  </a:cubicBezTo>
                  <a:cubicBezTo>
                    <a:pt x="17" y="6"/>
                    <a:pt x="16" y="6"/>
                    <a:pt x="14" y="6"/>
                  </a:cubicBezTo>
                  <a:cubicBezTo>
                    <a:pt x="12" y="6"/>
                    <a:pt x="11" y="6"/>
                    <a:pt x="9" y="7"/>
                  </a:cubicBezTo>
                  <a:cubicBezTo>
                    <a:pt x="7" y="9"/>
                    <a:pt x="5" y="11"/>
                    <a:pt x="5" y="14"/>
                  </a:cubicBezTo>
                  <a:cubicBezTo>
                    <a:pt x="2" y="16"/>
                    <a:pt x="0" y="20"/>
                    <a:pt x="0" y="24"/>
                  </a:cubicBezTo>
                  <a:cubicBezTo>
                    <a:pt x="0" y="31"/>
                    <a:pt x="4" y="36"/>
                    <a:pt x="11" y="36"/>
                  </a:cubicBezTo>
                  <a:cubicBezTo>
                    <a:pt x="11" y="36"/>
                    <a:pt x="11" y="36"/>
                    <a:pt x="12" y="36"/>
                  </a:cubicBezTo>
                  <a:cubicBezTo>
                    <a:pt x="12" y="36"/>
                    <a:pt x="13" y="36"/>
                    <a:pt x="13" y="36"/>
                  </a:cubicBezTo>
                  <a:cubicBezTo>
                    <a:pt x="19" y="36"/>
                    <a:pt x="32" y="36"/>
                    <a:pt x="38" y="36"/>
                  </a:cubicBezTo>
                  <a:cubicBezTo>
                    <a:pt x="39" y="36"/>
                    <a:pt x="39" y="36"/>
                    <a:pt x="39" y="36"/>
                  </a:cubicBezTo>
                  <a:cubicBezTo>
                    <a:pt x="39" y="36"/>
                    <a:pt x="39" y="36"/>
                    <a:pt x="39" y="36"/>
                  </a:cubicBezTo>
                  <a:cubicBezTo>
                    <a:pt x="40" y="36"/>
                    <a:pt x="41" y="36"/>
                    <a:pt x="41" y="36"/>
                  </a:cubicBezTo>
                  <a:cubicBezTo>
                    <a:pt x="45" y="36"/>
                    <a:pt x="45" y="36"/>
                    <a:pt x="45" y="36"/>
                  </a:cubicBezTo>
                  <a:cubicBezTo>
                    <a:pt x="51" y="36"/>
                    <a:pt x="56" y="32"/>
                    <a:pt x="56" y="26"/>
                  </a:cubicBezTo>
                  <a:cubicBezTo>
                    <a:pt x="56" y="21"/>
                    <a:pt x="52" y="17"/>
                    <a:pt x="47" y="1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0" name="Freeform 18"/>
            <p:cNvSpPr>
              <a:spLocks/>
            </p:cNvSpPr>
            <p:nvPr userDrawn="1"/>
          </p:nvSpPr>
          <p:spPr bwMode="auto">
            <a:xfrm>
              <a:off x="4473575" y="4017963"/>
              <a:ext cx="493712" cy="246063"/>
            </a:xfrm>
            <a:custGeom>
              <a:avLst/>
              <a:gdLst>
                <a:gd name="T0" fmla="*/ 222 w 222"/>
                <a:gd name="T1" fmla="*/ 111 h 111"/>
                <a:gd name="T2" fmla="*/ 111 w 222"/>
                <a:gd name="T3" fmla="*/ 0 h 111"/>
                <a:gd name="T4" fmla="*/ 0 w 222"/>
                <a:gd name="T5" fmla="*/ 111 h 111"/>
                <a:gd name="T6" fmla="*/ 222 w 222"/>
                <a:gd name="T7" fmla="*/ 111 h 111"/>
              </a:gdLst>
              <a:ahLst/>
              <a:cxnLst>
                <a:cxn ang="0">
                  <a:pos x="T0" y="T1"/>
                </a:cxn>
                <a:cxn ang="0">
                  <a:pos x="T2" y="T3"/>
                </a:cxn>
                <a:cxn ang="0">
                  <a:pos x="T4" y="T5"/>
                </a:cxn>
                <a:cxn ang="0">
                  <a:pos x="T6" y="T7"/>
                </a:cxn>
              </a:cxnLst>
              <a:rect l="0" t="0" r="r" b="b"/>
              <a:pathLst>
                <a:path w="222" h="111">
                  <a:moveTo>
                    <a:pt x="222" y="111"/>
                  </a:moveTo>
                  <a:cubicBezTo>
                    <a:pt x="222" y="49"/>
                    <a:pt x="172" y="0"/>
                    <a:pt x="111" y="0"/>
                  </a:cubicBezTo>
                  <a:cubicBezTo>
                    <a:pt x="49" y="0"/>
                    <a:pt x="0" y="49"/>
                    <a:pt x="0" y="111"/>
                  </a:cubicBezTo>
                  <a:lnTo>
                    <a:pt x="222" y="11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1" name="Rectangle 19"/>
            <p:cNvSpPr>
              <a:spLocks noChangeArrowheads="1"/>
            </p:cNvSpPr>
            <p:nvPr userDrawn="1"/>
          </p:nvSpPr>
          <p:spPr bwMode="auto">
            <a:xfrm>
              <a:off x="4473575" y="4264025"/>
              <a:ext cx="493712" cy="8572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2" name="Rectangle 20"/>
            <p:cNvSpPr>
              <a:spLocks noChangeArrowheads="1"/>
            </p:cNvSpPr>
            <p:nvPr userDrawn="1"/>
          </p:nvSpPr>
          <p:spPr bwMode="auto">
            <a:xfrm>
              <a:off x="4473575" y="4433888"/>
              <a:ext cx="493712" cy="841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3" name="Rectangle 21"/>
            <p:cNvSpPr>
              <a:spLocks noChangeArrowheads="1"/>
            </p:cNvSpPr>
            <p:nvPr userDrawn="1"/>
          </p:nvSpPr>
          <p:spPr bwMode="auto">
            <a:xfrm>
              <a:off x="4473575" y="4349750"/>
              <a:ext cx="493712" cy="84138"/>
            </a:xfrm>
            <a:prstGeom prst="rect">
              <a:avLst/>
            </a:prstGeom>
            <a:solidFill>
              <a:srgbClr val="823B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4" name="Rectangle 22"/>
            <p:cNvSpPr>
              <a:spLocks noChangeArrowheads="1"/>
            </p:cNvSpPr>
            <p:nvPr userDrawn="1"/>
          </p:nvSpPr>
          <p:spPr bwMode="auto">
            <a:xfrm>
              <a:off x="4578350" y="4367213"/>
              <a:ext cx="282575" cy="492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5" name="Freeform 23"/>
            <p:cNvSpPr>
              <a:spLocks/>
            </p:cNvSpPr>
            <p:nvPr userDrawn="1"/>
          </p:nvSpPr>
          <p:spPr bwMode="auto">
            <a:xfrm>
              <a:off x="5137150" y="5868988"/>
              <a:ext cx="138112" cy="69850"/>
            </a:xfrm>
            <a:custGeom>
              <a:avLst/>
              <a:gdLst>
                <a:gd name="T0" fmla="*/ 62 w 62"/>
                <a:gd name="T1" fmla="*/ 31 h 31"/>
                <a:gd name="T2" fmla="*/ 31 w 62"/>
                <a:gd name="T3" fmla="*/ 0 h 31"/>
                <a:gd name="T4" fmla="*/ 0 w 62"/>
                <a:gd name="T5" fmla="*/ 31 h 31"/>
                <a:gd name="T6" fmla="*/ 62 w 62"/>
                <a:gd name="T7" fmla="*/ 31 h 31"/>
              </a:gdLst>
              <a:ahLst/>
              <a:cxnLst>
                <a:cxn ang="0">
                  <a:pos x="T0" y="T1"/>
                </a:cxn>
                <a:cxn ang="0">
                  <a:pos x="T2" y="T3"/>
                </a:cxn>
                <a:cxn ang="0">
                  <a:pos x="T4" y="T5"/>
                </a:cxn>
                <a:cxn ang="0">
                  <a:pos x="T6" y="T7"/>
                </a:cxn>
              </a:cxnLst>
              <a:rect l="0" t="0" r="r" b="b"/>
              <a:pathLst>
                <a:path w="62" h="31">
                  <a:moveTo>
                    <a:pt x="62" y="31"/>
                  </a:moveTo>
                  <a:cubicBezTo>
                    <a:pt x="62" y="13"/>
                    <a:pt x="48" y="0"/>
                    <a:pt x="31" y="0"/>
                  </a:cubicBezTo>
                  <a:cubicBezTo>
                    <a:pt x="14" y="0"/>
                    <a:pt x="0" y="13"/>
                    <a:pt x="0" y="31"/>
                  </a:cubicBezTo>
                  <a:lnTo>
                    <a:pt x="62" y="31"/>
                  </a:ln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6" name="Freeform 24"/>
            <p:cNvSpPr>
              <a:spLocks/>
            </p:cNvSpPr>
            <p:nvPr userDrawn="1"/>
          </p:nvSpPr>
          <p:spPr bwMode="auto">
            <a:xfrm>
              <a:off x="4165600" y="5868988"/>
              <a:ext cx="138112" cy="69850"/>
            </a:xfrm>
            <a:custGeom>
              <a:avLst/>
              <a:gdLst>
                <a:gd name="T0" fmla="*/ 62 w 62"/>
                <a:gd name="T1" fmla="*/ 31 h 31"/>
                <a:gd name="T2" fmla="*/ 31 w 62"/>
                <a:gd name="T3" fmla="*/ 0 h 31"/>
                <a:gd name="T4" fmla="*/ 0 w 62"/>
                <a:gd name="T5" fmla="*/ 31 h 31"/>
                <a:gd name="T6" fmla="*/ 62 w 62"/>
                <a:gd name="T7" fmla="*/ 31 h 31"/>
              </a:gdLst>
              <a:ahLst/>
              <a:cxnLst>
                <a:cxn ang="0">
                  <a:pos x="T0" y="T1"/>
                </a:cxn>
                <a:cxn ang="0">
                  <a:pos x="T2" y="T3"/>
                </a:cxn>
                <a:cxn ang="0">
                  <a:pos x="T4" y="T5"/>
                </a:cxn>
                <a:cxn ang="0">
                  <a:pos x="T6" y="T7"/>
                </a:cxn>
              </a:cxnLst>
              <a:rect l="0" t="0" r="r" b="b"/>
              <a:pathLst>
                <a:path w="62" h="31">
                  <a:moveTo>
                    <a:pt x="62" y="31"/>
                  </a:moveTo>
                  <a:cubicBezTo>
                    <a:pt x="62" y="13"/>
                    <a:pt x="48" y="0"/>
                    <a:pt x="31" y="0"/>
                  </a:cubicBezTo>
                  <a:cubicBezTo>
                    <a:pt x="14" y="0"/>
                    <a:pt x="0" y="13"/>
                    <a:pt x="0" y="31"/>
                  </a:cubicBezTo>
                  <a:lnTo>
                    <a:pt x="62" y="31"/>
                  </a:ln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7" name="Rectangle 25"/>
            <p:cNvSpPr>
              <a:spLocks noChangeArrowheads="1"/>
            </p:cNvSpPr>
            <p:nvPr userDrawn="1"/>
          </p:nvSpPr>
          <p:spPr bwMode="auto">
            <a:xfrm>
              <a:off x="4233863" y="5868988"/>
              <a:ext cx="971550" cy="69850"/>
            </a:xfrm>
            <a:prstGeom prst="rect">
              <a:avLst/>
            </a:prstGeom>
            <a:solidFill>
              <a:srgbClr val="823B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8" name="Freeform 26"/>
            <p:cNvSpPr>
              <a:spLocks/>
            </p:cNvSpPr>
            <p:nvPr userDrawn="1"/>
          </p:nvSpPr>
          <p:spPr bwMode="auto">
            <a:xfrm>
              <a:off x="4418013" y="4518025"/>
              <a:ext cx="604837" cy="1350963"/>
            </a:xfrm>
            <a:custGeom>
              <a:avLst/>
              <a:gdLst>
                <a:gd name="T0" fmla="*/ 381 w 381"/>
                <a:gd name="T1" fmla="*/ 851 h 851"/>
                <a:gd name="T2" fmla="*/ 0 w 381"/>
                <a:gd name="T3" fmla="*/ 851 h 851"/>
                <a:gd name="T4" fmla="*/ 65 w 381"/>
                <a:gd name="T5" fmla="*/ 0 h 851"/>
                <a:gd name="T6" fmla="*/ 316 w 381"/>
                <a:gd name="T7" fmla="*/ 0 h 851"/>
                <a:gd name="T8" fmla="*/ 381 w 381"/>
                <a:gd name="T9" fmla="*/ 851 h 851"/>
              </a:gdLst>
              <a:ahLst/>
              <a:cxnLst>
                <a:cxn ang="0">
                  <a:pos x="T0" y="T1"/>
                </a:cxn>
                <a:cxn ang="0">
                  <a:pos x="T2" y="T3"/>
                </a:cxn>
                <a:cxn ang="0">
                  <a:pos x="T4" y="T5"/>
                </a:cxn>
                <a:cxn ang="0">
                  <a:pos x="T6" y="T7"/>
                </a:cxn>
                <a:cxn ang="0">
                  <a:pos x="T8" y="T9"/>
                </a:cxn>
              </a:cxnLst>
              <a:rect l="0" t="0" r="r" b="b"/>
              <a:pathLst>
                <a:path w="381" h="851">
                  <a:moveTo>
                    <a:pt x="381" y="851"/>
                  </a:moveTo>
                  <a:lnTo>
                    <a:pt x="0" y="851"/>
                  </a:lnTo>
                  <a:lnTo>
                    <a:pt x="65" y="0"/>
                  </a:lnTo>
                  <a:lnTo>
                    <a:pt x="316" y="0"/>
                  </a:lnTo>
                  <a:lnTo>
                    <a:pt x="381" y="851"/>
                  </a:ln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29" name="Freeform 27"/>
            <p:cNvSpPr>
              <a:spLocks/>
            </p:cNvSpPr>
            <p:nvPr userDrawn="1"/>
          </p:nvSpPr>
          <p:spPr bwMode="auto">
            <a:xfrm>
              <a:off x="4418013" y="4518025"/>
              <a:ext cx="604837" cy="1350963"/>
            </a:xfrm>
            <a:custGeom>
              <a:avLst/>
              <a:gdLst>
                <a:gd name="T0" fmla="*/ 381 w 381"/>
                <a:gd name="T1" fmla="*/ 851 h 851"/>
                <a:gd name="T2" fmla="*/ 0 w 381"/>
                <a:gd name="T3" fmla="*/ 851 h 851"/>
                <a:gd name="T4" fmla="*/ 65 w 381"/>
                <a:gd name="T5" fmla="*/ 0 h 851"/>
                <a:gd name="T6" fmla="*/ 316 w 381"/>
                <a:gd name="T7" fmla="*/ 0 h 851"/>
                <a:gd name="T8" fmla="*/ 381 w 381"/>
                <a:gd name="T9" fmla="*/ 851 h 851"/>
              </a:gdLst>
              <a:ahLst/>
              <a:cxnLst>
                <a:cxn ang="0">
                  <a:pos x="T0" y="T1"/>
                </a:cxn>
                <a:cxn ang="0">
                  <a:pos x="T2" y="T3"/>
                </a:cxn>
                <a:cxn ang="0">
                  <a:pos x="T4" y="T5"/>
                </a:cxn>
                <a:cxn ang="0">
                  <a:pos x="T6" y="T7"/>
                </a:cxn>
                <a:cxn ang="0">
                  <a:pos x="T8" y="T9"/>
                </a:cxn>
              </a:cxnLst>
              <a:rect l="0" t="0" r="r" b="b"/>
              <a:pathLst>
                <a:path w="381" h="851">
                  <a:moveTo>
                    <a:pt x="381" y="851"/>
                  </a:moveTo>
                  <a:lnTo>
                    <a:pt x="0" y="851"/>
                  </a:lnTo>
                  <a:lnTo>
                    <a:pt x="65" y="0"/>
                  </a:lnTo>
                  <a:lnTo>
                    <a:pt x="316" y="0"/>
                  </a:lnTo>
                  <a:lnTo>
                    <a:pt x="381"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0" name="Rectangle 28"/>
            <p:cNvSpPr>
              <a:spLocks noChangeArrowheads="1"/>
            </p:cNvSpPr>
            <p:nvPr userDrawn="1"/>
          </p:nvSpPr>
          <p:spPr bwMode="auto">
            <a:xfrm>
              <a:off x="4483100" y="5732463"/>
              <a:ext cx="484187" cy="952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1" name="Rectangle 29"/>
            <p:cNvSpPr>
              <a:spLocks noChangeArrowheads="1"/>
            </p:cNvSpPr>
            <p:nvPr userDrawn="1"/>
          </p:nvSpPr>
          <p:spPr bwMode="auto">
            <a:xfrm>
              <a:off x="4483100" y="5732463"/>
              <a:ext cx="484187"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2" name="Freeform 30"/>
            <p:cNvSpPr>
              <a:spLocks/>
            </p:cNvSpPr>
            <p:nvPr userDrawn="1"/>
          </p:nvSpPr>
          <p:spPr bwMode="auto">
            <a:xfrm>
              <a:off x="4110038" y="4894263"/>
              <a:ext cx="1220787" cy="885825"/>
            </a:xfrm>
            <a:custGeom>
              <a:avLst/>
              <a:gdLst>
                <a:gd name="T0" fmla="*/ 271 w 549"/>
                <a:gd name="T1" fmla="*/ 0 h 399"/>
                <a:gd name="T2" fmla="*/ 138 w 549"/>
                <a:gd name="T3" fmla="*/ 0 h 399"/>
                <a:gd name="T4" fmla="*/ 133 w 549"/>
                <a:gd name="T5" fmla="*/ 0 h 399"/>
                <a:gd name="T6" fmla="*/ 0 w 549"/>
                <a:gd name="T7" fmla="*/ 0 h 399"/>
                <a:gd name="T8" fmla="*/ 0 w 549"/>
                <a:gd name="T9" fmla="*/ 125 h 399"/>
                <a:gd name="T10" fmla="*/ 133 w 549"/>
                <a:gd name="T11" fmla="*/ 360 h 399"/>
                <a:gd name="T12" fmla="*/ 193 w 549"/>
                <a:gd name="T13" fmla="*/ 387 h 399"/>
                <a:gd name="T14" fmla="*/ 275 w 549"/>
                <a:gd name="T15" fmla="*/ 399 h 399"/>
                <a:gd name="T16" fmla="*/ 549 w 549"/>
                <a:gd name="T17" fmla="*/ 125 h 399"/>
                <a:gd name="T18" fmla="*/ 549 w 549"/>
                <a:gd name="T19" fmla="*/ 0 h 399"/>
                <a:gd name="T20" fmla="*/ 271 w 549"/>
                <a:gd name="T21" fmla="*/ 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399">
                  <a:moveTo>
                    <a:pt x="271" y="0"/>
                  </a:moveTo>
                  <a:cubicBezTo>
                    <a:pt x="138" y="0"/>
                    <a:pt x="138" y="0"/>
                    <a:pt x="138" y="0"/>
                  </a:cubicBezTo>
                  <a:cubicBezTo>
                    <a:pt x="133" y="0"/>
                    <a:pt x="133" y="0"/>
                    <a:pt x="133" y="0"/>
                  </a:cubicBezTo>
                  <a:cubicBezTo>
                    <a:pt x="0" y="0"/>
                    <a:pt x="0" y="0"/>
                    <a:pt x="0" y="0"/>
                  </a:cubicBezTo>
                  <a:cubicBezTo>
                    <a:pt x="0" y="125"/>
                    <a:pt x="0" y="125"/>
                    <a:pt x="0" y="125"/>
                  </a:cubicBezTo>
                  <a:cubicBezTo>
                    <a:pt x="0" y="225"/>
                    <a:pt x="54" y="312"/>
                    <a:pt x="133" y="360"/>
                  </a:cubicBezTo>
                  <a:cubicBezTo>
                    <a:pt x="152" y="371"/>
                    <a:pt x="172" y="380"/>
                    <a:pt x="193" y="387"/>
                  </a:cubicBezTo>
                  <a:cubicBezTo>
                    <a:pt x="219" y="395"/>
                    <a:pt x="246" y="399"/>
                    <a:pt x="275" y="399"/>
                  </a:cubicBezTo>
                  <a:cubicBezTo>
                    <a:pt x="426" y="399"/>
                    <a:pt x="549" y="277"/>
                    <a:pt x="549" y="125"/>
                  </a:cubicBezTo>
                  <a:cubicBezTo>
                    <a:pt x="549" y="0"/>
                    <a:pt x="549" y="0"/>
                    <a:pt x="549" y="0"/>
                  </a:cubicBezTo>
                  <a:cubicBezTo>
                    <a:pt x="271" y="0"/>
                    <a:pt x="271" y="0"/>
                    <a:pt x="271"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3" name="Rectangle 31"/>
            <p:cNvSpPr>
              <a:spLocks noChangeArrowheads="1"/>
            </p:cNvSpPr>
            <p:nvPr userDrawn="1"/>
          </p:nvSpPr>
          <p:spPr bwMode="auto">
            <a:xfrm>
              <a:off x="4598988" y="4518025"/>
              <a:ext cx="242887" cy="603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4" name="Freeform 32"/>
            <p:cNvSpPr>
              <a:spLocks/>
            </p:cNvSpPr>
            <p:nvPr userDrawn="1"/>
          </p:nvSpPr>
          <p:spPr bwMode="auto">
            <a:xfrm>
              <a:off x="4332288" y="4924425"/>
              <a:ext cx="777875" cy="777875"/>
            </a:xfrm>
            <a:custGeom>
              <a:avLst/>
              <a:gdLst>
                <a:gd name="T0" fmla="*/ 342 w 350"/>
                <a:gd name="T1" fmla="*/ 175 h 350"/>
                <a:gd name="T2" fmla="*/ 334 w 350"/>
                <a:gd name="T3" fmla="*/ 175 h 350"/>
                <a:gd name="T4" fmla="*/ 287 w 350"/>
                <a:gd name="T5" fmla="*/ 287 h 350"/>
                <a:gd name="T6" fmla="*/ 175 w 350"/>
                <a:gd name="T7" fmla="*/ 334 h 350"/>
                <a:gd name="T8" fmla="*/ 62 w 350"/>
                <a:gd name="T9" fmla="*/ 287 h 350"/>
                <a:gd name="T10" fmla="*/ 16 w 350"/>
                <a:gd name="T11" fmla="*/ 175 h 350"/>
                <a:gd name="T12" fmla="*/ 62 w 350"/>
                <a:gd name="T13" fmla="*/ 63 h 350"/>
                <a:gd name="T14" fmla="*/ 175 w 350"/>
                <a:gd name="T15" fmla="*/ 16 h 350"/>
                <a:gd name="T16" fmla="*/ 287 w 350"/>
                <a:gd name="T17" fmla="*/ 63 h 350"/>
                <a:gd name="T18" fmla="*/ 334 w 350"/>
                <a:gd name="T19" fmla="*/ 175 h 350"/>
                <a:gd name="T20" fmla="*/ 342 w 350"/>
                <a:gd name="T21" fmla="*/ 175 h 350"/>
                <a:gd name="T22" fmla="*/ 350 w 350"/>
                <a:gd name="T23" fmla="*/ 175 h 350"/>
                <a:gd name="T24" fmla="*/ 175 w 350"/>
                <a:gd name="T25" fmla="*/ 0 h 350"/>
                <a:gd name="T26" fmla="*/ 0 w 350"/>
                <a:gd name="T27" fmla="*/ 175 h 350"/>
                <a:gd name="T28" fmla="*/ 175 w 350"/>
                <a:gd name="T29" fmla="*/ 350 h 350"/>
                <a:gd name="T30" fmla="*/ 350 w 350"/>
                <a:gd name="T31" fmla="*/ 175 h 350"/>
                <a:gd name="T32" fmla="*/ 342 w 350"/>
                <a:gd name="T33" fmla="*/ 17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0" h="350">
                  <a:moveTo>
                    <a:pt x="342" y="175"/>
                  </a:moveTo>
                  <a:cubicBezTo>
                    <a:pt x="334" y="175"/>
                    <a:pt x="334" y="175"/>
                    <a:pt x="334" y="175"/>
                  </a:cubicBezTo>
                  <a:cubicBezTo>
                    <a:pt x="334" y="219"/>
                    <a:pt x="316" y="259"/>
                    <a:pt x="287" y="287"/>
                  </a:cubicBezTo>
                  <a:cubicBezTo>
                    <a:pt x="258" y="316"/>
                    <a:pt x="219" y="334"/>
                    <a:pt x="175" y="334"/>
                  </a:cubicBezTo>
                  <a:cubicBezTo>
                    <a:pt x="131" y="334"/>
                    <a:pt x="91" y="316"/>
                    <a:pt x="62" y="287"/>
                  </a:cubicBezTo>
                  <a:cubicBezTo>
                    <a:pt x="33" y="259"/>
                    <a:pt x="16" y="219"/>
                    <a:pt x="16" y="175"/>
                  </a:cubicBezTo>
                  <a:cubicBezTo>
                    <a:pt x="16" y="131"/>
                    <a:pt x="33" y="91"/>
                    <a:pt x="62" y="63"/>
                  </a:cubicBezTo>
                  <a:cubicBezTo>
                    <a:pt x="91" y="34"/>
                    <a:pt x="131" y="16"/>
                    <a:pt x="175" y="16"/>
                  </a:cubicBezTo>
                  <a:cubicBezTo>
                    <a:pt x="219" y="16"/>
                    <a:pt x="258" y="34"/>
                    <a:pt x="287" y="63"/>
                  </a:cubicBezTo>
                  <a:cubicBezTo>
                    <a:pt x="316" y="91"/>
                    <a:pt x="334" y="131"/>
                    <a:pt x="334" y="175"/>
                  </a:cubicBezTo>
                  <a:cubicBezTo>
                    <a:pt x="342" y="175"/>
                    <a:pt x="342" y="175"/>
                    <a:pt x="342" y="175"/>
                  </a:cubicBezTo>
                  <a:cubicBezTo>
                    <a:pt x="350" y="175"/>
                    <a:pt x="350" y="175"/>
                    <a:pt x="350" y="175"/>
                  </a:cubicBezTo>
                  <a:cubicBezTo>
                    <a:pt x="350" y="78"/>
                    <a:pt x="271" y="0"/>
                    <a:pt x="175" y="0"/>
                  </a:cubicBezTo>
                  <a:cubicBezTo>
                    <a:pt x="78" y="0"/>
                    <a:pt x="0" y="78"/>
                    <a:pt x="0" y="175"/>
                  </a:cubicBezTo>
                  <a:cubicBezTo>
                    <a:pt x="0" y="272"/>
                    <a:pt x="78" y="350"/>
                    <a:pt x="175" y="350"/>
                  </a:cubicBezTo>
                  <a:cubicBezTo>
                    <a:pt x="271" y="350"/>
                    <a:pt x="350" y="272"/>
                    <a:pt x="350" y="175"/>
                  </a:cubicBezTo>
                  <a:cubicBezTo>
                    <a:pt x="342" y="175"/>
                    <a:pt x="342" y="175"/>
                    <a:pt x="342" y="175"/>
                  </a:cubicBezTo>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5" name="Freeform 33"/>
            <p:cNvSpPr>
              <a:spLocks/>
            </p:cNvSpPr>
            <p:nvPr userDrawn="1"/>
          </p:nvSpPr>
          <p:spPr bwMode="auto">
            <a:xfrm>
              <a:off x="4443413" y="4924425"/>
              <a:ext cx="554037" cy="777875"/>
            </a:xfrm>
            <a:custGeom>
              <a:avLst/>
              <a:gdLst>
                <a:gd name="T0" fmla="*/ 241 w 249"/>
                <a:gd name="T1" fmla="*/ 175 h 350"/>
                <a:gd name="T2" fmla="*/ 233 w 249"/>
                <a:gd name="T3" fmla="*/ 175 h 350"/>
                <a:gd name="T4" fmla="*/ 201 w 249"/>
                <a:gd name="T5" fmla="*/ 288 h 350"/>
                <a:gd name="T6" fmla="*/ 166 w 249"/>
                <a:gd name="T7" fmla="*/ 322 h 350"/>
                <a:gd name="T8" fmla="*/ 125 w 249"/>
                <a:gd name="T9" fmla="*/ 334 h 350"/>
                <a:gd name="T10" fmla="*/ 83 w 249"/>
                <a:gd name="T11" fmla="*/ 322 h 350"/>
                <a:gd name="T12" fmla="*/ 35 w 249"/>
                <a:gd name="T13" fmla="*/ 265 h 350"/>
                <a:gd name="T14" fmla="*/ 16 w 249"/>
                <a:gd name="T15" fmla="*/ 175 h 350"/>
                <a:gd name="T16" fmla="*/ 49 w 249"/>
                <a:gd name="T17" fmla="*/ 62 h 350"/>
                <a:gd name="T18" fmla="*/ 83 w 249"/>
                <a:gd name="T19" fmla="*/ 28 h 350"/>
                <a:gd name="T20" fmla="*/ 125 w 249"/>
                <a:gd name="T21" fmla="*/ 16 h 350"/>
                <a:gd name="T22" fmla="*/ 166 w 249"/>
                <a:gd name="T23" fmla="*/ 28 h 350"/>
                <a:gd name="T24" fmla="*/ 214 w 249"/>
                <a:gd name="T25" fmla="*/ 85 h 350"/>
                <a:gd name="T26" fmla="*/ 233 w 249"/>
                <a:gd name="T27" fmla="*/ 175 h 350"/>
                <a:gd name="T28" fmla="*/ 241 w 249"/>
                <a:gd name="T29" fmla="*/ 175 h 350"/>
                <a:gd name="T30" fmla="*/ 249 w 249"/>
                <a:gd name="T31" fmla="*/ 175 h 350"/>
                <a:gd name="T32" fmla="*/ 214 w 249"/>
                <a:gd name="T33" fmla="*/ 52 h 350"/>
                <a:gd name="T34" fmla="*/ 174 w 249"/>
                <a:gd name="T35" fmla="*/ 14 h 350"/>
                <a:gd name="T36" fmla="*/ 125 w 249"/>
                <a:gd name="T37" fmla="*/ 0 h 350"/>
                <a:gd name="T38" fmla="*/ 75 w 249"/>
                <a:gd name="T39" fmla="*/ 14 h 350"/>
                <a:gd name="T40" fmla="*/ 21 w 249"/>
                <a:gd name="T41" fmla="*/ 78 h 350"/>
                <a:gd name="T42" fmla="*/ 0 w 249"/>
                <a:gd name="T43" fmla="*/ 175 h 350"/>
                <a:gd name="T44" fmla="*/ 36 w 249"/>
                <a:gd name="T45" fmla="*/ 298 h 350"/>
                <a:gd name="T46" fmla="*/ 75 w 249"/>
                <a:gd name="T47" fmla="*/ 336 h 350"/>
                <a:gd name="T48" fmla="*/ 125 w 249"/>
                <a:gd name="T49" fmla="*/ 350 h 350"/>
                <a:gd name="T50" fmla="*/ 174 w 249"/>
                <a:gd name="T51" fmla="*/ 336 h 350"/>
                <a:gd name="T52" fmla="*/ 229 w 249"/>
                <a:gd name="T53" fmla="*/ 272 h 350"/>
                <a:gd name="T54" fmla="*/ 249 w 249"/>
                <a:gd name="T55" fmla="*/ 175 h 350"/>
                <a:gd name="T56" fmla="*/ 241 w 249"/>
                <a:gd name="T57" fmla="*/ 17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9" h="350">
                  <a:moveTo>
                    <a:pt x="241" y="175"/>
                  </a:moveTo>
                  <a:cubicBezTo>
                    <a:pt x="233" y="175"/>
                    <a:pt x="233" y="175"/>
                    <a:pt x="233" y="175"/>
                  </a:cubicBezTo>
                  <a:cubicBezTo>
                    <a:pt x="233" y="220"/>
                    <a:pt x="221" y="260"/>
                    <a:pt x="201" y="288"/>
                  </a:cubicBezTo>
                  <a:cubicBezTo>
                    <a:pt x="191" y="303"/>
                    <a:pt x="179" y="314"/>
                    <a:pt x="166" y="322"/>
                  </a:cubicBezTo>
                  <a:cubicBezTo>
                    <a:pt x="153" y="330"/>
                    <a:pt x="139" y="334"/>
                    <a:pt x="125" y="334"/>
                  </a:cubicBezTo>
                  <a:cubicBezTo>
                    <a:pt x="110" y="334"/>
                    <a:pt x="96" y="330"/>
                    <a:pt x="83" y="322"/>
                  </a:cubicBezTo>
                  <a:cubicBezTo>
                    <a:pt x="64" y="310"/>
                    <a:pt x="47" y="290"/>
                    <a:pt x="35" y="265"/>
                  </a:cubicBezTo>
                  <a:cubicBezTo>
                    <a:pt x="23" y="239"/>
                    <a:pt x="16" y="208"/>
                    <a:pt x="16" y="175"/>
                  </a:cubicBezTo>
                  <a:cubicBezTo>
                    <a:pt x="16" y="130"/>
                    <a:pt x="29" y="90"/>
                    <a:pt x="49" y="62"/>
                  </a:cubicBezTo>
                  <a:cubicBezTo>
                    <a:pt x="59" y="47"/>
                    <a:pt x="71" y="36"/>
                    <a:pt x="83" y="28"/>
                  </a:cubicBezTo>
                  <a:cubicBezTo>
                    <a:pt x="96" y="20"/>
                    <a:pt x="110" y="16"/>
                    <a:pt x="125" y="16"/>
                  </a:cubicBezTo>
                  <a:cubicBezTo>
                    <a:pt x="139" y="16"/>
                    <a:pt x="153" y="20"/>
                    <a:pt x="166" y="28"/>
                  </a:cubicBezTo>
                  <a:cubicBezTo>
                    <a:pt x="185" y="40"/>
                    <a:pt x="202" y="60"/>
                    <a:pt x="214" y="85"/>
                  </a:cubicBezTo>
                  <a:cubicBezTo>
                    <a:pt x="226" y="111"/>
                    <a:pt x="233" y="142"/>
                    <a:pt x="233" y="175"/>
                  </a:cubicBezTo>
                  <a:cubicBezTo>
                    <a:pt x="241" y="175"/>
                    <a:pt x="241" y="175"/>
                    <a:pt x="241" y="175"/>
                  </a:cubicBezTo>
                  <a:cubicBezTo>
                    <a:pt x="249" y="175"/>
                    <a:pt x="249" y="175"/>
                    <a:pt x="249" y="175"/>
                  </a:cubicBezTo>
                  <a:cubicBezTo>
                    <a:pt x="249" y="127"/>
                    <a:pt x="236" y="84"/>
                    <a:pt x="214" y="52"/>
                  </a:cubicBezTo>
                  <a:cubicBezTo>
                    <a:pt x="203" y="36"/>
                    <a:pt x="189" y="23"/>
                    <a:pt x="174" y="14"/>
                  </a:cubicBezTo>
                  <a:cubicBezTo>
                    <a:pt x="159" y="5"/>
                    <a:pt x="142" y="0"/>
                    <a:pt x="125" y="0"/>
                  </a:cubicBezTo>
                  <a:cubicBezTo>
                    <a:pt x="107" y="0"/>
                    <a:pt x="90" y="5"/>
                    <a:pt x="75" y="14"/>
                  </a:cubicBezTo>
                  <a:cubicBezTo>
                    <a:pt x="52" y="28"/>
                    <a:pt x="34" y="50"/>
                    <a:pt x="21" y="78"/>
                  </a:cubicBezTo>
                  <a:cubicBezTo>
                    <a:pt x="8" y="106"/>
                    <a:pt x="0" y="139"/>
                    <a:pt x="0" y="175"/>
                  </a:cubicBezTo>
                  <a:cubicBezTo>
                    <a:pt x="0" y="223"/>
                    <a:pt x="13" y="266"/>
                    <a:pt x="36" y="298"/>
                  </a:cubicBezTo>
                  <a:cubicBezTo>
                    <a:pt x="47" y="314"/>
                    <a:pt x="60" y="327"/>
                    <a:pt x="75" y="336"/>
                  </a:cubicBezTo>
                  <a:cubicBezTo>
                    <a:pt x="90" y="345"/>
                    <a:pt x="107" y="350"/>
                    <a:pt x="125" y="350"/>
                  </a:cubicBezTo>
                  <a:cubicBezTo>
                    <a:pt x="142" y="350"/>
                    <a:pt x="159" y="345"/>
                    <a:pt x="174" y="336"/>
                  </a:cubicBezTo>
                  <a:cubicBezTo>
                    <a:pt x="197" y="322"/>
                    <a:pt x="215" y="300"/>
                    <a:pt x="229" y="272"/>
                  </a:cubicBezTo>
                  <a:cubicBezTo>
                    <a:pt x="242" y="244"/>
                    <a:pt x="249" y="211"/>
                    <a:pt x="249" y="175"/>
                  </a:cubicBezTo>
                  <a:lnTo>
                    <a:pt x="241" y="17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6" name="Freeform 34"/>
            <p:cNvSpPr>
              <a:spLocks/>
            </p:cNvSpPr>
            <p:nvPr userDrawn="1"/>
          </p:nvSpPr>
          <p:spPr bwMode="auto">
            <a:xfrm>
              <a:off x="4581525" y="4924425"/>
              <a:ext cx="277812" cy="777875"/>
            </a:xfrm>
            <a:custGeom>
              <a:avLst/>
              <a:gdLst>
                <a:gd name="T0" fmla="*/ 117 w 125"/>
                <a:gd name="T1" fmla="*/ 175 h 350"/>
                <a:gd name="T2" fmla="*/ 109 w 125"/>
                <a:gd name="T3" fmla="*/ 175 h 350"/>
                <a:gd name="T4" fmla="*/ 94 w 125"/>
                <a:gd name="T5" fmla="*/ 291 h 350"/>
                <a:gd name="T6" fmla="*/ 78 w 125"/>
                <a:gd name="T7" fmla="*/ 324 h 350"/>
                <a:gd name="T8" fmla="*/ 69 w 125"/>
                <a:gd name="T9" fmla="*/ 332 h 350"/>
                <a:gd name="T10" fmla="*/ 63 w 125"/>
                <a:gd name="T11" fmla="*/ 334 h 350"/>
                <a:gd name="T12" fmla="*/ 56 w 125"/>
                <a:gd name="T13" fmla="*/ 332 h 350"/>
                <a:gd name="T14" fmla="*/ 41 w 125"/>
                <a:gd name="T15" fmla="*/ 314 h 350"/>
                <a:gd name="T16" fmla="*/ 23 w 125"/>
                <a:gd name="T17" fmla="*/ 257 h 350"/>
                <a:gd name="T18" fmla="*/ 16 w 125"/>
                <a:gd name="T19" fmla="*/ 175 h 350"/>
                <a:gd name="T20" fmla="*/ 32 w 125"/>
                <a:gd name="T21" fmla="*/ 59 h 350"/>
                <a:gd name="T22" fmla="*/ 48 w 125"/>
                <a:gd name="T23" fmla="*/ 26 h 350"/>
                <a:gd name="T24" fmla="*/ 56 w 125"/>
                <a:gd name="T25" fmla="*/ 18 h 350"/>
                <a:gd name="T26" fmla="*/ 63 w 125"/>
                <a:gd name="T27" fmla="*/ 16 h 350"/>
                <a:gd name="T28" fmla="*/ 69 w 125"/>
                <a:gd name="T29" fmla="*/ 18 h 350"/>
                <a:gd name="T30" fmla="*/ 84 w 125"/>
                <a:gd name="T31" fmla="*/ 36 h 350"/>
                <a:gd name="T32" fmla="*/ 102 w 125"/>
                <a:gd name="T33" fmla="*/ 93 h 350"/>
                <a:gd name="T34" fmla="*/ 109 w 125"/>
                <a:gd name="T35" fmla="*/ 175 h 350"/>
                <a:gd name="T36" fmla="*/ 117 w 125"/>
                <a:gd name="T37" fmla="*/ 175 h 350"/>
                <a:gd name="T38" fmla="*/ 125 w 125"/>
                <a:gd name="T39" fmla="*/ 175 h 350"/>
                <a:gd name="T40" fmla="*/ 109 w 125"/>
                <a:gd name="T41" fmla="*/ 54 h 350"/>
                <a:gd name="T42" fmla="*/ 90 w 125"/>
                <a:gd name="T43" fmla="*/ 16 h 350"/>
                <a:gd name="T44" fmla="*/ 78 w 125"/>
                <a:gd name="T45" fmla="*/ 5 h 350"/>
                <a:gd name="T46" fmla="*/ 63 w 125"/>
                <a:gd name="T47" fmla="*/ 0 h 350"/>
                <a:gd name="T48" fmla="*/ 47 w 125"/>
                <a:gd name="T49" fmla="*/ 5 h 350"/>
                <a:gd name="T50" fmla="*/ 27 w 125"/>
                <a:gd name="T51" fmla="*/ 28 h 350"/>
                <a:gd name="T52" fmla="*/ 7 w 125"/>
                <a:gd name="T53" fmla="*/ 90 h 350"/>
                <a:gd name="T54" fmla="*/ 0 w 125"/>
                <a:gd name="T55" fmla="*/ 175 h 350"/>
                <a:gd name="T56" fmla="*/ 16 w 125"/>
                <a:gd name="T57" fmla="*/ 296 h 350"/>
                <a:gd name="T58" fmla="*/ 35 w 125"/>
                <a:gd name="T59" fmla="*/ 334 h 350"/>
                <a:gd name="T60" fmla="*/ 47 w 125"/>
                <a:gd name="T61" fmla="*/ 345 h 350"/>
                <a:gd name="T62" fmla="*/ 63 w 125"/>
                <a:gd name="T63" fmla="*/ 350 h 350"/>
                <a:gd name="T64" fmla="*/ 78 w 125"/>
                <a:gd name="T65" fmla="*/ 345 h 350"/>
                <a:gd name="T66" fmla="*/ 98 w 125"/>
                <a:gd name="T67" fmla="*/ 322 h 350"/>
                <a:gd name="T68" fmla="*/ 118 w 125"/>
                <a:gd name="T69" fmla="*/ 260 h 350"/>
                <a:gd name="T70" fmla="*/ 125 w 125"/>
                <a:gd name="T71" fmla="*/ 175 h 350"/>
                <a:gd name="T72" fmla="*/ 117 w 125"/>
                <a:gd name="T73" fmla="*/ 17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350">
                  <a:moveTo>
                    <a:pt x="117" y="175"/>
                  </a:moveTo>
                  <a:cubicBezTo>
                    <a:pt x="109" y="175"/>
                    <a:pt x="109" y="175"/>
                    <a:pt x="109" y="175"/>
                  </a:cubicBezTo>
                  <a:cubicBezTo>
                    <a:pt x="109" y="220"/>
                    <a:pt x="103" y="261"/>
                    <a:pt x="94" y="291"/>
                  </a:cubicBezTo>
                  <a:cubicBezTo>
                    <a:pt x="89" y="305"/>
                    <a:pt x="83" y="317"/>
                    <a:pt x="78" y="324"/>
                  </a:cubicBezTo>
                  <a:cubicBezTo>
                    <a:pt x="75" y="328"/>
                    <a:pt x="72" y="330"/>
                    <a:pt x="69" y="332"/>
                  </a:cubicBezTo>
                  <a:cubicBezTo>
                    <a:pt x="67" y="333"/>
                    <a:pt x="65" y="334"/>
                    <a:pt x="63" y="334"/>
                  </a:cubicBezTo>
                  <a:cubicBezTo>
                    <a:pt x="61" y="334"/>
                    <a:pt x="58" y="333"/>
                    <a:pt x="56" y="332"/>
                  </a:cubicBezTo>
                  <a:cubicBezTo>
                    <a:pt x="51" y="329"/>
                    <a:pt x="46" y="323"/>
                    <a:pt x="41" y="314"/>
                  </a:cubicBezTo>
                  <a:cubicBezTo>
                    <a:pt x="34" y="300"/>
                    <a:pt x="28" y="281"/>
                    <a:pt x="23" y="257"/>
                  </a:cubicBezTo>
                  <a:cubicBezTo>
                    <a:pt x="19" y="233"/>
                    <a:pt x="16" y="205"/>
                    <a:pt x="16" y="175"/>
                  </a:cubicBezTo>
                  <a:cubicBezTo>
                    <a:pt x="16" y="130"/>
                    <a:pt x="22" y="89"/>
                    <a:pt x="32" y="59"/>
                  </a:cubicBezTo>
                  <a:cubicBezTo>
                    <a:pt x="36" y="45"/>
                    <a:pt x="42" y="33"/>
                    <a:pt x="48" y="26"/>
                  </a:cubicBezTo>
                  <a:cubicBezTo>
                    <a:pt x="51" y="22"/>
                    <a:pt x="53" y="20"/>
                    <a:pt x="56" y="18"/>
                  </a:cubicBezTo>
                  <a:cubicBezTo>
                    <a:pt x="58" y="17"/>
                    <a:pt x="61" y="16"/>
                    <a:pt x="63" y="16"/>
                  </a:cubicBezTo>
                  <a:cubicBezTo>
                    <a:pt x="65" y="16"/>
                    <a:pt x="67" y="17"/>
                    <a:pt x="69" y="18"/>
                  </a:cubicBezTo>
                  <a:cubicBezTo>
                    <a:pt x="74" y="21"/>
                    <a:pt x="79" y="27"/>
                    <a:pt x="84" y="36"/>
                  </a:cubicBezTo>
                  <a:cubicBezTo>
                    <a:pt x="91" y="50"/>
                    <a:pt x="98" y="69"/>
                    <a:pt x="102" y="93"/>
                  </a:cubicBezTo>
                  <a:cubicBezTo>
                    <a:pt x="107" y="117"/>
                    <a:pt x="109" y="145"/>
                    <a:pt x="109" y="175"/>
                  </a:cubicBezTo>
                  <a:cubicBezTo>
                    <a:pt x="117" y="175"/>
                    <a:pt x="117" y="175"/>
                    <a:pt x="117" y="175"/>
                  </a:cubicBezTo>
                  <a:cubicBezTo>
                    <a:pt x="125" y="175"/>
                    <a:pt x="125" y="175"/>
                    <a:pt x="125" y="175"/>
                  </a:cubicBezTo>
                  <a:cubicBezTo>
                    <a:pt x="125" y="128"/>
                    <a:pt x="119" y="86"/>
                    <a:pt x="109" y="54"/>
                  </a:cubicBezTo>
                  <a:cubicBezTo>
                    <a:pt x="104" y="39"/>
                    <a:pt x="98" y="26"/>
                    <a:pt x="90" y="16"/>
                  </a:cubicBezTo>
                  <a:cubicBezTo>
                    <a:pt x="87" y="12"/>
                    <a:pt x="82" y="8"/>
                    <a:pt x="78" y="5"/>
                  </a:cubicBezTo>
                  <a:cubicBezTo>
                    <a:pt x="73" y="2"/>
                    <a:pt x="68" y="0"/>
                    <a:pt x="63" y="0"/>
                  </a:cubicBezTo>
                  <a:cubicBezTo>
                    <a:pt x="57" y="0"/>
                    <a:pt x="52" y="2"/>
                    <a:pt x="47" y="5"/>
                  </a:cubicBezTo>
                  <a:cubicBezTo>
                    <a:pt x="39" y="10"/>
                    <a:pt x="33" y="18"/>
                    <a:pt x="27" y="28"/>
                  </a:cubicBezTo>
                  <a:cubicBezTo>
                    <a:pt x="19" y="44"/>
                    <a:pt x="12" y="65"/>
                    <a:pt x="7" y="90"/>
                  </a:cubicBezTo>
                  <a:cubicBezTo>
                    <a:pt x="3" y="115"/>
                    <a:pt x="0" y="144"/>
                    <a:pt x="0" y="175"/>
                  </a:cubicBezTo>
                  <a:cubicBezTo>
                    <a:pt x="0" y="222"/>
                    <a:pt x="6" y="264"/>
                    <a:pt x="16" y="296"/>
                  </a:cubicBezTo>
                  <a:cubicBezTo>
                    <a:pt x="22" y="311"/>
                    <a:pt x="28" y="324"/>
                    <a:pt x="35" y="334"/>
                  </a:cubicBezTo>
                  <a:cubicBezTo>
                    <a:pt x="39" y="339"/>
                    <a:pt x="43" y="342"/>
                    <a:pt x="47" y="345"/>
                  </a:cubicBezTo>
                  <a:cubicBezTo>
                    <a:pt x="52" y="348"/>
                    <a:pt x="57" y="350"/>
                    <a:pt x="63" y="350"/>
                  </a:cubicBezTo>
                  <a:cubicBezTo>
                    <a:pt x="68" y="350"/>
                    <a:pt x="73" y="348"/>
                    <a:pt x="78" y="345"/>
                  </a:cubicBezTo>
                  <a:cubicBezTo>
                    <a:pt x="86" y="340"/>
                    <a:pt x="92" y="332"/>
                    <a:pt x="98" y="322"/>
                  </a:cubicBezTo>
                  <a:cubicBezTo>
                    <a:pt x="107" y="306"/>
                    <a:pt x="113" y="285"/>
                    <a:pt x="118" y="260"/>
                  </a:cubicBezTo>
                  <a:cubicBezTo>
                    <a:pt x="123" y="235"/>
                    <a:pt x="125" y="206"/>
                    <a:pt x="125" y="175"/>
                  </a:cubicBezTo>
                  <a:lnTo>
                    <a:pt x="117" y="17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7" name="Freeform 35"/>
            <p:cNvSpPr>
              <a:spLocks noEditPoints="1"/>
            </p:cNvSpPr>
            <p:nvPr userDrawn="1"/>
          </p:nvSpPr>
          <p:spPr bwMode="auto">
            <a:xfrm>
              <a:off x="4110038" y="4905375"/>
              <a:ext cx="428625" cy="849313"/>
            </a:xfrm>
            <a:custGeom>
              <a:avLst/>
              <a:gdLst>
                <a:gd name="T0" fmla="*/ 138 w 193"/>
                <a:gd name="T1" fmla="*/ 103 h 382"/>
                <a:gd name="T2" fmla="*/ 116 w 193"/>
                <a:gd name="T3" fmla="*/ 184 h 382"/>
                <a:gd name="T4" fmla="*/ 155 w 193"/>
                <a:gd name="T5" fmla="*/ 288 h 382"/>
                <a:gd name="T6" fmla="*/ 138 w 193"/>
                <a:gd name="T7" fmla="*/ 162 h 382"/>
                <a:gd name="T8" fmla="*/ 138 w 193"/>
                <a:gd name="T9" fmla="*/ 103 h 382"/>
                <a:gd name="T10" fmla="*/ 138 w 193"/>
                <a:gd name="T11" fmla="*/ 0 h 382"/>
                <a:gd name="T12" fmla="*/ 0 w 193"/>
                <a:gd name="T13" fmla="*/ 0 h 382"/>
                <a:gd name="T14" fmla="*/ 0 w 193"/>
                <a:gd name="T15" fmla="*/ 120 h 382"/>
                <a:gd name="T16" fmla="*/ 133 w 193"/>
                <a:gd name="T17" fmla="*/ 355 h 382"/>
                <a:gd name="T18" fmla="*/ 193 w 193"/>
                <a:gd name="T19" fmla="*/ 382 h 382"/>
                <a:gd name="T20" fmla="*/ 165 w 193"/>
                <a:gd name="T21" fmla="*/ 320 h 382"/>
                <a:gd name="T22" fmla="*/ 100 w 193"/>
                <a:gd name="T23" fmla="*/ 184 h 382"/>
                <a:gd name="T24" fmla="*/ 138 w 193"/>
                <a:gd name="T25" fmla="*/ 75 h 382"/>
                <a:gd name="T26" fmla="*/ 138 w 193"/>
                <a:gd name="T27"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82">
                  <a:moveTo>
                    <a:pt x="138" y="103"/>
                  </a:moveTo>
                  <a:cubicBezTo>
                    <a:pt x="124" y="127"/>
                    <a:pt x="116" y="154"/>
                    <a:pt x="116" y="184"/>
                  </a:cubicBezTo>
                  <a:cubicBezTo>
                    <a:pt x="116" y="224"/>
                    <a:pt x="130" y="260"/>
                    <a:pt x="155" y="288"/>
                  </a:cubicBezTo>
                  <a:cubicBezTo>
                    <a:pt x="144" y="249"/>
                    <a:pt x="138" y="206"/>
                    <a:pt x="138" y="162"/>
                  </a:cubicBezTo>
                  <a:cubicBezTo>
                    <a:pt x="138" y="103"/>
                    <a:pt x="138" y="103"/>
                    <a:pt x="138" y="103"/>
                  </a:cubicBezTo>
                  <a:moveTo>
                    <a:pt x="138" y="0"/>
                  </a:moveTo>
                  <a:cubicBezTo>
                    <a:pt x="0" y="0"/>
                    <a:pt x="0" y="0"/>
                    <a:pt x="0" y="0"/>
                  </a:cubicBezTo>
                  <a:cubicBezTo>
                    <a:pt x="0" y="120"/>
                    <a:pt x="0" y="120"/>
                    <a:pt x="0" y="120"/>
                  </a:cubicBezTo>
                  <a:cubicBezTo>
                    <a:pt x="0" y="220"/>
                    <a:pt x="54" y="307"/>
                    <a:pt x="133" y="355"/>
                  </a:cubicBezTo>
                  <a:cubicBezTo>
                    <a:pt x="152" y="366"/>
                    <a:pt x="172" y="375"/>
                    <a:pt x="193" y="382"/>
                  </a:cubicBezTo>
                  <a:cubicBezTo>
                    <a:pt x="182" y="363"/>
                    <a:pt x="173" y="342"/>
                    <a:pt x="165" y="320"/>
                  </a:cubicBezTo>
                  <a:cubicBezTo>
                    <a:pt x="125" y="288"/>
                    <a:pt x="100" y="239"/>
                    <a:pt x="100" y="184"/>
                  </a:cubicBezTo>
                  <a:cubicBezTo>
                    <a:pt x="100" y="143"/>
                    <a:pt x="114" y="105"/>
                    <a:pt x="138" y="75"/>
                  </a:cubicBezTo>
                  <a:cubicBezTo>
                    <a:pt x="138" y="0"/>
                    <a:pt x="138" y="0"/>
                    <a:pt x="138" y="0"/>
                  </a:cubicBezTo>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8" name="Freeform 36"/>
            <p:cNvSpPr>
              <a:spLocks/>
            </p:cNvSpPr>
            <p:nvPr userDrawn="1"/>
          </p:nvSpPr>
          <p:spPr bwMode="auto">
            <a:xfrm>
              <a:off x="4332288" y="5072063"/>
              <a:ext cx="144462" cy="544513"/>
            </a:xfrm>
            <a:custGeom>
              <a:avLst/>
              <a:gdLst>
                <a:gd name="T0" fmla="*/ 38 w 65"/>
                <a:gd name="T1" fmla="*/ 0 h 245"/>
                <a:gd name="T2" fmla="*/ 0 w 65"/>
                <a:gd name="T3" fmla="*/ 109 h 245"/>
                <a:gd name="T4" fmla="*/ 65 w 65"/>
                <a:gd name="T5" fmla="*/ 245 h 245"/>
                <a:gd name="T6" fmla="*/ 55 w 65"/>
                <a:gd name="T7" fmla="*/ 213 h 245"/>
                <a:gd name="T8" fmla="*/ 16 w 65"/>
                <a:gd name="T9" fmla="*/ 109 h 245"/>
                <a:gd name="T10" fmla="*/ 38 w 65"/>
                <a:gd name="T11" fmla="*/ 28 h 245"/>
                <a:gd name="T12" fmla="*/ 38 w 65"/>
                <a:gd name="T13" fmla="*/ 0 h 245"/>
              </a:gdLst>
              <a:ahLst/>
              <a:cxnLst>
                <a:cxn ang="0">
                  <a:pos x="T0" y="T1"/>
                </a:cxn>
                <a:cxn ang="0">
                  <a:pos x="T2" y="T3"/>
                </a:cxn>
                <a:cxn ang="0">
                  <a:pos x="T4" y="T5"/>
                </a:cxn>
                <a:cxn ang="0">
                  <a:pos x="T6" y="T7"/>
                </a:cxn>
                <a:cxn ang="0">
                  <a:pos x="T8" y="T9"/>
                </a:cxn>
                <a:cxn ang="0">
                  <a:pos x="T10" y="T11"/>
                </a:cxn>
                <a:cxn ang="0">
                  <a:pos x="T12" y="T13"/>
                </a:cxn>
              </a:cxnLst>
              <a:rect l="0" t="0" r="r" b="b"/>
              <a:pathLst>
                <a:path w="65" h="245">
                  <a:moveTo>
                    <a:pt x="38" y="0"/>
                  </a:moveTo>
                  <a:cubicBezTo>
                    <a:pt x="14" y="30"/>
                    <a:pt x="0" y="68"/>
                    <a:pt x="0" y="109"/>
                  </a:cubicBezTo>
                  <a:cubicBezTo>
                    <a:pt x="0" y="164"/>
                    <a:pt x="25" y="213"/>
                    <a:pt x="65" y="245"/>
                  </a:cubicBezTo>
                  <a:cubicBezTo>
                    <a:pt x="61" y="235"/>
                    <a:pt x="58" y="224"/>
                    <a:pt x="55" y="213"/>
                  </a:cubicBezTo>
                  <a:cubicBezTo>
                    <a:pt x="30" y="185"/>
                    <a:pt x="16" y="149"/>
                    <a:pt x="16" y="109"/>
                  </a:cubicBezTo>
                  <a:cubicBezTo>
                    <a:pt x="16" y="79"/>
                    <a:pt x="24" y="52"/>
                    <a:pt x="38" y="28"/>
                  </a:cubicBezTo>
                  <a:cubicBezTo>
                    <a:pt x="38" y="0"/>
                    <a:pt x="38" y="0"/>
                    <a:pt x="38" y="0"/>
                  </a:cubicBezTo>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39" name="Freeform 37"/>
            <p:cNvSpPr>
              <a:spLocks/>
            </p:cNvSpPr>
            <p:nvPr userDrawn="1"/>
          </p:nvSpPr>
          <p:spPr bwMode="auto">
            <a:xfrm>
              <a:off x="4087813" y="4879975"/>
              <a:ext cx="1266825" cy="26988"/>
            </a:xfrm>
            <a:custGeom>
              <a:avLst/>
              <a:gdLst>
                <a:gd name="T0" fmla="*/ 564 w 570"/>
                <a:gd name="T1" fmla="*/ 0 h 12"/>
                <a:gd name="T2" fmla="*/ 563 w 570"/>
                <a:gd name="T3" fmla="*/ 0 h 12"/>
                <a:gd name="T4" fmla="*/ 6 w 570"/>
                <a:gd name="T5" fmla="*/ 0 h 12"/>
                <a:gd name="T6" fmla="*/ 5 w 570"/>
                <a:gd name="T7" fmla="*/ 0 h 12"/>
                <a:gd name="T8" fmla="*/ 0 w 570"/>
                <a:gd name="T9" fmla="*/ 6 h 12"/>
                <a:gd name="T10" fmla="*/ 5 w 570"/>
                <a:gd name="T11" fmla="*/ 12 h 12"/>
                <a:gd name="T12" fmla="*/ 6 w 570"/>
                <a:gd name="T13" fmla="*/ 11 h 12"/>
                <a:gd name="T14" fmla="*/ 563 w 570"/>
                <a:gd name="T15" fmla="*/ 11 h 12"/>
                <a:gd name="T16" fmla="*/ 564 w 570"/>
                <a:gd name="T17" fmla="*/ 12 h 12"/>
                <a:gd name="T18" fmla="*/ 570 w 570"/>
                <a:gd name="T19" fmla="*/ 6 h 12"/>
                <a:gd name="T20" fmla="*/ 564 w 570"/>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0" h="12">
                  <a:moveTo>
                    <a:pt x="564" y="0"/>
                  </a:moveTo>
                  <a:cubicBezTo>
                    <a:pt x="563" y="0"/>
                    <a:pt x="563" y="0"/>
                    <a:pt x="563" y="0"/>
                  </a:cubicBezTo>
                  <a:cubicBezTo>
                    <a:pt x="6" y="0"/>
                    <a:pt x="6" y="0"/>
                    <a:pt x="6" y="0"/>
                  </a:cubicBezTo>
                  <a:cubicBezTo>
                    <a:pt x="5" y="0"/>
                    <a:pt x="5" y="0"/>
                    <a:pt x="5" y="0"/>
                  </a:cubicBezTo>
                  <a:cubicBezTo>
                    <a:pt x="2" y="0"/>
                    <a:pt x="0" y="3"/>
                    <a:pt x="0" y="6"/>
                  </a:cubicBezTo>
                  <a:cubicBezTo>
                    <a:pt x="0" y="9"/>
                    <a:pt x="2" y="12"/>
                    <a:pt x="5" y="12"/>
                  </a:cubicBezTo>
                  <a:cubicBezTo>
                    <a:pt x="6" y="11"/>
                    <a:pt x="6" y="11"/>
                    <a:pt x="6" y="11"/>
                  </a:cubicBezTo>
                  <a:cubicBezTo>
                    <a:pt x="563" y="11"/>
                    <a:pt x="563" y="11"/>
                    <a:pt x="563" y="11"/>
                  </a:cubicBezTo>
                  <a:cubicBezTo>
                    <a:pt x="564" y="12"/>
                    <a:pt x="564" y="12"/>
                    <a:pt x="564" y="12"/>
                  </a:cubicBezTo>
                  <a:cubicBezTo>
                    <a:pt x="567" y="12"/>
                    <a:pt x="570" y="9"/>
                    <a:pt x="570" y="6"/>
                  </a:cubicBezTo>
                  <a:cubicBezTo>
                    <a:pt x="570" y="3"/>
                    <a:pt x="567" y="0"/>
                    <a:pt x="564"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0" name="Rectangle 38"/>
            <p:cNvSpPr>
              <a:spLocks noChangeArrowheads="1"/>
            </p:cNvSpPr>
            <p:nvPr userDrawn="1"/>
          </p:nvSpPr>
          <p:spPr bwMode="auto">
            <a:xfrm>
              <a:off x="4673600" y="4578350"/>
              <a:ext cx="92075" cy="3683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1" name="Rectangle 39"/>
            <p:cNvSpPr>
              <a:spLocks noChangeArrowheads="1"/>
            </p:cNvSpPr>
            <p:nvPr userDrawn="1"/>
          </p:nvSpPr>
          <p:spPr bwMode="auto">
            <a:xfrm>
              <a:off x="4673600" y="4578350"/>
              <a:ext cx="92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2" name="Freeform 40"/>
            <p:cNvSpPr>
              <a:spLocks/>
            </p:cNvSpPr>
            <p:nvPr userDrawn="1"/>
          </p:nvSpPr>
          <p:spPr bwMode="auto">
            <a:xfrm>
              <a:off x="4673600" y="4879975"/>
              <a:ext cx="92075" cy="26988"/>
            </a:xfrm>
            <a:custGeom>
              <a:avLst/>
              <a:gdLst>
                <a:gd name="T0" fmla="*/ 58 w 58"/>
                <a:gd name="T1" fmla="*/ 0 h 17"/>
                <a:gd name="T2" fmla="*/ 0 w 58"/>
                <a:gd name="T3" fmla="*/ 0 h 17"/>
                <a:gd name="T4" fmla="*/ 0 w 58"/>
                <a:gd name="T5" fmla="*/ 17 h 17"/>
                <a:gd name="T6" fmla="*/ 58 w 58"/>
                <a:gd name="T7" fmla="*/ 17 h 17"/>
                <a:gd name="T8" fmla="*/ 58 w 58"/>
                <a:gd name="T9" fmla="*/ 16 h 17"/>
                <a:gd name="T10" fmla="*/ 58 w 58"/>
                <a:gd name="T11" fmla="*/ 0 h 17"/>
                <a:gd name="T12" fmla="*/ 58 w 5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58" h="17">
                  <a:moveTo>
                    <a:pt x="58" y="0"/>
                  </a:moveTo>
                  <a:lnTo>
                    <a:pt x="0" y="0"/>
                  </a:lnTo>
                  <a:lnTo>
                    <a:pt x="0" y="17"/>
                  </a:lnTo>
                  <a:lnTo>
                    <a:pt x="58" y="17"/>
                  </a:lnTo>
                  <a:lnTo>
                    <a:pt x="58" y="16"/>
                  </a:lnTo>
                  <a:lnTo>
                    <a:pt x="58" y="0"/>
                  </a:lnTo>
                  <a:lnTo>
                    <a:pt x="58" y="0"/>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3" name="Freeform 41"/>
            <p:cNvSpPr>
              <a:spLocks/>
            </p:cNvSpPr>
            <p:nvPr userDrawn="1"/>
          </p:nvSpPr>
          <p:spPr bwMode="auto">
            <a:xfrm>
              <a:off x="4673600" y="4879975"/>
              <a:ext cx="92075" cy="26988"/>
            </a:xfrm>
            <a:custGeom>
              <a:avLst/>
              <a:gdLst>
                <a:gd name="T0" fmla="*/ 58 w 58"/>
                <a:gd name="T1" fmla="*/ 0 h 17"/>
                <a:gd name="T2" fmla="*/ 0 w 58"/>
                <a:gd name="T3" fmla="*/ 0 h 17"/>
                <a:gd name="T4" fmla="*/ 0 w 58"/>
                <a:gd name="T5" fmla="*/ 17 h 17"/>
                <a:gd name="T6" fmla="*/ 58 w 58"/>
                <a:gd name="T7" fmla="*/ 17 h 17"/>
                <a:gd name="T8" fmla="*/ 58 w 58"/>
                <a:gd name="T9" fmla="*/ 16 h 17"/>
                <a:gd name="T10" fmla="*/ 58 w 58"/>
                <a:gd name="T11" fmla="*/ 0 h 17"/>
                <a:gd name="T12" fmla="*/ 58 w 5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58" h="17">
                  <a:moveTo>
                    <a:pt x="58" y="0"/>
                  </a:moveTo>
                  <a:lnTo>
                    <a:pt x="0" y="0"/>
                  </a:lnTo>
                  <a:lnTo>
                    <a:pt x="0" y="17"/>
                  </a:lnTo>
                  <a:lnTo>
                    <a:pt x="58" y="17"/>
                  </a:lnTo>
                  <a:lnTo>
                    <a:pt x="58" y="16"/>
                  </a:lnTo>
                  <a:lnTo>
                    <a:pt x="58" y="0"/>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4" name="Oval 42"/>
            <p:cNvSpPr>
              <a:spLocks noChangeArrowheads="1"/>
            </p:cNvSpPr>
            <p:nvPr userDrawn="1"/>
          </p:nvSpPr>
          <p:spPr bwMode="auto">
            <a:xfrm>
              <a:off x="4967288" y="4391025"/>
              <a:ext cx="87312" cy="873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sp>
          <p:nvSpPr>
            <p:cNvPr id="45" name="Oval 43"/>
            <p:cNvSpPr>
              <a:spLocks noChangeArrowheads="1"/>
            </p:cNvSpPr>
            <p:nvPr userDrawn="1"/>
          </p:nvSpPr>
          <p:spPr bwMode="auto">
            <a:xfrm>
              <a:off x="4387850" y="4391025"/>
              <a:ext cx="85725" cy="873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defRPr/>
              </a:pPr>
              <a:endParaRPr lang="en-IN" sz="1800">
                <a:solidFill>
                  <a:srgbClr val="FFFFFF"/>
                </a:solidFill>
              </a:endParaRPr>
            </a:p>
          </p:txBody>
        </p:sp>
      </p:grpSp>
    </p:spTree>
    <p:extLst>
      <p:ext uri="{BB962C8B-B14F-4D97-AF65-F5344CB8AC3E}">
        <p14:creationId xmlns:p14="http://schemas.microsoft.com/office/powerpoint/2010/main" val="67296343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47845594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37102564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43123352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54203618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 name="Object 3"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1pPr>
            <a:lvl2pPr marL="34648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2pPr>
            <a:lvl3pPr marL="584494"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3pPr>
            <a:lvl4pPr marL="81440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4pPr>
            <a:lvl5pPr marL="1050795"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44134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 name="Object 3"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defRPr/>
            </a:pPr>
            <a:r>
              <a:rPr lang="en-US" sz="700">
                <a:solidFill>
                  <a:srgbClr val="FFFFFF"/>
                </a:solidFill>
                <a:cs typeface="Segoe UI" pitchFamily="34" charset="0"/>
              </a:rPr>
              <a:t>© 2015 Microsoft Corporation. All rights reserved. </a:t>
            </a:r>
          </a:p>
        </p:txBody>
      </p:sp>
      <p:pic>
        <p:nvPicPr>
          <p:cNvPr id="3" name="Picture 2"/>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70165640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934" y="2184652"/>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9825" y="347054"/>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415" y="1677697"/>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436425" y="2184652"/>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6" y="1677697"/>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13659235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userDrawn="1">
          <p15:clr>
            <a:srgbClr val="FBAE40"/>
          </p15:clr>
        </p15:guide>
        <p15:guide id="2" pos="2570" userDrawn="1">
          <p15:clr>
            <a:srgbClr val="FBAE40"/>
          </p15:clr>
        </p15:guide>
        <p15:guide id="3" pos="2864" userDrawn="1">
          <p15:clr>
            <a:srgbClr val="FBAE40"/>
          </p15:clr>
        </p15:guide>
        <p15:guide id="4" pos="5264"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866516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descr="Microsoft logo white text version"/>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black">
          <a:xfrm>
            <a:off x="460690" y="479425"/>
            <a:ext cx="1451843" cy="310896"/>
          </a:xfrm>
          <a:prstGeom prst="rect">
            <a:avLst/>
          </a:prstGeom>
        </p:spPr>
      </p:pic>
    </p:spTree>
    <p:extLst>
      <p:ext uri="{BB962C8B-B14F-4D97-AF65-F5344CB8AC3E}">
        <p14:creationId xmlns:p14="http://schemas.microsoft.com/office/powerpoint/2010/main" val="175087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2"/>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04B62CC-F3F8-49A4-9360-4CAED36263C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 y="0"/>
            <a:ext cx="12442693" cy="7010462"/>
          </a:xfrm>
          <a:prstGeom prst="rect">
            <a:avLst/>
          </a:prstGeom>
        </p:spPr>
      </p:pic>
      <p:pic>
        <p:nvPicPr>
          <p:cNvPr id="15" name="logo2.png" descr="Microsoft logo white text version">
            <a:extLst>
              <a:ext uri="{FF2B5EF4-FFF2-40B4-BE49-F238E27FC236}">
                <a16:creationId xmlns:a16="http://schemas.microsoft.com/office/drawing/2014/main" id="{B890FFA7-3A8B-434C-A7FF-E48D67BA31B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4896">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7" name="Text Placeholder 18">
            <a:extLst>
              <a:ext uri="{FF2B5EF4-FFF2-40B4-BE49-F238E27FC236}">
                <a16:creationId xmlns:a16="http://schemas.microsoft.com/office/drawing/2014/main" id="{64FE65B8-E9AC-49ED-A487-E114C793B81B}"/>
              </a:ext>
            </a:extLst>
          </p:cNvPr>
          <p:cNvSpPr>
            <a:spLocks noGrp="1"/>
          </p:cNvSpPr>
          <p:nvPr>
            <p:ph type="body" sz="quarter" idx="12" hasCustomPrompt="1"/>
          </p:nvPr>
        </p:nvSpPr>
        <p:spPr>
          <a:xfrm>
            <a:off x="638017" y="4164198"/>
            <a:ext cx="6552312" cy="357850"/>
          </a:xfrm>
        </p:spPr>
        <p:txBody>
          <a:bodyPr lIns="0"/>
          <a:lstStyle>
            <a:lvl1pPr marL="0" indent="0">
              <a:buNone/>
              <a:defRPr sz="1224" spc="306">
                <a:solidFill>
                  <a:schemeClr val="bg1"/>
                </a:solidFill>
                <a:latin typeface="+mn-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LOREM IPSUM</a:t>
            </a:r>
          </a:p>
        </p:txBody>
      </p:sp>
    </p:spTree>
    <p:extLst>
      <p:ext uri="{BB962C8B-B14F-4D97-AF65-F5344CB8AC3E}">
        <p14:creationId xmlns:p14="http://schemas.microsoft.com/office/powerpoint/2010/main" val="42129400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15" name="logo2.png" descr="Microsoft logo white text version">
            <a:extLst>
              <a:ext uri="{FF2B5EF4-FFF2-40B4-BE49-F238E27FC236}">
                <a16:creationId xmlns:a16="http://schemas.microsoft.com/office/drawing/2014/main" id="{B890FFA7-3A8B-434C-A7FF-E48D67BA31B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4896">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7" name="Text Placeholder 18">
            <a:extLst>
              <a:ext uri="{FF2B5EF4-FFF2-40B4-BE49-F238E27FC236}">
                <a16:creationId xmlns:a16="http://schemas.microsoft.com/office/drawing/2014/main" id="{3297221A-24DF-4562-B793-E0BDCFE44351}"/>
              </a:ext>
            </a:extLst>
          </p:cNvPr>
          <p:cNvSpPr>
            <a:spLocks noGrp="1"/>
          </p:cNvSpPr>
          <p:nvPr>
            <p:ph type="body" sz="quarter" idx="12" hasCustomPrompt="1"/>
          </p:nvPr>
        </p:nvSpPr>
        <p:spPr>
          <a:xfrm>
            <a:off x="638017" y="4164198"/>
            <a:ext cx="6552312" cy="357850"/>
          </a:xfrm>
        </p:spPr>
        <p:txBody>
          <a:bodyPr lIns="0"/>
          <a:lstStyle>
            <a:lvl1pPr marL="0" indent="0">
              <a:buNone/>
              <a:defRPr sz="1224" spc="306">
                <a:solidFill>
                  <a:schemeClr val="bg1"/>
                </a:solidFill>
                <a:latin typeface="+mn-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LOREM IPSUM</a:t>
            </a:r>
          </a:p>
        </p:txBody>
      </p:sp>
      <p:pic>
        <p:nvPicPr>
          <p:cNvPr id="2" name="Picture 1">
            <a:extLst>
              <a:ext uri="{FF2B5EF4-FFF2-40B4-BE49-F238E27FC236}">
                <a16:creationId xmlns:a16="http://schemas.microsoft.com/office/drawing/2014/main" id="{32F765E2-77AD-47FB-8BB4-66BE1C9F736C}"/>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245"/>
            <a:ext cx="12440245" cy="7009083"/>
          </a:xfrm>
          <a:prstGeom prst="rect">
            <a:avLst/>
          </a:prstGeom>
        </p:spPr>
      </p:pic>
    </p:spTree>
    <p:extLst>
      <p:ext uri="{BB962C8B-B14F-4D97-AF65-F5344CB8AC3E}">
        <p14:creationId xmlns:p14="http://schemas.microsoft.com/office/powerpoint/2010/main" val="45282528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accent5"/>
        </a:solidFill>
        <a:effectLst/>
      </p:bgPr>
    </p:bg>
    <p:spTree>
      <p:nvGrpSpPr>
        <p:cNvPr id="1" name=""/>
        <p:cNvGrpSpPr/>
        <p:nvPr/>
      </p:nvGrpSpPr>
      <p:grpSpPr>
        <a:xfrm>
          <a:off x="0" y="0"/>
          <a:ext cx="0" cy="0"/>
          <a:chOff x="0" y="0"/>
          <a:chExt cx="0" cy="0"/>
        </a:xfrm>
      </p:grpSpPr>
      <p:pic>
        <p:nvPicPr>
          <p:cNvPr id="15" name="logo2.png" descr="Microsoft logo white text version">
            <a:extLst>
              <a:ext uri="{FF2B5EF4-FFF2-40B4-BE49-F238E27FC236}">
                <a16:creationId xmlns:a16="http://schemas.microsoft.com/office/drawing/2014/main" id="{B890FFA7-3A8B-434C-A7FF-E48D67BA31B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4896">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pic>
        <p:nvPicPr>
          <p:cNvPr id="10" name="Picture 9">
            <a:extLst>
              <a:ext uri="{FF2B5EF4-FFF2-40B4-BE49-F238E27FC236}">
                <a16:creationId xmlns:a16="http://schemas.microsoft.com/office/drawing/2014/main" id="{C504255D-3686-4257-9AF6-1A76248EDE8E}"/>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837" y="0"/>
            <a:ext cx="12396801" cy="6994525"/>
          </a:xfrm>
          <a:prstGeom prst="rect">
            <a:avLst/>
          </a:prstGeom>
        </p:spPr>
      </p:pic>
    </p:spTree>
    <p:extLst>
      <p:ext uri="{BB962C8B-B14F-4D97-AF65-F5344CB8AC3E}">
        <p14:creationId xmlns:p14="http://schemas.microsoft.com/office/powerpoint/2010/main" val="45282528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accent3"/>
        </a:solidFill>
        <a:effectLst/>
      </p:bgPr>
    </p:bg>
    <p:spTree>
      <p:nvGrpSpPr>
        <p:cNvPr id="1" name=""/>
        <p:cNvGrpSpPr/>
        <p:nvPr/>
      </p:nvGrpSpPr>
      <p:grpSpPr>
        <a:xfrm>
          <a:off x="0" y="0"/>
          <a:ext cx="0" cy="0"/>
          <a:chOff x="0" y="0"/>
          <a:chExt cx="0" cy="0"/>
        </a:xfrm>
      </p:grpSpPr>
      <p:pic>
        <p:nvPicPr>
          <p:cNvPr id="15" name="logo2.png" descr="Microsoft logo white text version">
            <a:extLst>
              <a:ext uri="{FF2B5EF4-FFF2-40B4-BE49-F238E27FC236}">
                <a16:creationId xmlns:a16="http://schemas.microsoft.com/office/drawing/2014/main" id="{B890FFA7-3A8B-434C-A7FF-E48D67BA31B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4896">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7" name="Text Placeholder 18">
            <a:extLst>
              <a:ext uri="{FF2B5EF4-FFF2-40B4-BE49-F238E27FC236}">
                <a16:creationId xmlns:a16="http://schemas.microsoft.com/office/drawing/2014/main" id="{3297221A-24DF-4562-B793-E0BDCFE44351}"/>
              </a:ext>
            </a:extLst>
          </p:cNvPr>
          <p:cNvSpPr>
            <a:spLocks noGrp="1"/>
          </p:cNvSpPr>
          <p:nvPr>
            <p:ph type="body" sz="quarter" idx="12" hasCustomPrompt="1"/>
          </p:nvPr>
        </p:nvSpPr>
        <p:spPr>
          <a:xfrm>
            <a:off x="638017" y="4164198"/>
            <a:ext cx="6552312" cy="357850"/>
          </a:xfrm>
        </p:spPr>
        <p:txBody>
          <a:bodyPr lIns="0"/>
          <a:lstStyle>
            <a:lvl1pPr marL="0" indent="0">
              <a:buNone/>
              <a:defRPr sz="1224" spc="306">
                <a:solidFill>
                  <a:schemeClr val="bg1"/>
                </a:solidFill>
                <a:latin typeface="+mn-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LOREM IPSUM</a:t>
            </a:r>
          </a:p>
        </p:txBody>
      </p:sp>
      <p:pic>
        <p:nvPicPr>
          <p:cNvPr id="7" name="Picture 6">
            <a:extLst>
              <a:ext uri="{FF2B5EF4-FFF2-40B4-BE49-F238E27FC236}">
                <a16:creationId xmlns:a16="http://schemas.microsoft.com/office/drawing/2014/main" id="{64B94D36-EA41-4AB2-A674-56C3AB6E78D1}"/>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5937"/>
            <a:ext cx="12442693" cy="7010462"/>
          </a:xfrm>
          <a:prstGeom prst="rect">
            <a:avLst/>
          </a:prstGeom>
        </p:spPr>
      </p:pic>
    </p:spTree>
    <p:extLst>
      <p:ext uri="{BB962C8B-B14F-4D97-AF65-F5344CB8AC3E}">
        <p14:creationId xmlns:p14="http://schemas.microsoft.com/office/powerpoint/2010/main" val="244078936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17" name="logo 1.png" descr="Microsoft logo grey text version ">
            <a:extLst>
              <a:ext uri="{FF2B5EF4-FFF2-40B4-BE49-F238E27FC236}">
                <a16:creationId xmlns:a16="http://schemas.microsoft.com/office/drawing/2014/main" id="{2F4161FC-9D82-45AA-B7E0-0F063EA5B2E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38034" y="658818"/>
            <a:ext cx="1513319" cy="322593"/>
          </a:xfrm>
          <a:prstGeom prst="rect">
            <a:avLst/>
          </a:prstGeom>
          <a:ln w="12700">
            <a:miter lim="400000"/>
          </a:ln>
        </p:spPr>
      </p:pic>
      <p:sp>
        <p:nvSpPr>
          <p:cNvPr id="20" name="Text Placeholder 18">
            <a:extLst>
              <a:ext uri="{FF2B5EF4-FFF2-40B4-BE49-F238E27FC236}">
                <a16:creationId xmlns:a16="http://schemas.microsoft.com/office/drawing/2014/main" id="{80D5E324-BA4F-4919-B622-311031E22A3A}"/>
              </a:ext>
            </a:extLst>
          </p:cNvPr>
          <p:cNvSpPr>
            <a:spLocks noGrp="1"/>
          </p:cNvSpPr>
          <p:nvPr>
            <p:ph type="body" sz="quarter" idx="10"/>
          </p:nvPr>
        </p:nvSpPr>
        <p:spPr>
          <a:xfrm>
            <a:off x="638017" y="2404368"/>
            <a:ext cx="6552312" cy="1600908"/>
          </a:xfrm>
        </p:spPr>
        <p:txBody>
          <a:bodyPr lIns="0"/>
          <a:lstStyle>
            <a:lvl1pPr marL="0" indent="0">
              <a:buNone/>
              <a:defRPr sz="4896">
                <a:solidFill>
                  <a:schemeClr val="accent5"/>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3" name="Text Placeholder 21">
            <a:extLst>
              <a:ext uri="{FF2B5EF4-FFF2-40B4-BE49-F238E27FC236}">
                <a16:creationId xmlns:a16="http://schemas.microsoft.com/office/drawing/2014/main" id="{FBE83940-F345-4D5F-935F-8E438EB0910B}"/>
              </a:ext>
            </a:extLst>
          </p:cNvPr>
          <p:cNvSpPr>
            <a:spLocks noGrp="1"/>
          </p:cNvSpPr>
          <p:nvPr>
            <p:ph type="body" sz="quarter" idx="11" hasCustomPrompt="1"/>
          </p:nvPr>
        </p:nvSpPr>
        <p:spPr>
          <a:xfrm>
            <a:off x="658093" y="4199105"/>
            <a:ext cx="2966589" cy="237979"/>
          </a:xfrm>
        </p:spPr>
        <p:txBody>
          <a:bodyPr lIns="0" tIns="0" rIns="0" bIns="0"/>
          <a:lstStyle>
            <a:lvl1pPr marL="0" marR="0" indent="0" algn="l" defTabSz="932597" rtl="0" eaLnBrk="1" fontAlgn="auto" latinLnBrk="0" hangingPunct="1">
              <a:lnSpc>
                <a:spcPct val="140000"/>
              </a:lnSpc>
              <a:spcBef>
                <a:spcPts val="0"/>
              </a:spcBef>
              <a:spcAft>
                <a:spcPts val="0"/>
              </a:spcAft>
              <a:buClrTx/>
              <a:buSzTx/>
              <a:buFontTx/>
              <a:buNone/>
              <a:tabLst/>
              <a:defRPr sz="1428" cap="all" spc="357">
                <a:solidFill>
                  <a:srgbClr val="50E6FF"/>
                </a:solidFill>
                <a:latin typeface="Segoe UI"/>
                <a:cs typeface="Segoe UI"/>
                <a:sym typeface="Segoe UI"/>
              </a:defRPr>
            </a:lvl1pPr>
          </a:lstStyle>
          <a:p>
            <a:pPr marL="0" marR="0" lvl="0" indent="0" algn="l" defTabSz="932597" rtl="0" eaLnBrk="1" fontAlgn="auto" latinLnBrk="0" hangingPunct="1">
              <a:lnSpc>
                <a:spcPct val="140000"/>
              </a:lnSpc>
              <a:spcBef>
                <a:spcPts val="0"/>
              </a:spcBef>
              <a:spcAft>
                <a:spcPts val="0"/>
              </a:spcAft>
              <a:buClrTx/>
              <a:buSzTx/>
              <a:buFontTx/>
              <a:buNone/>
              <a:tabLst/>
              <a:defRPr sz="1400" cap="all" spc="350">
                <a:solidFill>
                  <a:srgbClr val="50E6FF"/>
                </a:solidFill>
                <a:latin typeface="Segoe UI"/>
                <a:ea typeface="Segoe UI"/>
                <a:cs typeface="Segoe UI"/>
                <a:sym typeface="Segoe UI"/>
              </a:defRPr>
            </a:pPr>
            <a:r>
              <a:rPr kumimoji="0" lang="en-US" sz="1224" b="0" i="0" u="none" strike="noStrike" kern="1200" cap="all" spc="357" normalizeH="0" baseline="0" noProof="0">
                <a:ln>
                  <a:noFill/>
                </a:ln>
                <a:solidFill>
                  <a:srgbClr val="0078D7"/>
                </a:solidFill>
                <a:effectLst/>
                <a:uLnTx/>
                <a:uFillTx/>
                <a:latin typeface="Segoe UI"/>
                <a:cs typeface="Segoe UI"/>
                <a:sym typeface="Segoe UI"/>
              </a:rPr>
              <a:t>LOREM IPSUM</a:t>
            </a:r>
          </a:p>
        </p:txBody>
      </p:sp>
      <p:pic>
        <p:nvPicPr>
          <p:cNvPr id="2" name="Picture 1">
            <a:extLst>
              <a:ext uri="{FF2B5EF4-FFF2-40B4-BE49-F238E27FC236}">
                <a16:creationId xmlns:a16="http://schemas.microsoft.com/office/drawing/2014/main" id="{E68BE55B-A87E-4654-9768-37E829D4EC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9" y="-2566"/>
            <a:ext cx="12501914" cy="6997091"/>
          </a:xfrm>
          <a:prstGeom prst="rect">
            <a:avLst/>
          </a:prstGeom>
        </p:spPr>
      </p:pic>
    </p:spTree>
    <p:extLst>
      <p:ext uri="{BB962C8B-B14F-4D97-AF65-F5344CB8AC3E}">
        <p14:creationId xmlns:p14="http://schemas.microsoft.com/office/powerpoint/2010/main" val="36430350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1889564" cy="917575"/>
          </a:xfrm>
        </p:spPr>
        <p:txBody>
          <a:bodyPr/>
          <a:lstStyle>
            <a:lvl1pPr>
              <a:defRPr sz="4488">
                <a:latin typeface="+mn-lt"/>
              </a:defRPr>
            </a:lvl1pPr>
          </a:lstStyle>
          <a:p>
            <a:r>
              <a:rPr lang="en-US"/>
              <a:t>Click to edit Master title style</a:t>
            </a:r>
          </a:p>
        </p:txBody>
      </p:sp>
      <p:sp>
        <p:nvSpPr>
          <p:cNvPr id="4" name="Text Placeholder 3"/>
          <p:cNvSpPr>
            <a:spLocks noGrp="1"/>
          </p:cNvSpPr>
          <p:nvPr>
            <p:ph type="body" sz="quarter" idx="10"/>
          </p:nvPr>
        </p:nvSpPr>
        <p:spPr>
          <a:xfrm>
            <a:off x="155456" y="930899"/>
            <a:ext cx="12125563" cy="2117673"/>
          </a:xfrm>
        </p:spPr>
        <p:txBody>
          <a:bodyPr>
            <a:spAutoFit/>
          </a:bodyPr>
          <a:lstStyle>
            <a:lvl1pPr marL="0" indent="0">
              <a:buNone/>
              <a:defRPr sz="3264"/>
            </a:lvl1pPr>
            <a:lvl2pPr marL="228513" indent="0">
              <a:buNone/>
              <a:defRPr sz="2448"/>
            </a:lvl2pPr>
            <a:lvl3pPr marL="457024" indent="0">
              <a:buNone/>
              <a:defRPr sz="2040"/>
            </a:lvl3pPr>
            <a:lvl4pPr marL="685537" indent="0">
              <a:buNone/>
              <a:defRPr sz="2040"/>
            </a:lvl4pPr>
            <a:lvl5pPr marL="914049"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18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1889564" cy="917575"/>
          </a:xfrm>
        </p:spPr>
        <p:txBody>
          <a:bodyPr/>
          <a:lstStyle>
            <a:lvl1pPr>
              <a:defRPr sz="4488">
                <a:latin typeface="+mn-lt"/>
              </a:defRPr>
            </a:lvl1pPr>
          </a:lstStyle>
          <a:p>
            <a:r>
              <a:rPr lang="en-US"/>
              <a:t>Click to edit Master title style</a:t>
            </a:r>
          </a:p>
        </p:txBody>
      </p:sp>
      <p:sp>
        <p:nvSpPr>
          <p:cNvPr id="4" name="Text Placeholder 3"/>
          <p:cNvSpPr>
            <a:spLocks noGrp="1"/>
          </p:cNvSpPr>
          <p:nvPr>
            <p:ph type="body" sz="quarter" idx="10"/>
          </p:nvPr>
        </p:nvSpPr>
        <p:spPr>
          <a:xfrm>
            <a:off x="155456" y="930899"/>
            <a:ext cx="12125563" cy="2117673"/>
          </a:xfrm>
        </p:spPr>
        <p:txBody>
          <a:bodyPr>
            <a:spAutoFit/>
          </a:bodyPr>
          <a:lstStyle>
            <a:lvl1pPr marL="0" indent="0">
              <a:buNone/>
              <a:defRPr sz="3264"/>
            </a:lvl1pPr>
            <a:lvl2pPr marL="228513" indent="0">
              <a:buNone/>
              <a:defRPr sz="2448"/>
            </a:lvl2pPr>
            <a:lvl3pPr marL="457024" indent="0">
              <a:buNone/>
              <a:defRPr sz="2040"/>
            </a:lvl3pPr>
            <a:lvl4pPr marL="685537" indent="0">
              <a:buNone/>
              <a:defRPr sz="2040"/>
            </a:lvl4pPr>
            <a:lvl5pPr marL="914049"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C3F0D74B-E66A-49A6-B4C7-B1C98AF12AA0}"/>
              </a:ext>
            </a:extLst>
          </p:cNvPr>
          <p:cNvSpPr txBox="1">
            <a:spLocks/>
          </p:cNvSpPr>
          <p:nvPr/>
        </p:nvSpPr>
        <p:spPr bwMode="auto">
          <a:xfrm>
            <a:off x="1289416" y="6540552"/>
            <a:ext cx="9857643" cy="1600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108738" rtl="0" eaLnBrk="1" fontAlgn="base" latinLnBrk="0" hangingPunct="1">
              <a:lnSpc>
                <a:spcPct val="100000"/>
              </a:lnSpc>
              <a:spcBef>
                <a:spcPct val="0"/>
              </a:spcBef>
              <a:spcAft>
                <a:spcPct val="0"/>
              </a:spcAft>
              <a:buClr>
                <a:srgbClr val="0072C6"/>
              </a:buClr>
              <a:buSzTx/>
              <a:buFontTx/>
              <a:buNone/>
              <a:tabLst/>
              <a:defRPr/>
            </a:pPr>
            <a:r>
              <a:rPr kumimoji="0" lang="en-US" sz="102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569881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4" y="1211288"/>
            <a:ext cx="11888787" cy="2087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943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467514"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465599"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0572383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userDrawn="1">
          <p15:clr>
            <a:srgbClr val="FBAE40"/>
          </p15:clr>
        </p15:guide>
        <p15:guide id="2" pos="2501" userDrawn="1">
          <p15:clr>
            <a:srgbClr val="FBAE40"/>
          </p15:clr>
        </p15:guide>
        <p15:guide id="3" pos="2789" userDrawn="1">
          <p15:clr>
            <a:srgbClr val="FBAE40"/>
          </p15:clr>
        </p15:guide>
        <p15:guide id="4" pos="5333"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490" indent="0">
              <a:buFont typeface="Wingdings" panose="05000000000000000000" pitchFamily="2" charset="2"/>
              <a:buNone/>
              <a:defRPr sz="2400" b="0"/>
            </a:lvl2pPr>
            <a:lvl3pPr marL="450676" indent="0">
              <a:buFont typeface="Wingdings" panose="05000000000000000000" pitchFamily="2" charset="2"/>
              <a:buNone/>
              <a:tabLst/>
              <a:defRPr sz="2200" b="0"/>
            </a:lvl3pPr>
            <a:lvl4pPr marL="652211" indent="0">
              <a:buFont typeface="Wingdings" panose="05000000000000000000" pitchFamily="2" charset="2"/>
              <a:buNone/>
              <a:defRPr sz="2200" b="0"/>
            </a:lvl4pPr>
            <a:lvl5pPr marL="853747"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9"/>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490"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67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211"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747"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152" marR="0" lvl="0" indent="-514152" algn="l" defTabSz="932384"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514152" marR="0" lvl="1" indent="-514152" algn="l" defTabSz="932384" rtl="0" eaLnBrk="1" fontAlgn="auto" latinLnBrk="0" hangingPunct="1">
              <a:lnSpc>
                <a:spcPct val="90000"/>
              </a:lnSpc>
              <a:spcBef>
                <a:spcPts val="1224"/>
              </a:spcBef>
              <a:spcAft>
                <a:spcPts val="0"/>
              </a:spcAft>
              <a:buClr>
                <a:schemeClr val="tx1"/>
              </a:buClr>
              <a:buSzPct val="90000"/>
              <a:tabLst/>
            </a:pPr>
            <a:r>
              <a:rPr lang="en-US"/>
              <a:t>Second level</a:t>
            </a:r>
          </a:p>
          <a:p>
            <a:pPr marL="514152" marR="0" lvl="2" indent="-514152" algn="l" defTabSz="932384" rtl="0" eaLnBrk="1" fontAlgn="auto" latinLnBrk="0" hangingPunct="1">
              <a:lnSpc>
                <a:spcPct val="90000"/>
              </a:lnSpc>
              <a:spcBef>
                <a:spcPts val="1224"/>
              </a:spcBef>
              <a:spcAft>
                <a:spcPts val="0"/>
              </a:spcAft>
              <a:buClr>
                <a:schemeClr val="tx1"/>
              </a:buClr>
              <a:buSzPct val="90000"/>
              <a:tabLst/>
            </a:pPr>
            <a:r>
              <a:rPr lang="en-US"/>
              <a:t>Third level</a:t>
            </a:r>
          </a:p>
          <a:p>
            <a:pPr marL="514152" marR="0" lvl="3" indent="-514152" algn="l" defTabSz="932384" rtl="0" eaLnBrk="1" fontAlgn="auto" latinLnBrk="0" hangingPunct="1">
              <a:lnSpc>
                <a:spcPct val="90000"/>
              </a:lnSpc>
              <a:spcBef>
                <a:spcPts val="1224"/>
              </a:spcBef>
              <a:spcAft>
                <a:spcPts val="0"/>
              </a:spcAft>
              <a:buClr>
                <a:schemeClr val="tx1"/>
              </a:buClr>
              <a:buSzPct val="90000"/>
              <a:tabLst/>
            </a:pPr>
            <a:r>
              <a:rPr lang="en-US"/>
              <a:t>Fourth level</a:t>
            </a:r>
          </a:p>
          <a:p>
            <a:pPr marL="514152" marR="0" lvl="4" indent="-514152" algn="l" defTabSz="932384"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62245122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1287"/>
            <a:ext cx="5486399" cy="2539157"/>
          </a:xfrm>
        </p:spPr>
        <p:txBody>
          <a:bodyPr wrap="square">
            <a:spAutoFit/>
          </a:bodyPr>
          <a:lstStyle>
            <a:lvl1pPr marL="231686" indent="-231686">
              <a:spcBef>
                <a:spcPts val="1224"/>
              </a:spcBef>
              <a:buClr>
                <a:schemeClr val="tx1"/>
              </a:buClr>
              <a:buFont typeface="Wingdings" panose="05000000000000000000" pitchFamily="2" charset="2"/>
              <a:buChar char=""/>
              <a:defRPr sz="3000" b="0">
                <a:latin typeface="+mn-lt"/>
              </a:defRPr>
            </a:lvl1pPr>
            <a:lvl2pPr marL="426874" indent="-171384">
              <a:buFont typeface="Wingdings" panose="05000000000000000000" pitchFamily="2" charset="2"/>
              <a:buChar char=""/>
              <a:defRPr sz="2400" b="0"/>
            </a:lvl2pPr>
            <a:lvl3pPr marL="639517" indent="-188840">
              <a:buFont typeface="Wingdings" panose="05000000000000000000" pitchFamily="2" charset="2"/>
              <a:buChar char=""/>
              <a:tabLst/>
              <a:defRPr sz="2200" b="0"/>
            </a:lvl3pPr>
            <a:lvl4pPr marL="828357" indent="-176146">
              <a:buFont typeface="Wingdings" panose="05000000000000000000" pitchFamily="2" charset="2"/>
              <a:buChar char=""/>
              <a:defRPr sz="2200" b="0"/>
            </a:lvl4pPr>
            <a:lvl5pPr marL="1023544" indent="-169798">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934999"/>
          </a:xfrm>
        </p:spPr>
        <p:txBody>
          <a:bodyPr wrap="square">
            <a:spAutoFit/>
          </a:bodyPr>
          <a:lstStyle>
            <a:lvl1pPr marL="287227" indent="-287227">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258" indent="-342768">
              <a:defRPr lang="en-US" sz="2400" b="0" kern="1200" spc="0" baseline="0" dirty="0">
                <a:gradFill>
                  <a:gsLst>
                    <a:gs pos="1250">
                      <a:schemeClr val="tx1"/>
                    </a:gs>
                    <a:gs pos="100000">
                      <a:schemeClr val="tx1"/>
                    </a:gs>
                  </a:gsLst>
                  <a:lin ang="5400000" scaled="0"/>
                </a:gradFill>
                <a:latin typeface="+mn-lt"/>
                <a:ea typeface="+mn-ea"/>
                <a:cs typeface="+mn-cs"/>
              </a:defRPr>
            </a:lvl2pPr>
            <a:lvl3pPr marL="793444" indent="-342768">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4979" indent="-342768">
              <a:defRPr lang="en-US" sz="2200" b="0" kern="1200" spc="0" baseline="0" dirty="0">
                <a:gradFill>
                  <a:gsLst>
                    <a:gs pos="1250">
                      <a:schemeClr val="tx1"/>
                    </a:gs>
                    <a:gs pos="100000">
                      <a:schemeClr val="tx1"/>
                    </a:gs>
                  </a:gsLst>
                  <a:lin ang="5400000" scaled="0"/>
                </a:gradFill>
                <a:latin typeface="+mn-lt"/>
                <a:ea typeface="+mn-ea"/>
                <a:cs typeface="+mn-cs"/>
              </a:defRPr>
            </a:lvl4pPr>
            <a:lvl5pPr marL="1196516" indent="-342768">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686" marR="0" lvl="0"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231686" marR="0" lvl="1"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686" marR="0" lvl="2"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686" marR="0" lvl="3"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686" marR="0" lvl="4"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863258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60403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20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4061F43E-B867-4A3E-95B0-A411A7AB884A}"/>
              </a:ext>
              <a:ext uri="{C183D7F6-B498-43B3-948B-1728B52AA6E4}">
                <adec:decorative xmlns:adec="http://schemas.microsoft.com/office/drawing/2017/decorative" val="1"/>
              </a:ext>
            </a:extLst>
          </p:cNvPr>
          <p:cNvSpPr/>
          <p:nvPr userDrawn="1"/>
        </p:nvSpPr>
        <p:spPr bwMode="auto">
          <a:xfrm rot="16200000">
            <a:off x="6261807" y="-2254322"/>
            <a:ext cx="1678686" cy="9513903"/>
          </a:xfrm>
          <a:prstGeom prst="round2SameRect">
            <a:avLst>
              <a:gd name="adj1" fmla="val 2234"/>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86521" rIns="3637153" bIns="93260" numCol="1" spcCol="0" rtlCol="0" fromWordArt="0" anchor="t" anchorCtr="0" forceAA="0" compatLnSpc="1">
            <a:prstTxWarp prst="textNoShape">
              <a:avLst/>
            </a:prstTxWarp>
            <a:noAutofit/>
          </a:bodyPr>
          <a:lstStyle/>
          <a:p>
            <a:pPr algn="ctr" defTabSz="950663" fontAlgn="base">
              <a:spcBef>
                <a:spcPct val="0"/>
              </a:spcBef>
            </a:pPr>
            <a:endParaRPr lang="en-US" sz="2216">
              <a:solidFill>
                <a:schemeClr val="accent1"/>
              </a:solidFill>
              <a:latin typeface="+mj-lt"/>
              <a:cs typeface="Segoe UI" pitchFamily="34" charset="0"/>
            </a:endParaRPr>
          </a:p>
        </p:txBody>
      </p:sp>
      <p:cxnSp>
        <p:nvCxnSpPr>
          <p:cNvPr id="4" name="Straight Connector 3">
            <a:extLst>
              <a:ext uri="{FF2B5EF4-FFF2-40B4-BE49-F238E27FC236}">
                <a16:creationId xmlns:a16="http://schemas.microsoft.com/office/drawing/2014/main" id="{5D3513FB-7453-491C-B098-D53EBABEDC6B}"/>
              </a:ext>
              <a:ext uri="{C183D7F6-B498-43B3-948B-1728B52AA6E4}">
                <adec:decorative xmlns:adec="http://schemas.microsoft.com/office/drawing/2017/decorative" val="1"/>
              </a:ext>
            </a:extLst>
          </p:cNvPr>
          <p:cNvCxnSpPr>
            <a:cxnSpLocks/>
          </p:cNvCxnSpPr>
          <p:nvPr userDrawn="1"/>
        </p:nvCxnSpPr>
        <p:spPr>
          <a:xfrm>
            <a:off x="5446540" y="1942923"/>
            <a:ext cx="0" cy="1179764"/>
          </a:xfrm>
          <a:prstGeom prst="line">
            <a:avLst/>
          </a:prstGeom>
          <a:ln w="6350" cap="rnd">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3BFB4AE-F1C0-4009-949A-FF953B720812}"/>
              </a:ext>
              <a:ext uri="{C183D7F6-B498-43B3-948B-1728B52AA6E4}">
                <adec:decorative xmlns:adec="http://schemas.microsoft.com/office/drawing/2017/decorative" val="1"/>
              </a:ext>
            </a:extLst>
          </p:cNvPr>
          <p:cNvCxnSpPr>
            <a:cxnSpLocks/>
          </p:cNvCxnSpPr>
          <p:nvPr userDrawn="1"/>
        </p:nvCxnSpPr>
        <p:spPr>
          <a:xfrm>
            <a:off x="8504844" y="1942923"/>
            <a:ext cx="0" cy="1179764"/>
          </a:xfrm>
          <a:prstGeom prst="line">
            <a:avLst/>
          </a:prstGeom>
          <a:ln w="6350" cap="rnd">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6" name="Arrow: Bent 5">
            <a:extLst>
              <a:ext uri="{FF2B5EF4-FFF2-40B4-BE49-F238E27FC236}">
                <a16:creationId xmlns:a16="http://schemas.microsoft.com/office/drawing/2014/main" id="{12AFEA66-4181-4F81-B832-3159A3543BCF}"/>
              </a:ext>
              <a:ext uri="{C183D7F6-B498-43B3-948B-1728B52AA6E4}">
                <adec:decorative xmlns:adec="http://schemas.microsoft.com/office/drawing/2017/decorative" val="1"/>
              </a:ext>
            </a:extLst>
          </p:cNvPr>
          <p:cNvSpPr/>
          <p:nvPr userDrawn="1"/>
        </p:nvSpPr>
        <p:spPr bwMode="auto">
          <a:xfrm flipH="1">
            <a:off x="439987" y="2622923"/>
            <a:ext cx="1678924" cy="559562"/>
          </a:xfrm>
          <a:prstGeom prst="bentArrow">
            <a:avLst>
              <a:gd name="adj1" fmla="val 25000"/>
              <a:gd name="adj2" fmla="val 0"/>
              <a:gd name="adj3" fmla="val 25000"/>
              <a:gd name="adj4" fmla="val 12539"/>
            </a:avLst>
          </a:prstGeom>
          <a:solidFill>
            <a:schemeClr val="accent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sp>
        <p:nvSpPr>
          <p:cNvPr id="7" name="Arrow: Bent 6">
            <a:extLst>
              <a:ext uri="{FF2B5EF4-FFF2-40B4-BE49-F238E27FC236}">
                <a16:creationId xmlns:a16="http://schemas.microsoft.com/office/drawing/2014/main" id="{5E94DAB6-C6FC-4785-AFA3-2BC73D7FA8EC}"/>
              </a:ext>
              <a:ext uri="{C183D7F6-B498-43B3-948B-1728B52AA6E4}">
                <adec:decorative xmlns:adec="http://schemas.microsoft.com/office/drawing/2017/decorative" val="1"/>
              </a:ext>
            </a:extLst>
          </p:cNvPr>
          <p:cNvSpPr/>
          <p:nvPr userDrawn="1"/>
        </p:nvSpPr>
        <p:spPr bwMode="auto">
          <a:xfrm flipV="1">
            <a:off x="2117159" y="2658095"/>
            <a:ext cx="9700451" cy="885973"/>
          </a:xfrm>
          <a:prstGeom prst="bentArrow">
            <a:avLst>
              <a:gd name="adj1" fmla="val 25000"/>
              <a:gd name="adj2" fmla="val 0"/>
              <a:gd name="adj3" fmla="val 25000"/>
              <a:gd name="adj4" fmla="val 12539"/>
            </a:avLst>
          </a:prstGeom>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F602DFF0-17AD-45F6-8C29-412219E3EF52}"/>
              </a:ext>
              <a:ext uri="{C183D7F6-B498-43B3-948B-1728B52AA6E4}">
                <adec:decorative xmlns:adec="http://schemas.microsoft.com/office/drawing/2017/decorative" val="1"/>
              </a:ext>
            </a:extLst>
          </p:cNvPr>
          <p:cNvCxnSpPr>
            <a:cxnSpLocks/>
          </p:cNvCxnSpPr>
          <p:nvPr userDrawn="1"/>
        </p:nvCxnSpPr>
        <p:spPr>
          <a:xfrm flipV="1">
            <a:off x="3887927" y="3371818"/>
            <a:ext cx="0" cy="172250"/>
          </a:xfrm>
          <a:prstGeom prst="line">
            <a:avLst/>
          </a:prstGeom>
        </p:spPr>
        <p:style>
          <a:lnRef idx="1">
            <a:schemeClr val="accent2"/>
          </a:lnRef>
          <a:fillRef idx="3">
            <a:schemeClr val="accent2"/>
          </a:fillRef>
          <a:effectRef idx="2">
            <a:schemeClr val="accent2"/>
          </a:effectRef>
          <a:fontRef idx="minor">
            <a:schemeClr val="lt1"/>
          </a:fontRef>
        </p:style>
      </p:cxnSp>
      <p:cxnSp>
        <p:nvCxnSpPr>
          <p:cNvPr id="9" name="Straight Connector 8">
            <a:extLst>
              <a:ext uri="{FF2B5EF4-FFF2-40B4-BE49-F238E27FC236}">
                <a16:creationId xmlns:a16="http://schemas.microsoft.com/office/drawing/2014/main" id="{FC238377-9CEE-4AFC-87C9-A39E6443822F}"/>
              </a:ext>
              <a:ext uri="{C183D7F6-B498-43B3-948B-1728B52AA6E4}">
                <adec:decorative xmlns:adec="http://schemas.microsoft.com/office/drawing/2017/decorative" val="1"/>
              </a:ext>
            </a:extLst>
          </p:cNvPr>
          <p:cNvCxnSpPr>
            <a:cxnSpLocks/>
          </p:cNvCxnSpPr>
          <p:nvPr userDrawn="1"/>
        </p:nvCxnSpPr>
        <p:spPr>
          <a:xfrm flipV="1">
            <a:off x="6937671" y="3371818"/>
            <a:ext cx="0" cy="172250"/>
          </a:xfrm>
          <a:prstGeom prst="line">
            <a:avLst/>
          </a:prstGeom>
        </p:spPr>
        <p:style>
          <a:lnRef idx="1">
            <a:schemeClr val="accent2"/>
          </a:lnRef>
          <a:fillRef idx="3">
            <a:schemeClr val="accent2"/>
          </a:fillRef>
          <a:effectRef idx="2">
            <a:schemeClr val="accent2"/>
          </a:effectRef>
          <a:fontRef idx="minor">
            <a:schemeClr val="lt1"/>
          </a:fontRef>
        </p:style>
      </p:cxnSp>
      <p:cxnSp>
        <p:nvCxnSpPr>
          <p:cNvPr id="10" name="Straight Connector 9">
            <a:extLst>
              <a:ext uri="{FF2B5EF4-FFF2-40B4-BE49-F238E27FC236}">
                <a16:creationId xmlns:a16="http://schemas.microsoft.com/office/drawing/2014/main" id="{FC2235F0-E977-4311-9503-76DD447C35CD}"/>
              </a:ext>
              <a:ext uri="{C183D7F6-B498-43B3-948B-1728B52AA6E4}">
                <adec:decorative xmlns:adec="http://schemas.microsoft.com/office/drawing/2017/decorative" val="1"/>
              </a:ext>
            </a:extLst>
          </p:cNvPr>
          <p:cNvCxnSpPr>
            <a:cxnSpLocks/>
          </p:cNvCxnSpPr>
          <p:nvPr userDrawn="1"/>
        </p:nvCxnSpPr>
        <p:spPr>
          <a:xfrm flipV="1">
            <a:off x="10289988" y="3371818"/>
            <a:ext cx="0" cy="172250"/>
          </a:xfrm>
          <a:prstGeom prst="line">
            <a:avLst/>
          </a:prstGeom>
        </p:spPr>
        <p:style>
          <a:lnRef idx="1">
            <a:schemeClr val="accent2"/>
          </a:lnRef>
          <a:fillRef idx="3">
            <a:schemeClr val="accent2"/>
          </a:fillRef>
          <a:effectRef idx="2">
            <a:schemeClr val="accent2"/>
          </a:effectRef>
          <a:fontRef idx="minor">
            <a:schemeClr val="lt1"/>
          </a:fontRef>
        </p:style>
      </p:cxnSp>
      <p:sp>
        <p:nvSpPr>
          <p:cNvPr id="11" name="Rectangle 10">
            <a:extLst>
              <a:ext uri="{FF2B5EF4-FFF2-40B4-BE49-F238E27FC236}">
                <a16:creationId xmlns:a16="http://schemas.microsoft.com/office/drawing/2014/main" id="{9A9F0461-9E8F-4DE5-8A0B-15F8113C2BC9}"/>
              </a:ext>
              <a:ext uri="{C183D7F6-B498-43B3-948B-1728B52AA6E4}">
                <adec:decorative xmlns:adec="http://schemas.microsoft.com/office/drawing/2017/decorative" val="1"/>
              </a:ext>
            </a:extLst>
          </p:cNvPr>
          <p:cNvSpPr/>
          <p:nvPr userDrawn="1"/>
        </p:nvSpPr>
        <p:spPr bwMode="auto">
          <a:xfrm>
            <a:off x="2342560" y="3784155"/>
            <a:ext cx="9478696" cy="723903"/>
          </a:xfrm>
          <a:prstGeom prst="rect">
            <a:avLst/>
          </a:prstGeom>
          <a:solidFill>
            <a:schemeClr val="bg1"/>
          </a:solidFill>
          <a:ln w="6350" cap="rnd">
            <a:no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lvl="0">
              <a:spcAft>
                <a:spcPts val="612"/>
              </a:spcAft>
            </a:pPr>
            <a:endParaRPr lang="en-US" altLang="en-US" sz="1122" dirty="0"/>
          </a:p>
        </p:txBody>
      </p:sp>
    </p:spTree>
    <p:extLst>
      <p:ext uri="{BB962C8B-B14F-4D97-AF65-F5344CB8AC3E}">
        <p14:creationId xmlns:p14="http://schemas.microsoft.com/office/powerpoint/2010/main" val="408817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7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10" name="Rectangle 9">
            <a:extLst>
              <a:ext uri="{FF2B5EF4-FFF2-40B4-BE49-F238E27FC236}">
                <a16:creationId xmlns:a16="http://schemas.microsoft.com/office/drawing/2014/main" id="{7C68B5CC-B255-44A7-B054-373C13A19F2E}"/>
              </a:ext>
              <a:ext uri="{C183D7F6-B498-43B3-948B-1728B52AA6E4}">
                <adec:decorative xmlns:adec="http://schemas.microsoft.com/office/drawing/2017/decorative" val="1"/>
              </a:ext>
            </a:extLst>
          </p:cNvPr>
          <p:cNvSpPr/>
          <p:nvPr userDrawn="1"/>
        </p:nvSpPr>
        <p:spPr bwMode="auto">
          <a:xfrm>
            <a:off x="457040" y="1430662"/>
            <a:ext cx="8846703" cy="298433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err="1">
              <a:solidFill>
                <a:schemeClr val="tx1"/>
              </a:soli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D903B829-59CB-43F8-A0A3-5B5126A63558}"/>
              </a:ext>
              <a:ext uri="{C183D7F6-B498-43B3-948B-1728B52AA6E4}">
                <adec:decorative xmlns:adec="http://schemas.microsoft.com/office/drawing/2017/decorative" val="1"/>
              </a:ext>
            </a:extLst>
          </p:cNvPr>
          <p:cNvCxnSpPr>
            <a:cxnSpLocks/>
          </p:cNvCxnSpPr>
          <p:nvPr userDrawn="1"/>
        </p:nvCxnSpPr>
        <p:spPr>
          <a:xfrm>
            <a:off x="3168611" y="1569642"/>
            <a:ext cx="0" cy="2704550"/>
          </a:xfrm>
          <a:prstGeom prst="line">
            <a:avLst/>
          </a:prstGeom>
          <a:ln w="6350" cap="rnd">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9DADA14-A10E-46B0-B15F-573F31B5ED4E}"/>
              </a:ext>
              <a:ext uri="{C183D7F6-B498-43B3-948B-1728B52AA6E4}">
                <adec:decorative xmlns:adec="http://schemas.microsoft.com/office/drawing/2017/decorative" val="1"/>
              </a:ext>
            </a:extLst>
          </p:cNvPr>
          <p:cNvCxnSpPr>
            <a:cxnSpLocks/>
          </p:cNvCxnSpPr>
          <p:nvPr userDrawn="1"/>
        </p:nvCxnSpPr>
        <p:spPr>
          <a:xfrm>
            <a:off x="6393610" y="1569642"/>
            <a:ext cx="0" cy="2704550"/>
          </a:xfrm>
          <a:prstGeom prst="line">
            <a:avLst/>
          </a:prstGeom>
          <a:ln w="6350" cap="rnd">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905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5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8" name="Rectangle 7">
            <a:extLst>
              <a:ext uri="{FF2B5EF4-FFF2-40B4-BE49-F238E27FC236}">
                <a16:creationId xmlns:a16="http://schemas.microsoft.com/office/drawing/2014/main" id="{72F1923C-FE62-44F7-94A9-A5974F5B0D68}"/>
              </a:ext>
              <a:ext uri="{C183D7F6-B498-43B3-948B-1728B52AA6E4}">
                <adec:decorative xmlns:adec="http://schemas.microsoft.com/office/drawing/2017/decorative" val="1"/>
              </a:ext>
            </a:extLst>
          </p:cNvPr>
          <p:cNvSpPr/>
          <p:nvPr userDrawn="1"/>
        </p:nvSpPr>
        <p:spPr bwMode="auto">
          <a:xfrm>
            <a:off x="1068382" y="1139290"/>
            <a:ext cx="10901723" cy="18995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3071642D-85F0-4AE1-AC65-C9C089356CD9}"/>
              </a:ext>
              <a:ext uri="{C183D7F6-B498-43B3-948B-1728B52AA6E4}">
                <adec:decorative xmlns:adec="http://schemas.microsoft.com/office/drawing/2017/decorative" val="1"/>
              </a:ext>
            </a:extLst>
          </p:cNvPr>
          <p:cNvCxnSpPr>
            <a:cxnSpLocks/>
          </p:cNvCxnSpPr>
          <p:nvPr userDrawn="1"/>
        </p:nvCxnSpPr>
        <p:spPr>
          <a:xfrm>
            <a:off x="4789022" y="1441374"/>
            <a:ext cx="0" cy="1286144"/>
          </a:xfrm>
          <a:prstGeom prst="line">
            <a:avLst/>
          </a:prstGeom>
          <a:ln w="6350" cap="rnd">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3BF6CA1-5356-40DE-9240-A50A3B52EFC8}"/>
              </a:ext>
              <a:ext uri="{C183D7F6-B498-43B3-948B-1728B52AA6E4}">
                <adec:decorative xmlns:adec="http://schemas.microsoft.com/office/drawing/2017/decorative" val="1"/>
              </a:ext>
            </a:extLst>
          </p:cNvPr>
          <p:cNvCxnSpPr>
            <a:cxnSpLocks/>
          </p:cNvCxnSpPr>
          <p:nvPr userDrawn="1"/>
        </p:nvCxnSpPr>
        <p:spPr>
          <a:xfrm>
            <a:off x="8527774" y="1441374"/>
            <a:ext cx="0" cy="1286144"/>
          </a:xfrm>
          <a:prstGeom prst="line">
            <a:avLst/>
          </a:prstGeom>
          <a:ln w="6350" cap="rnd">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D696D57-60A3-47C9-8018-047AFF516D44}"/>
              </a:ext>
              <a:ext uri="{C183D7F6-B498-43B3-948B-1728B52AA6E4}">
                <adec:decorative xmlns:adec="http://schemas.microsoft.com/office/drawing/2017/decorative" val="1"/>
              </a:ext>
            </a:extLst>
          </p:cNvPr>
          <p:cNvCxnSpPr/>
          <p:nvPr userDrawn="1"/>
        </p:nvCxnSpPr>
        <p:spPr>
          <a:xfrm>
            <a:off x="1128434" y="5604485"/>
            <a:ext cx="10743667" cy="0"/>
          </a:xfrm>
          <a:prstGeom prst="line">
            <a:avLst/>
          </a:prstGeom>
          <a:ln w="19050">
            <a:solidFill>
              <a:srgbClr val="C2C2C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5EA8845-C81B-41B6-AAD3-95FE060DBA17}"/>
              </a:ext>
              <a:ext uri="{C183D7F6-B498-43B3-948B-1728B52AA6E4}">
                <adec:decorative xmlns:adec="http://schemas.microsoft.com/office/drawing/2017/decorative" val="1"/>
              </a:ext>
            </a:extLst>
          </p:cNvPr>
          <p:cNvCxnSpPr/>
          <p:nvPr userDrawn="1"/>
        </p:nvCxnSpPr>
        <p:spPr>
          <a:xfrm>
            <a:off x="1128434" y="3242162"/>
            <a:ext cx="10743667" cy="0"/>
          </a:xfrm>
          <a:prstGeom prst="line">
            <a:avLst/>
          </a:prstGeom>
          <a:ln w="19050">
            <a:solidFill>
              <a:srgbClr val="C2C2C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3" name="Left Bracket 12">
            <a:extLst>
              <a:ext uri="{FF2B5EF4-FFF2-40B4-BE49-F238E27FC236}">
                <a16:creationId xmlns:a16="http://schemas.microsoft.com/office/drawing/2014/main" id="{EF39D173-367E-4F6A-8549-83185BC4B97B}"/>
              </a:ext>
              <a:ext uri="{C183D7F6-B498-43B3-948B-1728B52AA6E4}">
                <adec:decorative xmlns:adec="http://schemas.microsoft.com/office/drawing/2017/decorative" val="1"/>
              </a:ext>
            </a:extLst>
          </p:cNvPr>
          <p:cNvSpPr/>
          <p:nvPr userDrawn="1"/>
        </p:nvSpPr>
        <p:spPr>
          <a:xfrm>
            <a:off x="974337" y="1212850"/>
            <a:ext cx="121953" cy="1783035"/>
          </a:xfrm>
          <a:prstGeom prst="leftBracket">
            <a:avLst/>
          </a:prstGeom>
          <a:ln w="19050">
            <a:solidFill>
              <a:srgbClr val="8661C5"/>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216"/>
          </a:p>
        </p:txBody>
      </p:sp>
      <p:sp>
        <p:nvSpPr>
          <p:cNvPr id="14" name="Left Bracket 13">
            <a:extLst>
              <a:ext uri="{FF2B5EF4-FFF2-40B4-BE49-F238E27FC236}">
                <a16:creationId xmlns:a16="http://schemas.microsoft.com/office/drawing/2014/main" id="{A36A6725-84E5-4166-BF01-7BB5A44DFA8E}"/>
              </a:ext>
              <a:ext uri="{C183D7F6-B498-43B3-948B-1728B52AA6E4}">
                <adec:decorative xmlns:adec="http://schemas.microsoft.com/office/drawing/2017/decorative" val="1"/>
              </a:ext>
            </a:extLst>
          </p:cNvPr>
          <p:cNvSpPr/>
          <p:nvPr userDrawn="1"/>
        </p:nvSpPr>
        <p:spPr>
          <a:xfrm>
            <a:off x="974337" y="3242163"/>
            <a:ext cx="88548" cy="2362323"/>
          </a:xfrm>
          <a:prstGeom prst="leftBracket">
            <a:avLst/>
          </a:prstGeom>
          <a:ln w="19050">
            <a:solidFill>
              <a:srgbClr val="8661C5"/>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216"/>
          </a:p>
        </p:txBody>
      </p:sp>
    </p:spTree>
    <p:extLst>
      <p:ext uri="{BB962C8B-B14F-4D97-AF65-F5344CB8AC3E}">
        <p14:creationId xmlns:p14="http://schemas.microsoft.com/office/powerpoint/2010/main" val="291062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3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15" name="Rectangle 14">
            <a:extLst>
              <a:ext uri="{FF2B5EF4-FFF2-40B4-BE49-F238E27FC236}">
                <a16:creationId xmlns:a16="http://schemas.microsoft.com/office/drawing/2014/main" id="{A5E5A4D5-8714-4A44-A712-B89F17EC1D6A}"/>
              </a:ext>
              <a:ext uri="{C183D7F6-B498-43B3-948B-1728B52AA6E4}">
                <adec:decorative xmlns:adec="http://schemas.microsoft.com/office/drawing/2017/decorative" val="1"/>
              </a:ext>
            </a:extLst>
          </p:cNvPr>
          <p:cNvSpPr/>
          <p:nvPr userDrawn="1"/>
        </p:nvSpPr>
        <p:spPr bwMode="auto">
          <a:xfrm>
            <a:off x="1731871" y="1981782"/>
            <a:ext cx="10236722" cy="45837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86521" rIns="3637153" bIns="93260" numCol="1" spcCol="0" rtlCol="0" fromWordArt="0" anchor="t" anchorCtr="0" forceAA="0" compatLnSpc="1">
            <a:prstTxWarp prst="textNoShape">
              <a:avLst/>
            </a:prstTxWarp>
            <a:noAutofit/>
          </a:bodyPr>
          <a:lstStyle/>
          <a:p>
            <a:pPr defTabSz="950663" fontAlgn="base">
              <a:spcBef>
                <a:spcPct val="0"/>
              </a:spcBef>
            </a:pPr>
            <a:endParaRPr lang="en-US" sz="1428" dirty="0">
              <a:solidFill>
                <a:schemeClr val="tx1"/>
              </a:solidFill>
              <a:cs typeface="Segoe UI" pitchFamily="34" charset="0"/>
            </a:endParaRPr>
          </a:p>
        </p:txBody>
      </p:sp>
      <p:cxnSp>
        <p:nvCxnSpPr>
          <p:cNvPr id="16" name="Straight Connector 15">
            <a:extLst>
              <a:ext uri="{FF2B5EF4-FFF2-40B4-BE49-F238E27FC236}">
                <a16:creationId xmlns:a16="http://schemas.microsoft.com/office/drawing/2014/main" id="{7022318D-D75D-42BA-80C0-C363B1F7CD45}"/>
              </a:ext>
              <a:ext uri="{C183D7F6-B498-43B3-948B-1728B52AA6E4}">
                <adec:decorative xmlns:adec="http://schemas.microsoft.com/office/drawing/2017/decorative" val="1"/>
              </a:ext>
            </a:extLst>
          </p:cNvPr>
          <p:cNvCxnSpPr>
            <a:cxnSpLocks/>
          </p:cNvCxnSpPr>
          <p:nvPr userDrawn="1"/>
        </p:nvCxnSpPr>
        <p:spPr>
          <a:xfrm>
            <a:off x="1731871" y="2931572"/>
            <a:ext cx="10235226"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3B39739-FD2E-4306-95FB-2818F356699F}"/>
              </a:ext>
              <a:ext uri="{C183D7F6-B498-43B3-948B-1728B52AA6E4}">
                <adec:decorative xmlns:adec="http://schemas.microsoft.com/office/drawing/2017/decorative" val="1"/>
              </a:ext>
            </a:extLst>
          </p:cNvPr>
          <p:cNvCxnSpPr>
            <a:cxnSpLocks/>
          </p:cNvCxnSpPr>
          <p:nvPr userDrawn="1"/>
        </p:nvCxnSpPr>
        <p:spPr>
          <a:xfrm>
            <a:off x="1731871" y="4132663"/>
            <a:ext cx="10235226"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EA93A0E-C4D6-4AE6-BCF1-1971ECB3D5D7}"/>
              </a:ext>
              <a:ext uri="{C183D7F6-B498-43B3-948B-1728B52AA6E4}">
                <adec:decorative xmlns:adec="http://schemas.microsoft.com/office/drawing/2017/decorative" val="1"/>
              </a:ext>
            </a:extLst>
          </p:cNvPr>
          <p:cNvCxnSpPr>
            <a:cxnSpLocks/>
          </p:cNvCxnSpPr>
          <p:nvPr userDrawn="1"/>
        </p:nvCxnSpPr>
        <p:spPr>
          <a:xfrm>
            <a:off x="1731871" y="4850633"/>
            <a:ext cx="10235226"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9752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1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E43D871E-2C7C-45E7-A05E-EC8DCE09BA64}"/>
              </a:ext>
              <a:ext uri="{C183D7F6-B498-43B3-948B-1728B52AA6E4}">
                <adec:decorative xmlns:adec="http://schemas.microsoft.com/office/drawing/2017/decorative" val="1"/>
              </a:ext>
            </a:extLst>
          </p:cNvPr>
          <p:cNvCxnSpPr>
            <a:cxnSpLocks/>
          </p:cNvCxnSpPr>
          <p:nvPr userDrawn="1"/>
        </p:nvCxnSpPr>
        <p:spPr>
          <a:xfrm>
            <a:off x="484861" y="1849910"/>
            <a:ext cx="11485247"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36648B7-9B0C-413B-B006-FF96A5BEC0A7}"/>
              </a:ext>
              <a:ext uri="{C183D7F6-B498-43B3-948B-1728B52AA6E4}">
                <adec:decorative xmlns:adec="http://schemas.microsoft.com/office/drawing/2017/decorative" val="1"/>
              </a:ext>
            </a:extLst>
          </p:cNvPr>
          <p:cNvCxnSpPr>
            <a:cxnSpLocks/>
          </p:cNvCxnSpPr>
          <p:nvPr userDrawn="1"/>
        </p:nvCxnSpPr>
        <p:spPr>
          <a:xfrm>
            <a:off x="484861" y="3496698"/>
            <a:ext cx="11485247"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08DFD29-5952-4A51-BF6B-572E9B4F76E3}"/>
              </a:ext>
              <a:ext uri="{C183D7F6-B498-43B3-948B-1728B52AA6E4}">
                <adec:decorative xmlns:adec="http://schemas.microsoft.com/office/drawing/2017/decorative" val="1"/>
              </a:ext>
            </a:extLst>
          </p:cNvPr>
          <p:cNvCxnSpPr>
            <a:cxnSpLocks/>
          </p:cNvCxnSpPr>
          <p:nvPr userDrawn="1"/>
        </p:nvCxnSpPr>
        <p:spPr>
          <a:xfrm>
            <a:off x="484861" y="2398840"/>
            <a:ext cx="11485247"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6DEBD26-F61B-4C98-A448-E143984BDB4C}"/>
              </a:ext>
              <a:ext uri="{C183D7F6-B498-43B3-948B-1728B52AA6E4}">
                <adec:decorative xmlns:adec="http://schemas.microsoft.com/office/drawing/2017/decorative" val="1"/>
              </a:ext>
            </a:extLst>
          </p:cNvPr>
          <p:cNvCxnSpPr>
            <a:cxnSpLocks/>
          </p:cNvCxnSpPr>
          <p:nvPr userDrawn="1"/>
        </p:nvCxnSpPr>
        <p:spPr>
          <a:xfrm>
            <a:off x="484861" y="2947769"/>
            <a:ext cx="11485247"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B220172-FAFA-45D7-B177-040D5EDBA148}"/>
              </a:ext>
              <a:ext uri="{C183D7F6-B498-43B3-948B-1728B52AA6E4}">
                <adec:decorative xmlns:adec="http://schemas.microsoft.com/office/drawing/2017/decorative" val="1"/>
              </a:ext>
            </a:extLst>
          </p:cNvPr>
          <p:cNvCxnSpPr>
            <a:cxnSpLocks/>
          </p:cNvCxnSpPr>
          <p:nvPr userDrawn="1"/>
        </p:nvCxnSpPr>
        <p:spPr>
          <a:xfrm>
            <a:off x="484861" y="4045628"/>
            <a:ext cx="11485247"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3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0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9" name="Arrow: Bent 8">
            <a:extLst>
              <a:ext uri="{FF2B5EF4-FFF2-40B4-BE49-F238E27FC236}">
                <a16:creationId xmlns:a16="http://schemas.microsoft.com/office/drawing/2014/main" id="{6780E2E0-5986-43C4-BFCA-DA3B16BFB579}"/>
              </a:ext>
              <a:ext uri="{C183D7F6-B498-43B3-948B-1728B52AA6E4}">
                <adec:decorative xmlns:adec="http://schemas.microsoft.com/office/drawing/2017/decorative" val="1"/>
              </a:ext>
            </a:extLst>
          </p:cNvPr>
          <p:cNvSpPr/>
          <p:nvPr userDrawn="1"/>
        </p:nvSpPr>
        <p:spPr bwMode="auto">
          <a:xfrm flipH="1">
            <a:off x="480104" y="3100583"/>
            <a:ext cx="1675551" cy="885973"/>
          </a:xfrm>
          <a:prstGeom prst="bentArrow">
            <a:avLst>
              <a:gd name="adj1" fmla="val 25000"/>
              <a:gd name="adj2" fmla="val 0"/>
              <a:gd name="adj3" fmla="val 25000"/>
              <a:gd name="adj4" fmla="val 12539"/>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sp>
        <p:nvSpPr>
          <p:cNvPr id="10" name="Arrow: Bent 9">
            <a:extLst>
              <a:ext uri="{FF2B5EF4-FFF2-40B4-BE49-F238E27FC236}">
                <a16:creationId xmlns:a16="http://schemas.microsoft.com/office/drawing/2014/main" id="{4D50481D-BC25-4687-858F-FA47BB873AA2}"/>
              </a:ext>
              <a:ext uri="{C183D7F6-B498-43B3-948B-1728B52AA6E4}">
                <adec:decorative xmlns:adec="http://schemas.microsoft.com/office/drawing/2017/decorative" val="1"/>
              </a:ext>
            </a:extLst>
          </p:cNvPr>
          <p:cNvSpPr/>
          <p:nvPr userDrawn="1"/>
        </p:nvSpPr>
        <p:spPr bwMode="auto">
          <a:xfrm flipV="1">
            <a:off x="2157275" y="3516159"/>
            <a:ext cx="7439538" cy="885973"/>
          </a:xfrm>
          <a:prstGeom prst="bentArrow">
            <a:avLst>
              <a:gd name="adj1" fmla="val 25000"/>
              <a:gd name="adj2" fmla="val 0"/>
              <a:gd name="adj3" fmla="val 25000"/>
              <a:gd name="adj4" fmla="val 12539"/>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8F6ECE44-09E4-4603-BA12-907CC04285E9}"/>
              </a:ext>
              <a:ext uri="{C183D7F6-B498-43B3-948B-1728B52AA6E4}">
                <adec:decorative xmlns:adec="http://schemas.microsoft.com/office/drawing/2017/decorative" val="1"/>
              </a:ext>
            </a:extLst>
          </p:cNvPr>
          <p:cNvCxnSpPr>
            <a:cxnSpLocks/>
          </p:cNvCxnSpPr>
          <p:nvPr userDrawn="1"/>
        </p:nvCxnSpPr>
        <p:spPr>
          <a:xfrm flipV="1">
            <a:off x="3596214" y="4229882"/>
            <a:ext cx="0" cy="172250"/>
          </a:xfrm>
          <a:prstGeom prst="line">
            <a:avLst/>
          </a:prstGeom>
          <a:solidFill>
            <a:schemeClr val="accent1"/>
          </a:solidFill>
          <a:ln w="6350">
            <a:solidFill>
              <a:schemeClr val="accent1"/>
            </a:solidFill>
            <a:headEnd type="none" w="med" len="med"/>
            <a:tailEnd type="oval" w="sm" len="sm"/>
          </a:ln>
          <a:effectLst/>
        </p:spPr>
        <p:style>
          <a:lnRef idx="1">
            <a:schemeClr val="accent2"/>
          </a:lnRef>
          <a:fillRef idx="3">
            <a:schemeClr val="accent2"/>
          </a:fillRef>
          <a:effectRef idx="2">
            <a:schemeClr val="accent2"/>
          </a:effectRef>
          <a:fontRef idx="minor">
            <a:schemeClr val="lt1"/>
          </a:fontRef>
        </p:style>
      </p:cxnSp>
      <p:cxnSp>
        <p:nvCxnSpPr>
          <p:cNvPr id="12" name="Straight Connector 11">
            <a:extLst>
              <a:ext uri="{FF2B5EF4-FFF2-40B4-BE49-F238E27FC236}">
                <a16:creationId xmlns:a16="http://schemas.microsoft.com/office/drawing/2014/main" id="{BE8E0AD5-3DE4-43F9-AF48-C82C04DB6355}"/>
              </a:ext>
              <a:ext uri="{C183D7F6-B498-43B3-948B-1728B52AA6E4}">
                <adec:decorative xmlns:adec="http://schemas.microsoft.com/office/drawing/2017/decorative" val="1"/>
              </a:ext>
            </a:extLst>
          </p:cNvPr>
          <p:cNvCxnSpPr>
            <a:cxnSpLocks/>
          </p:cNvCxnSpPr>
          <p:nvPr userDrawn="1"/>
        </p:nvCxnSpPr>
        <p:spPr>
          <a:xfrm flipV="1">
            <a:off x="5965325" y="4229882"/>
            <a:ext cx="0" cy="172250"/>
          </a:xfrm>
          <a:prstGeom prst="line">
            <a:avLst/>
          </a:prstGeom>
          <a:solidFill>
            <a:schemeClr val="accent1"/>
          </a:solidFill>
          <a:ln w="6350">
            <a:solidFill>
              <a:schemeClr val="accent1"/>
            </a:solidFill>
            <a:headEnd type="none" w="med" len="med"/>
            <a:tailEnd type="oval" w="sm" len="sm"/>
          </a:ln>
          <a:effectLst/>
        </p:spPr>
        <p:style>
          <a:lnRef idx="1">
            <a:schemeClr val="accent2"/>
          </a:lnRef>
          <a:fillRef idx="3">
            <a:schemeClr val="accent2"/>
          </a:fillRef>
          <a:effectRef idx="2">
            <a:schemeClr val="accent2"/>
          </a:effectRef>
          <a:fontRef idx="minor">
            <a:schemeClr val="lt1"/>
          </a:fontRef>
        </p:style>
      </p:cxnSp>
      <p:cxnSp>
        <p:nvCxnSpPr>
          <p:cNvPr id="13" name="Straight Connector 12">
            <a:extLst>
              <a:ext uri="{FF2B5EF4-FFF2-40B4-BE49-F238E27FC236}">
                <a16:creationId xmlns:a16="http://schemas.microsoft.com/office/drawing/2014/main" id="{50C2D839-86D8-4904-B6D0-F748A72A6CF9}"/>
              </a:ext>
              <a:ext uri="{C183D7F6-B498-43B3-948B-1728B52AA6E4}">
                <adec:decorative xmlns:adec="http://schemas.microsoft.com/office/drawing/2017/decorative" val="1"/>
              </a:ext>
            </a:extLst>
          </p:cNvPr>
          <p:cNvCxnSpPr>
            <a:cxnSpLocks/>
          </p:cNvCxnSpPr>
          <p:nvPr userDrawn="1"/>
        </p:nvCxnSpPr>
        <p:spPr>
          <a:xfrm flipV="1">
            <a:off x="8386483" y="4229882"/>
            <a:ext cx="0" cy="172250"/>
          </a:xfrm>
          <a:prstGeom prst="line">
            <a:avLst/>
          </a:prstGeom>
          <a:solidFill>
            <a:schemeClr val="accent1"/>
          </a:solidFill>
          <a:ln w="6350">
            <a:solidFill>
              <a:schemeClr val="accent1"/>
            </a:solidFill>
            <a:headEnd type="none" w="med" len="med"/>
            <a:tailEnd type="oval" w="sm" len="sm"/>
          </a:ln>
          <a:effectLst/>
        </p:spPr>
        <p:style>
          <a:lnRef idx="1">
            <a:schemeClr val="accent2"/>
          </a:lnRef>
          <a:fillRef idx="3">
            <a:schemeClr val="accent2"/>
          </a:fillRef>
          <a:effectRef idx="2">
            <a:schemeClr val="accent2"/>
          </a:effectRef>
          <a:fontRef idx="minor">
            <a:schemeClr val="lt1"/>
          </a:fontRef>
        </p:style>
      </p:cxnSp>
      <p:pic>
        <p:nvPicPr>
          <p:cNvPr id="14" name="Picture 13">
            <a:extLst>
              <a:ext uri="{FF2B5EF4-FFF2-40B4-BE49-F238E27FC236}">
                <a16:creationId xmlns:a16="http://schemas.microsoft.com/office/drawing/2014/main" id="{1DBC031C-B065-4B16-AB0D-B20E3A90241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9478"/>
            <a:ext cx="12436475" cy="7094003"/>
          </a:xfrm>
          <a:prstGeom prst="rect">
            <a:avLst/>
          </a:prstGeom>
        </p:spPr>
      </p:pic>
      <p:sp>
        <p:nvSpPr>
          <p:cNvPr id="15" name="Rectangle: Top Corners Rounded 14">
            <a:extLst>
              <a:ext uri="{FF2B5EF4-FFF2-40B4-BE49-F238E27FC236}">
                <a16:creationId xmlns:a16="http://schemas.microsoft.com/office/drawing/2014/main" id="{CBE19FCE-F426-4887-A857-64EC0623B021}"/>
              </a:ext>
              <a:ext uri="{C183D7F6-B498-43B3-948B-1728B52AA6E4}">
                <adec:decorative xmlns:adec="http://schemas.microsoft.com/office/drawing/2017/decorative" val="1"/>
              </a:ext>
            </a:extLst>
          </p:cNvPr>
          <p:cNvSpPr/>
          <p:nvPr userDrawn="1"/>
        </p:nvSpPr>
        <p:spPr bwMode="auto">
          <a:xfrm rot="16200000">
            <a:off x="4707005" y="-659926"/>
            <a:ext cx="2518029" cy="7261587"/>
          </a:xfrm>
          <a:prstGeom prst="round2SameRect">
            <a:avLst>
              <a:gd name="adj1" fmla="val 2234"/>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86521" rIns="3637153" bIns="93260" numCol="1" spcCol="0" rtlCol="0" fromWordArt="0" anchor="t" anchorCtr="0" forceAA="0" compatLnSpc="1">
            <a:prstTxWarp prst="textNoShape">
              <a:avLst/>
            </a:prstTxWarp>
            <a:noAutofit/>
          </a:bodyPr>
          <a:lstStyle/>
          <a:p>
            <a:pPr algn="ctr" defTabSz="950663" fontAlgn="base">
              <a:spcBef>
                <a:spcPct val="0"/>
              </a:spcBef>
            </a:pPr>
            <a:endParaRPr lang="en-US" sz="2216">
              <a:solidFill>
                <a:schemeClr val="accent1"/>
              </a:solidFill>
              <a:latin typeface="+mj-lt"/>
              <a:cs typeface="Segoe UI" pitchFamily="34" charset="0"/>
            </a:endParaRPr>
          </a:p>
        </p:txBody>
      </p:sp>
      <p:cxnSp>
        <p:nvCxnSpPr>
          <p:cNvPr id="16" name="Straight Connector 15">
            <a:extLst>
              <a:ext uri="{FF2B5EF4-FFF2-40B4-BE49-F238E27FC236}">
                <a16:creationId xmlns:a16="http://schemas.microsoft.com/office/drawing/2014/main" id="{4BBFE64B-8753-440E-9B99-25A2F4C1D9DA}"/>
              </a:ext>
              <a:ext uri="{C183D7F6-B498-43B3-948B-1728B52AA6E4}">
                <adec:decorative xmlns:adec="http://schemas.microsoft.com/office/drawing/2017/decorative" val="1"/>
              </a:ext>
            </a:extLst>
          </p:cNvPr>
          <p:cNvCxnSpPr>
            <a:cxnSpLocks/>
          </p:cNvCxnSpPr>
          <p:nvPr userDrawn="1"/>
        </p:nvCxnSpPr>
        <p:spPr>
          <a:xfrm>
            <a:off x="4754746" y="2144987"/>
            <a:ext cx="0" cy="1827718"/>
          </a:xfrm>
          <a:prstGeom prst="line">
            <a:avLst/>
          </a:prstGeom>
          <a:ln w="6350" cap="rnd">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9B79F80-30F9-4172-8031-AED37A026DD6}"/>
              </a:ext>
              <a:ext uri="{C183D7F6-B498-43B3-948B-1728B52AA6E4}">
                <adec:decorative xmlns:adec="http://schemas.microsoft.com/office/drawing/2017/decorative" val="1"/>
              </a:ext>
            </a:extLst>
          </p:cNvPr>
          <p:cNvCxnSpPr>
            <a:cxnSpLocks/>
          </p:cNvCxnSpPr>
          <p:nvPr userDrawn="1"/>
        </p:nvCxnSpPr>
        <p:spPr>
          <a:xfrm>
            <a:off x="7296065" y="2144987"/>
            <a:ext cx="0" cy="1827718"/>
          </a:xfrm>
          <a:prstGeom prst="line">
            <a:avLst/>
          </a:prstGeom>
          <a:ln w="6350" cap="rnd">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69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8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BADCF0B3-1FF6-475B-B38B-2500AC321120}"/>
              </a:ext>
              <a:ext uri="{C183D7F6-B498-43B3-948B-1728B52AA6E4}">
                <adec:decorative xmlns:adec="http://schemas.microsoft.com/office/drawing/2017/decorative" val="1"/>
              </a:ext>
            </a:extLst>
          </p:cNvPr>
          <p:cNvCxnSpPr>
            <a:cxnSpLocks/>
          </p:cNvCxnSpPr>
          <p:nvPr userDrawn="1"/>
        </p:nvCxnSpPr>
        <p:spPr>
          <a:xfrm>
            <a:off x="484860" y="2430839"/>
            <a:ext cx="5840253"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C5D80ED-E52F-447B-8072-9E252B73DD50}"/>
              </a:ext>
              <a:ext uri="{C183D7F6-B498-43B3-948B-1728B52AA6E4}">
                <adec:decorative xmlns:adec="http://schemas.microsoft.com/office/drawing/2017/decorative" val="1"/>
              </a:ext>
            </a:extLst>
          </p:cNvPr>
          <p:cNvCxnSpPr>
            <a:cxnSpLocks/>
          </p:cNvCxnSpPr>
          <p:nvPr userDrawn="1"/>
        </p:nvCxnSpPr>
        <p:spPr>
          <a:xfrm>
            <a:off x="484861" y="3362081"/>
            <a:ext cx="5851781"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1989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467514"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465599"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1550839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6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7" name="Rectangle 6">
            <a:extLst>
              <a:ext uri="{FF2B5EF4-FFF2-40B4-BE49-F238E27FC236}">
                <a16:creationId xmlns:a16="http://schemas.microsoft.com/office/drawing/2014/main" id="{10ACFD09-266B-421B-903C-2DBEF9E11488}"/>
              </a:ext>
              <a:ext uri="{C183D7F6-B498-43B3-948B-1728B52AA6E4}">
                <adec:decorative xmlns:adec="http://schemas.microsoft.com/office/drawing/2017/decorative" val="1"/>
              </a:ext>
            </a:extLst>
          </p:cNvPr>
          <p:cNvSpPr/>
          <p:nvPr userDrawn="1"/>
        </p:nvSpPr>
        <p:spPr bwMode="auto">
          <a:xfrm>
            <a:off x="484861" y="1547763"/>
            <a:ext cx="11499022" cy="27568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lvl="0" defTabSz="533298">
              <a:spcBef>
                <a:spcPct val="0"/>
              </a:spcBef>
              <a:defRPr/>
            </a:pPr>
            <a:endParaRPr lang="en-US" sz="2448">
              <a:solidFill>
                <a:srgbClr val="1A1A1A"/>
              </a:solidFill>
              <a:latin typeface="Segoe UI Semilight"/>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2670C437-93FC-449E-A1E4-784AC78E3B07}"/>
              </a:ext>
              <a:ext uri="{C183D7F6-B498-43B3-948B-1728B52AA6E4}">
                <adec:decorative xmlns:adec="http://schemas.microsoft.com/office/drawing/2017/decorative" val="1"/>
              </a:ext>
            </a:extLst>
          </p:cNvPr>
          <p:cNvCxnSpPr>
            <a:cxnSpLocks/>
          </p:cNvCxnSpPr>
          <p:nvPr userDrawn="1"/>
        </p:nvCxnSpPr>
        <p:spPr>
          <a:xfrm>
            <a:off x="584796" y="3050802"/>
            <a:ext cx="9513903"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50FC7-07E8-415C-A1A5-BFCDEA81FB0A}"/>
              </a:ext>
              <a:ext uri="{C183D7F6-B498-43B3-948B-1728B52AA6E4}">
                <adec:decorative xmlns:adec="http://schemas.microsoft.com/office/drawing/2017/decorative" val="1"/>
              </a:ext>
            </a:extLst>
          </p:cNvPr>
          <p:cNvCxnSpPr>
            <a:cxnSpLocks/>
          </p:cNvCxnSpPr>
          <p:nvPr userDrawn="1"/>
        </p:nvCxnSpPr>
        <p:spPr>
          <a:xfrm>
            <a:off x="2963396" y="1619731"/>
            <a:ext cx="0" cy="1286144"/>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959F300-0053-4530-926A-5DF433226AE2}"/>
              </a:ext>
              <a:ext uri="{C183D7F6-B498-43B3-948B-1728B52AA6E4}">
                <adec:decorative xmlns:adec="http://schemas.microsoft.com/office/drawing/2017/decorative" val="1"/>
              </a:ext>
            </a:extLst>
          </p:cNvPr>
          <p:cNvCxnSpPr>
            <a:cxnSpLocks/>
          </p:cNvCxnSpPr>
          <p:nvPr userDrawn="1"/>
        </p:nvCxnSpPr>
        <p:spPr>
          <a:xfrm>
            <a:off x="6511629" y="1619731"/>
            <a:ext cx="0" cy="1286144"/>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7E6AD38-AC5A-41DA-A7B2-5F643C8C8178}"/>
              </a:ext>
              <a:ext uri="{C183D7F6-B498-43B3-948B-1728B52AA6E4}">
                <adec:decorative xmlns:adec="http://schemas.microsoft.com/office/drawing/2017/decorative" val="1"/>
              </a:ext>
            </a:extLst>
          </p:cNvPr>
          <p:cNvCxnSpPr>
            <a:cxnSpLocks/>
          </p:cNvCxnSpPr>
          <p:nvPr userDrawn="1"/>
        </p:nvCxnSpPr>
        <p:spPr>
          <a:xfrm>
            <a:off x="9674986" y="1619731"/>
            <a:ext cx="0" cy="1286144"/>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0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4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Rectangle 2">
            <a:extLst>
              <a:ext uri="{FF2B5EF4-FFF2-40B4-BE49-F238E27FC236}">
                <a16:creationId xmlns:a16="http://schemas.microsoft.com/office/drawing/2014/main" id="{C1D59684-0DB5-4C58-BCCA-2610CA315424}"/>
              </a:ext>
              <a:ext uri="{C183D7F6-B498-43B3-948B-1728B52AA6E4}">
                <adec:decorative xmlns:adec="http://schemas.microsoft.com/office/drawing/2017/decorative" val="1"/>
              </a:ext>
            </a:extLst>
          </p:cNvPr>
          <p:cNvSpPr/>
          <p:nvPr userDrawn="1"/>
        </p:nvSpPr>
        <p:spPr bwMode="auto">
          <a:xfrm>
            <a:off x="9558769" y="0"/>
            <a:ext cx="2425113" cy="44977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D1233A62-304E-4C57-9AAC-C57F9DDC36C8}"/>
              </a:ext>
              <a:ext uri="{C183D7F6-B498-43B3-948B-1728B52AA6E4}">
                <adec:decorative xmlns:adec="http://schemas.microsoft.com/office/drawing/2017/decorative" val="1"/>
              </a:ext>
            </a:extLst>
          </p:cNvPr>
          <p:cNvCxnSpPr>
            <a:cxnSpLocks/>
          </p:cNvCxnSpPr>
          <p:nvPr userDrawn="1"/>
        </p:nvCxnSpPr>
        <p:spPr>
          <a:xfrm flipV="1">
            <a:off x="9791953" y="2691413"/>
            <a:ext cx="1958745"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400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3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3" name="Picture 2">
            <a:extLst>
              <a:ext uri="{FF2B5EF4-FFF2-40B4-BE49-F238E27FC236}">
                <a16:creationId xmlns:a16="http://schemas.microsoft.com/office/drawing/2014/main" id="{69B1AAE4-D33A-4C49-A8C0-349AF2238F3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90" y="3220263"/>
            <a:ext cx="12418896" cy="3774262"/>
          </a:xfrm>
          <a:prstGeom prst="rect">
            <a:avLst/>
          </a:prstGeom>
        </p:spPr>
      </p:pic>
    </p:spTree>
    <p:extLst>
      <p:ext uri="{BB962C8B-B14F-4D97-AF65-F5344CB8AC3E}">
        <p14:creationId xmlns:p14="http://schemas.microsoft.com/office/powerpoint/2010/main" val="25974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2_Title Only with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29256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5_Title Only with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CC03508-6E68-4479-A270-AC3029D827A8}"/>
              </a:ext>
              <a:ext uri="{C183D7F6-B498-43B3-948B-1728B52AA6E4}">
                <adec:decorative xmlns:adec="http://schemas.microsoft.com/office/drawing/2017/decorative" val="1"/>
              </a:ext>
            </a:extLst>
          </p:cNvPr>
          <p:cNvCxnSpPr>
            <a:cxnSpLocks/>
          </p:cNvCxnSpPr>
          <p:nvPr userDrawn="1"/>
        </p:nvCxnSpPr>
        <p:spPr>
          <a:xfrm>
            <a:off x="549502" y="1969656"/>
            <a:ext cx="6054653" cy="0"/>
          </a:xfrm>
          <a:prstGeom prst="line">
            <a:avLst/>
          </a:prstGeom>
          <a:ln w="31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6740C54-9A34-415F-8480-8E3DCF3B728E}"/>
              </a:ext>
              <a:ext uri="{C183D7F6-B498-43B3-948B-1728B52AA6E4}">
                <adec:decorative xmlns:adec="http://schemas.microsoft.com/office/drawing/2017/decorative" val="1"/>
              </a:ext>
            </a:extLst>
          </p:cNvPr>
          <p:cNvCxnSpPr>
            <a:cxnSpLocks/>
          </p:cNvCxnSpPr>
          <p:nvPr userDrawn="1"/>
        </p:nvCxnSpPr>
        <p:spPr>
          <a:xfrm>
            <a:off x="549502" y="2728752"/>
            <a:ext cx="6054653" cy="0"/>
          </a:xfrm>
          <a:prstGeom prst="line">
            <a:avLst/>
          </a:prstGeom>
          <a:ln w="31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46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4_Title Only with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11" name="Picture 10">
            <a:extLst>
              <a:ext uri="{FF2B5EF4-FFF2-40B4-BE49-F238E27FC236}">
                <a16:creationId xmlns:a16="http://schemas.microsoft.com/office/drawing/2014/main" id="{7F572B8C-A2C7-48EF-BA40-ABCAFC02933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053716"/>
            <a:ext cx="12436475" cy="2940809"/>
          </a:xfrm>
          <a:prstGeom prst="rect">
            <a:avLst/>
          </a:prstGeom>
        </p:spPr>
      </p:pic>
    </p:spTree>
    <p:extLst>
      <p:ext uri="{BB962C8B-B14F-4D97-AF65-F5344CB8AC3E}">
        <p14:creationId xmlns:p14="http://schemas.microsoft.com/office/powerpoint/2010/main" val="221886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3_Title Only with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18" name="Rectangle 17">
            <a:extLst>
              <a:ext uri="{FF2B5EF4-FFF2-40B4-BE49-F238E27FC236}">
                <a16:creationId xmlns:a16="http://schemas.microsoft.com/office/drawing/2014/main" id="{3EEF2668-EB33-4247-8692-DF15539B1CBE}"/>
              </a:ext>
              <a:ext uri="{C183D7F6-B498-43B3-948B-1728B52AA6E4}">
                <adec:decorative xmlns:adec="http://schemas.microsoft.com/office/drawing/2017/decorative" val="1"/>
              </a:ext>
            </a:extLst>
          </p:cNvPr>
          <p:cNvSpPr/>
          <p:nvPr userDrawn="1"/>
        </p:nvSpPr>
        <p:spPr bwMode="auto">
          <a:xfrm>
            <a:off x="441806" y="1539466"/>
            <a:ext cx="11537629" cy="2162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D50FB22F-B303-4DDB-9E4E-BFC697F913BD}"/>
              </a:ext>
              <a:ext uri="{C183D7F6-B498-43B3-948B-1728B52AA6E4}">
                <adec:decorative xmlns:adec="http://schemas.microsoft.com/office/drawing/2017/decorative" val="1"/>
              </a:ext>
            </a:extLst>
          </p:cNvPr>
          <p:cNvCxnSpPr>
            <a:cxnSpLocks/>
          </p:cNvCxnSpPr>
          <p:nvPr userDrawn="1"/>
        </p:nvCxnSpPr>
        <p:spPr>
          <a:xfrm flipV="1">
            <a:off x="3198951" y="2573350"/>
            <a:ext cx="0" cy="519786"/>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FBD9174-D2F3-4594-A7A1-8909B7930607}"/>
              </a:ext>
              <a:ext uri="{C183D7F6-B498-43B3-948B-1728B52AA6E4}">
                <adec:decorative xmlns:adec="http://schemas.microsoft.com/office/drawing/2017/decorative" val="1"/>
              </a:ext>
            </a:extLst>
          </p:cNvPr>
          <p:cNvCxnSpPr>
            <a:cxnSpLocks/>
          </p:cNvCxnSpPr>
          <p:nvPr userDrawn="1"/>
        </p:nvCxnSpPr>
        <p:spPr>
          <a:xfrm flipV="1">
            <a:off x="6107373" y="2573350"/>
            <a:ext cx="0" cy="519786"/>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45FA385-A924-49D0-99AC-57C7AF30F6A5}"/>
              </a:ext>
              <a:ext uri="{C183D7F6-B498-43B3-948B-1728B52AA6E4}">
                <adec:decorative xmlns:adec="http://schemas.microsoft.com/office/drawing/2017/decorative" val="1"/>
              </a:ext>
            </a:extLst>
          </p:cNvPr>
          <p:cNvCxnSpPr>
            <a:cxnSpLocks/>
          </p:cNvCxnSpPr>
          <p:nvPr userDrawn="1"/>
        </p:nvCxnSpPr>
        <p:spPr>
          <a:xfrm flipV="1">
            <a:off x="9015796" y="2573350"/>
            <a:ext cx="0" cy="519786"/>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7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06190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81874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351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13882"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4272263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866374"/>
          </a:xfrm>
          <a:noFill/>
        </p:spPr>
        <p:txBody>
          <a:bodyPr tIns="91440" bIns="91440" anchor="t" anchorCtr="0">
            <a:spAutoFit/>
          </a:bodyPr>
          <a:lstStyle>
            <a:lvl1pPr>
              <a:defRPr sz="4896" spc="-100" baseline="0">
                <a:gradFill>
                  <a:gsLst>
                    <a:gs pos="100000">
                      <a:schemeClr val="tx1"/>
                    </a:gs>
                    <a:gs pos="0">
                      <a:schemeClr val="tx1"/>
                    </a:gs>
                  </a:gsLst>
                  <a:lin ang="5400000" scaled="0"/>
                </a:gradFill>
                <a:latin typeface="+mn-lt"/>
              </a:defRPr>
            </a:lvl1pPr>
          </a:lstStyle>
          <a:p>
            <a:r>
              <a:rPr lang="en-US"/>
              <a:t>Section title</a:t>
            </a:r>
          </a:p>
        </p:txBody>
      </p:sp>
      <p:grpSp>
        <p:nvGrpSpPr>
          <p:cNvPr id="3" name="Group 2">
            <a:extLst>
              <a:ext uri="{FF2B5EF4-FFF2-40B4-BE49-F238E27FC236}">
                <a16:creationId xmlns:a16="http://schemas.microsoft.com/office/drawing/2014/main" id="{26D137AD-358C-48FA-AEFA-2E05426D092B}"/>
              </a:ext>
              <a:ext uri="{C183D7F6-B498-43B3-948B-1728B52AA6E4}">
                <adec:decorative xmlns:adec="http://schemas.microsoft.com/office/drawing/2017/decorative" val="1"/>
              </a:ext>
            </a:extLst>
          </p:cNvPr>
          <p:cNvGrpSpPr/>
          <p:nvPr userDrawn="1"/>
        </p:nvGrpSpPr>
        <p:grpSpPr>
          <a:xfrm>
            <a:off x="0" y="4087368"/>
            <a:ext cx="12434711" cy="2908040"/>
            <a:chOff x="0" y="4006722"/>
            <a:chExt cx="12192000" cy="2851278"/>
          </a:xfrm>
          <a:solidFill>
            <a:schemeClr val="bg1">
              <a:alpha val="40000"/>
            </a:schemeClr>
          </a:solidFill>
        </p:grpSpPr>
        <p:pic>
          <p:nvPicPr>
            <p:cNvPr id="4" name="Graphic 3">
              <a:extLst>
                <a:ext uri="{FF2B5EF4-FFF2-40B4-BE49-F238E27FC236}">
                  <a16:creationId xmlns:a16="http://schemas.microsoft.com/office/drawing/2014/main" id="{B9DFB3B8-2960-4195-8775-DDAFE0603F3C}"/>
                </a:ext>
              </a:extLst>
            </p:cNvPr>
            <p:cNvPicPr>
              <a:picLocks noChangeAspect="1"/>
            </p:cNvPicPr>
            <p:nvPr/>
          </p:nvPicPr>
          <p:blipFill rotWithShape="1">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rcRect l="57330" t="18683" r="22453" b="46159"/>
            <a:stretch/>
          </p:blipFill>
          <p:spPr>
            <a:xfrm>
              <a:off x="10844283" y="4284481"/>
              <a:ext cx="1347717" cy="1318259"/>
            </a:xfrm>
            <a:custGeom>
              <a:avLst/>
              <a:gdLst>
                <a:gd name="connsiteX0" fmla="*/ 1347717 w 1347717"/>
                <a:gd name="connsiteY0" fmla="*/ 0 h 1318259"/>
                <a:gd name="connsiteX1" fmla="*/ 1347717 w 1347717"/>
                <a:gd name="connsiteY1" fmla="*/ 1318259 h 1318259"/>
                <a:gd name="connsiteX2" fmla="*/ 0 w 1347717"/>
                <a:gd name="connsiteY2" fmla="*/ 1318259 h 1318259"/>
              </a:gdLst>
              <a:ahLst/>
              <a:cxnLst>
                <a:cxn ang="0">
                  <a:pos x="connsiteX0" y="connsiteY0"/>
                </a:cxn>
                <a:cxn ang="0">
                  <a:pos x="connsiteX1" y="connsiteY1"/>
                </a:cxn>
                <a:cxn ang="0">
                  <a:pos x="connsiteX2" y="connsiteY2"/>
                </a:cxn>
              </a:cxnLst>
              <a:rect l="l" t="t" r="r" b="b"/>
              <a:pathLst>
                <a:path w="1347717" h="1318259">
                  <a:moveTo>
                    <a:pt x="1347717" y="0"/>
                  </a:moveTo>
                  <a:lnTo>
                    <a:pt x="1347717" y="1318259"/>
                  </a:lnTo>
                  <a:lnTo>
                    <a:pt x="0" y="1318259"/>
                  </a:lnTo>
                  <a:close/>
                </a:path>
              </a:pathLst>
            </a:custGeom>
          </p:spPr>
        </p:pic>
        <p:pic>
          <p:nvPicPr>
            <p:cNvPr id="5" name="Graphic 4">
              <a:extLst>
                <a:ext uri="{FF2B5EF4-FFF2-40B4-BE49-F238E27FC236}">
                  <a16:creationId xmlns:a16="http://schemas.microsoft.com/office/drawing/2014/main" id="{220BB8EA-E650-43E1-A96D-5E17B5AC1943}"/>
                </a:ext>
              </a:extLst>
            </p:cNvPr>
            <p:cNvPicPr>
              <a:picLocks noChangeAspect="1"/>
            </p:cNvPicPr>
            <p:nvPr/>
          </p:nvPicPr>
          <p:blipFill rotWithShape="1">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rcRect l="632" t="22548" b="66173"/>
            <a:stretch/>
          </p:blipFill>
          <p:spPr>
            <a:xfrm>
              <a:off x="0" y="6435726"/>
              <a:ext cx="6614167" cy="422274"/>
            </a:xfrm>
            <a:custGeom>
              <a:avLst/>
              <a:gdLst>
                <a:gd name="connsiteX0" fmla="*/ 0 w 6614167"/>
                <a:gd name="connsiteY0" fmla="*/ 0 h 422274"/>
                <a:gd name="connsiteX1" fmla="*/ 6614167 w 6614167"/>
                <a:gd name="connsiteY1" fmla="*/ 0 h 422274"/>
                <a:gd name="connsiteX2" fmla="*/ 6614167 w 6614167"/>
                <a:gd name="connsiteY2" fmla="*/ 422274 h 422274"/>
                <a:gd name="connsiteX3" fmla="*/ 0 w 6614167"/>
                <a:gd name="connsiteY3" fmla="*/ 422274 h 422274"/>
              </a:gdLst>
              <a:ahLst/>
              <a:cxnLst>
                <a:cxn ang="0">
                  <a:pos x="connsiteX0" y="connsiteY0"/>
                </a:cxn>
                <a:cxn ang="0">
                  <a:pos x="connsiteX1" y="connsiteY1"/>
                </a:cxn>
                <a:cxn ang="0">
                  <a:pos x="connsiteX2" y="connsiteY2"/>
                </a:cxn>
                <a:cxn ang="0">
                  <a:pos x="connsiteX3" y="connsiteY3"/>
                </a:cxn>
              </a:cxnLst>
              <a:rect l="l" t="t" r="r" b="b"/>
              <a:pathLst>
                <a:path w="6614167" h="422274">
                  <a:moveTo>
                    <a:pt x="0" y="0"/>
                  </a:moveTo>
                  <a:lnTo>
                    <a:pt x="6614167" y="0"/>
                  </a:lnTo>
                  <a:lnTo>
                    <a:pt x="6614167" y="422274"/>
                  </a:lnTo>
                  <a:lnTo>
                    <a:pt x="0" y="422274"/>
                  </a:lnTo>
                  <a:close/>
                </a:path>
              </a:pathLst>
            </a:custGeom>
          </p:spPr>
        </p:pic>
        <p:pic>
          <p:nvPicPr>
            <p:cNvPr id="6" name="Graphic 5">
              <a:extLst>
                <a:ext uri="{FF2B5EF4-FFF2-40B4-BE49-F238E27FC236}">
                  <a16:creationId xmlns:a16="http://schemas.microsoft.com/office/drawing/2014/main" id="{65224359-A4A0-456C-B29B-BF3DAEEBE216}"/>
                </a:ext>
              </a:extLst>
            </p:cNvPr>
            <p:cNvPicPr>
              <a:picLocks noChangeAspect="1"/>
            </p:cNvPicPr>
            <p:nvPr/>
          </p:nvPicPr>
          <p:blipFill rotWithShape="1">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rcRect r="16311" b="66173"/>
            <a:stretch/>
          </p:blipFill>
          <p:spPr>
            <a:xfrm>
              <a:off x="6601605" y="5591531"/>
              <a:ext cx="5570481" cy="1266469"/>
            </a:xfrm>
            <a:custGeom>
              <a:avLst/>
              <a:gdLst>
                <a:gd name="connsiteX0" fmla="*/ 4225979 w 5570481"/>
                <a:gd name="connsiteY0" fmla="*/ 0 h 1266469"/>
                <a:gd name="connsiteX1" fmla="*/ 5570481 w 5570481"/>
                <a:gd name="connsiteY1" fmla="*/ 0 h 1266469"/>
                <a:gd name="connsiteX2" fmla="*/ 5570481 w 5570481"/>
                <a:gd name="connsiteY2" fmla="*/ 1266469 h 1266469"/>
                <a:gd name="connsiteX3" fmla="*/ 0 w 5570481"/>
                <a:gd name="connsiteY3" fmla="*/ 1266469 h 1266469"/>
                <a:gd name="connsiteX4" fmla="*/ 0 w 5570481"/>
                <a:gd name="connsiteY4" fmla="*/ 861735 h 1266469"/>
                <a:gd name="connsiteX5" fmla="*/ 3182183 w 5570481"/>
                <a:gd name="connsiteY5" fmla="*/ 861735 h 1266469"/>
                <a:gd name="connsiteX6" fmla="*/ 3182183 w 5570481"/>
                <a:gd name="connsiteY6" fmla="*/ 627170 h 1266469"/>
                <a:gd name="connsiteX7" fmla="*/ 3280583 w 5570481"/>
                <a:gd name="connsiteY7" fmla="*/ 739419 h 1266469"/>
                <a:gd name="connsiteX8" fmla="*/ 3690158 w 5570481"/>
                <a:gd name="connsiteY8" fmla="*/ 553682 h 126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481" h="1266469">
                  <a:moveTo>
                    <a:pt x="4225979" y="0"/>
                  </a:moveTo>
                  <a:lnTo>
                    <a:pt x="5570481" y="0"/>
                  </a:lnTo>
                  <a:lnTo>
                    <a:pt x="5570481" y="1266469"/>
                  </a:lnTo>
                  <a:lnTo>
                    <a:pt x="0" y="1266469"/>
                  </a:lnTo>
                  <a:lnTo>
                    <a:pt x="0" y="861735"/>
                  </a:lnTo>
                  <a:lnTo>
                    <a:pt x="3182183" y="861735"/>
                  </a:lnTo>
                  <a:lnTo>
                    <a:pt x="3182183" y="627170"/>
                  </a:lnTo>
                  <a:lnTo>
                    <a:pt x="3280583" y="739419"/>
                  </a:lnTo>
                  <a:lnTo>
                    <a:pt x="3690158" y="553682"/>
                  </a:lnTo>
                  <a:close/>
                </a:path>
              </a:pathLst>
            </a:custGeom>
          </p:spPr>
        </p:pic>
        <p:grpSp>
          <p:nvGrpSpPr>
            <p:cNvPr id="7" name="Group 6">
              <a:extLst>
                <a:ext uri="{FF2B5EF4-FFF2-40B4-BE49-F238E27FC236}">
                  <a16:creationId xmlns:a16="http://schemas.microsoft.com/office/drawing/2014/main" id="{D87EFEFF-0AEA-4891-9143-FDDDCE1EC531}"/>
                </a:ext>
              </a:extLst>
            </p:cNvPr>
            <p:cNvGrpSpPr/>
            <p:nvPr/>
          </p:nvGrpSpPr>
          <p:grpSpPr>
            <a:xfrm>
              <a:off x="0" y="4006722"/>
              <a:ext cx="12192000" cy="2800385"/>
              <a:chOff x="0" y="2395590"/>
              <a:chExt cx="12192000" cy="2800385"/>
            </a:xfrm>
            <a:grpFill/>
          </p:grpSpPr>
          <p:pic>
            <p:nvPicPr>
              <p:cNvPr id="8" name="Graphic 7">
                <a:extLst>
                  <a:ext uri="{FF2B5EF4-FFF2-40B4-BE49-F238E27FC236}">
                    <a16:creationId xmlns:a16="http://schemas.microsoft.com/office/drawing/2014/main" id="{0CB0430F-F067-44BC-A9CA-79843219D1C8}"/>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rcRect b="59166"/>
              <a:stretch/>
            </p:blipFill>
            <p:spPr>
              <a:xfrm>
                <a:off x="0" y="2395590"/>
                <a:ext cx="12192000" cy="2800385"/>
              </a:xfrm>
              <a:prstGeom prst="rect">
                <a:avLst/>
              </a:prstGeom>
            </p:spPr>
          </p:pic>
          <p:sp>
            <p:nvSpPr>
              <p:cNvPr id="9" name="Oval 8">
                <a:extLst>
                  <a:ext uri="{FF2B5EF4-FFF2-40B4-BE49-F238E27FC236}">
                    <a16:creationId xmlns:a16="http://schemas.microsoft.com/office/drawing/2014/main" id="{3E8897B8-137E-465E-9329-12E94A91A524}"/>
                  </a:ext>
                  <a:ext uri="{C183D7F6-B498-43B3-948B-1728B52AA6E4}">
                    <adec:decorative xmlns:adec="http://schemas.microsoft.com/office/drawing/2017/decorative" val="1"/>
                  </a:ext>
                </a:extLst>
              </p:cNvPr>
              <p:cNvSpPr/>
              <p:nvPr/>
            </p:nvSpPr>
            <p:spPr bwMode="auto">
              <a:xfrm>
                <a:off x="2662455" y="4804246"/>
                <a:ext cx="121291" cy="12129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Oval 9">
                <a:extLst>
                  <a:ext uri="{FF2B5EF4-FFF2-40B4-BE49-F238E27FC236}">
                    <a16:creationId xmlns:a16="http://schemas.microsoft.com/office/drawing/2014/main" id="{21E7F9AE-64F2-4EBE-890B-5BDB8BC6B6B3}"/>
                  </a:ext>
                  <a:ext uri="{C183D7F6-B498-43B3-948B-1728B52AA6E4}">
                    <adec:decorative xmlns:adec="http://schemas.microsoft.com/office/drawing/2017/decorative" val="1"/>
                  </a:ext>
                </a:extLst>
              </p:cNvPr>
              <p:cNvSpPr/>
              <p:nvPr/>
            </p:nvSpPr>
            <p:spPr bwMode="auto">
              <a:xfrm>
                <a:off x="6248011" y="4804246"/>
                <a:ext cx="121291" cy="12129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4153983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Thank you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866374"/>
          </a:xfrm>
          <a:noFill/>
        </p:spPr>
        <p:txBody>
          <a:bodyPr tIns="91440" bIns="91440" anchor="t" anchorCtr="0">
            <a:spAutoFit/>
          </a:bodyPr>
          <a:lstStyle>
            <a:lvl1pPr>
              <a:defRPr sz="4896" spc="-100" baseline="0">
                <a:gradFill>
                  <a:gsLst>
                    <a:gs pos="100000">
                      <a:schemeClr val="tx1"/>
                    </a:gs>
                    <a:gs pos="0">
                      <a:schemeClr val="tx1"/>
                    </a:gs>
                  </a:gsLst>
                  <a:lin ang="5400000" scaled="0"/>
                </a:gradFill>
                <a:latin typeface="+mn-lt"/>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93CDF0A0-BDC2-4843-A611-0FA59C13B5C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460690" y="479425"/>
            <a:ext cx="1451843" cy="310896"/>
          </a:xfrm>
          <a:prstGeom prst="rect">
            <a:avLst/>
          </a:prstGeom>
        </p:spPr>
      </p:pic>
      <p:sp>
        <p:nvSpPr>
          <p:cNvPr id="4" name="Text Box 3">
            <a:extLst>
              <a:ext uri="{FF2B5EF4-FFF2-40B4-BE49-F238E27FC236}">
                <a16:creationId xmlns:a16="http://schemas.microsoft.com/office/drawing/2014/main" id="{B54EA59F-B66F-488B-91AD-3DC3C7078A5A}"/>
              </a:ext>
            </a:extLst>
          </p:cNvPr>
          <p:cNvSpPr txBox="1">
            <a:spLocks noChangeArrowheads="1"/>
          </p:cNvSpPr>
          <p:nvPr userDrawn="1"/>
        </p:nvSpPr>
        <p:spPr bwMode="blackWhite">
          <a:xfrm>
            <a:off x="365760" y="6292888"/>
            <a:ext cx="11704320" cy="338554"/>
          </a:xfrm>
          <a:prstGeom prst="rect">
            <a:avLst/>
          </a:prstGeom>
          <a:noFill/>
          <a:ln w="12700">
            <a:noFill/>
            <a:miter lim="800000"/>
            <a:headEnd type="none" w="sm" len="sm"/>
            <a:tailEnd type="none" w="sm" len="sm"/>
          </a:ln>
          <a:effectLst/>
        </p:spPr>
        <p:txBody>
          <a:bodyPr vert="horz" wrap="square" lIns="91427" tIns="91427" rIns="91427" bIns="91427" numCol="1" anchor="t" anchorCtr="0" compatLnSpc="1">
            <a:prstTxWarp prst="textNoShape">
              <a:avLst/>
            </a:prstTxWarp>
            <a:spAutoFit/>
          </a:bodyPr>
          <a:lstStyle/>
          <a:p>
            <a:pPr defTabSz="932111" eaLnBrk="0" hangingPunct="0"/>
            <a:r>
              <a:rPr lang="en-US" sz="1000" dirty="0">
                <a:solidFill>
                  <a:srgbClr val="FFFFFF"/>
                </a:solidFill>
                <a:cs typeface="Segoe UI" pitchFamily="34" charset="0"/>
              </a:rPr>
              <a:t>© 2021 Microsoft Corporation. All rights reserved. </a:t>
            </a:r>
          </a:p>
        </p:txBody>
      </p:sp>
    </p:spTree>
    <p:extLst>
      <p:ext uri="{BB962C8B-B14F-4D97-AF65-F5344CB8AC3E}">
        <p14:creationId xmlns:p14="http://schemas.microsoft.com/office/powerpoint/2010/main" val="1088736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809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_Blank">
    <p:bg>
      <p:bgPr>
        <a:solidFill>
          <a:schemeClr val="bg1"/>
        </a:solidFill>
        <a:effectLst/>
      </p:bgPr>
    </p:bg>
    <p:spTree>
      <p:nvGrpSpPr>
        <p:cNvPr id="1" name=""/>
        <p:cNvGrpSpPr/>
        <p:nvPr/>
      </p:nvGrpSpPr>
      <p:grpSpPr>
        <a:xfrm>
          <a:off x="0" y="0"/>
          <a:ext cx="0" cy="0"/>
          <a:chOff x="0" y="0"/>
          <a:chExt cx="0" cy="0"/>
        </a:xfrm>
      </p:grpSpPr>
      <p:pic>
        <p:nvPicPr>
          <p:cNvPr id="2" name="Image">
            <a:extLst>
              <a:ext uri="{FF2B5EF4-FFF2-40B4-BE49-F238E27FC236}">
                <a16:creationId xmlns:a16="http://schemas.microsoft.com/office/drawing/2014/main" id="{E6EFA677-39F5-455D-8FE0-291F347D5BC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160" y="711878"/>
            <a:ext cx="12434727" cy="6278021"/>
          </a:xfrm>
          <a:prstGeom prst="rect">
            <a:avLst/>
          </a:prstGeom>
          <a:ln w="12700">
            <a:miter lim="400000"/>
          </a:ln>
        </p:spPr>
      </p:pic>
      <p:pic>
        <p:nvPicPr>
          <p:cNvPr id="3" name="Image">
            <a:extLst>
              <a:ext uri="{FF2B5EF4-FFF2-40B4-BE49-F238E27FC236}">
                <a16:creationId xmlns:a16="http://schemas.microsoft.com/office/drawing/2014/main" id="{7640CDC2-DF80-478A-B65C-714B629D380D}"/>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436475" cy="6994525"/>
          </a:xfrm>
          <a:prstGeom prst="rect">
            <a:avLst/>
          </a:prstGeom>
          <a:ln w="12700">
            <a:miter lim="400000"/>
          </a:ln>
        </p:spPr>
      </p:pic>
    </p:spTree>
    <p:extLst>
      <p:ext uri="{BB962C8B-B14F-4D97-AF65-F5344CB8AC3E}">
        <p14:creationId xmlns:p14="http://schemas.microsoft.com/office/powerpoint/2010/main" val="383570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Bla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72272C-1079-4398-9C1A-FB53F86251B2}"/>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l="714" r="-1"/>
          <a:stretch/>
        </p:blipFill>
        <p:spPr>
          <a:xfrm>
            <a:off x="-9948" y="0"/>
            <a:ext cx="12446424" cy="6994525"/>
          </a:xfrm>
          <a:prstGeom prst="rect">
            <a:avLst/>
          </a:prstGeom>
        </p:spPr>
      </p:pic>
    </p:spTree>
    <p:extLst>
      <p:ext uri="{BB962C8B-B14F-4D97-AF65-F5344CB8AC3E}">
        <p14:creationId xmlns:p14="http://schemas.microsoft.com/office/powerpoint/2010/main" val="50745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535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2091726"/>
          </a:xfrm>
        </p:spPr>
        <p:txBody>
          <a:bodyPr/>
          <a:lstStyle>
            <a:lvl1pPr marL="0" indent="0">
              <a:buNone/>
              <a:defRPr sz="3298">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38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2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59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3583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5"/>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28" tIns="182828" rIns="182828" bIns="182828" numCol="1" anchor="t" anchorCtr="0" compatLnSpc="1">
            <a:prstTxWarp prst="textNoShape">
              <a:avLst/>
            </a:prstTxWarp>
            <a:spAutoFit/>
          </a:bodyPr>
          <a:lstStyle/>
          <a:p>
            <a:pPr defTabSz="93193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black">
          <a:xfrm>
            <a:off x="460690" y="479425"/>
            <a:ext cx="1451843" cy="310896"/>
          </a:xfrm>
          <a:prstGeom prst="rect">
            <a:avLst/>
          </a:prstGeom>
        </p:spPr>
      </p:pic>
    </p:spTree>
    <p:extLst>
      <p:ext uri="{BB962C8B-B14F-4D97-AF65-F5344CB8AC3E}">
        <p14:creationId xmlns:p14="http://schemas.microsoft.com/office/powerpoint/2010/main" val="2723154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100280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43890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43890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43890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018088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42EF8-6B1F-400A-9A20-114102D5F2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41B3AC-6AA4-422C-B86D-B64F0B2FACFD}"/>
              </a:ext>
            </a:extLst>
          </p:cNvPr>
          <p:cNvSpPr>
            <a:spLocks noGrp="1"/>
          </p:cNvSpPr>
          <p:nvPr>
            <p:ph sz="half" idx="1"/>
          </p:nvPr>
        </p:nvSpPr>
        <p:spPr>
          <a:xfrm>
            <a:off x="855008" y="1861968"/>
            <a:ext cx="5285502" cy="25391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168CC79-293F-4B85-9767-52614A1FEA39}"/>
              </a:ext>
            </a:extLst>
          </p:cNvPr>
          <p:cNvSpPr>
            <a:spLocks noGrp="1"/>
          </p:cNvSpPr>
          <p:nvPr>
            <p:ph sz="half" idx="2"/>
          </p:nvPr>
        </p:nvSpPr>
        <p:spPr>
          <a:xfrm>
            <a:off x="6295965" y="1861968"/>
            <a:ext cx="5285502" cy="25391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348BCF7-4E18-4C3B-9F4B-216131A493A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B0437C5-BAC7-4966-8C99-9C6ACBADBB00}"/>
              </a:ext>
            </a:extLst>
          </p:cNvPr>
          <p:cNvSpPr>
            <a:spLocks noGrp="1"/>
          </p:cNvSpPr>
          <p:nvPr>
            <p:ph type="ftr" sz="quarter" idx="11"/>
          </p:nvPr>
        </p:nvSpPr>
        <p:spPr/>
        <p:txBody>
          <a:bodyPr/>
          <a:lstStyle/>
          <a:p>
            <a:r>
              <a:rPr lang="en-US"/>
              <a:t>Copyright Microsoft 2020</a:t>
            </a:r>
          </a:p>
        </p:txBody>
      </p:sp>
      <p:sp>
        <p:nvSpPr>
          <p:cNvPr id="7" name="Slide Number Placeholder 6">
            <a:extLst>
              <a:ext uri="{FF2B5EF4-FFF2-40B4-BE49-F238E27FC236}">
                <a16:creationId xmlns:a16="http://schemas.microsoft.com/office/drawing/2014/main" id="{59F7AAE8-F186-4692-BF4C-D85AC8E1E5EA}"/>
              </a:ext>
            </a:extLst>
          </p:cNvPr>
          <p:cNvSpPr>
            <a:spLocks noGrp="1"/>
          </p:cNvSpPr>
          <p:nvPr>
            <p:ph type="sldNum" sz="quarter" idx="12"/>
          </p:nvPr>
        </p:nvSpPr>
        <p:spPr/>
        <p:txBody>
          <a:bodyPr/>
          <a:lstStyle/>
          <a:p>
            <a:fld id="{620F2881-0855-4D29-8C87-10998E8A675D}" type="slidenum">
              <a:rPr lang="en-US" smtClean="0"/>
              <a:t>‹#›</a:t>
            </a:fld>
            <a:endParaRPr lang="en-US"/>
          </a:p>
        </p:txBody>
      </p:sp>
    </p:spTree>
    <p:extLst>
      <p:ext uri="{BB962C8B-B14F-4D97-AF65-F5344CB8AC3E}">
        <p14:creationId xmlns:p14="http://schemas.microsoft.com/office/powerpoint/2010/main" val="22882837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15949"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4136544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3_Title Slide 1">
    <p:bg>
      <p:bgPr>
        <a:solidFill>
          <a:schemeClr val="accent5"/>
        </a:solidFill>
        <a:effectLst/>
      </p:bgPr>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2EAC0B51-29ED-46EE-8020-7B5DDDE0D22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35" y="0"/>
            <a:ext cx="12414406" cy="6994525"/>
          </a:xfrm>
          <a:prstGeom prst="rect">
            <a:avLst/>
          </a:prstGeom>
        </p:spPr>
      </p:pic>
      <p:pic>
        <p:nvPicPr>
          <p:cNvPr id="46" name="logo2.png" descr="Microsoft logo white text version">
            <a:extLst>
              <a:ext uri="{FF2B5EF4-FFF2-40B4-BE49-F238E27FC236}">
                <a16:creationId xmlns:a16="http://schemas.microsoft.com/office/drawing/2014/main" id="{949EC0E1-ABBD-434E-8596-22A7BFBF9E4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48" name="Text Placeholder 21">
            <a:extLst>
              <a:ext uri="{FF2B5EF4-FFF2-40B4-BE49-F238E27FC236}">
                <a16:creationId xmlns:a16="http://schemas.microsoft.com/office/drawing/2014/main" id="{F8448931-932E-4D2F-A5CB-7F4B27FEC991}"/>
              </a:ext>
            </a:extLst>
          </p:cNvPr>
          <p:cNvSpPr>
            <a:spLocks noGrp="1"/>
          </p:cNvSpPr>
          <p:nvPr>
            <p:ph type="body" sz="quarter" idx="11" hasCustomPrompt="1"/>
          </p:nvPr>
        </p:nvSpPr>
        <p:spPr>
          <a:xfrm>
            <a:off x="658093" y="1850720"/>
            <a:ext cx="2523572" cy="237979"/>
          </a:xfrm>
        </p:spPr>
        <p:txBody>
          <a:bodyPr lIns="0" tIns="0" rIns="0" bIns="0" anchor="ctr"/>
          <a:lstStyle>
            <a:lvl1pPr marL="0" marR="0" indent="0" algn="l" defTabSz="932597" rtl="0" eaLnBrk="1" fontAlgn="auto" latinLnBrk="0" hangingPunct="1">
              <a:lnSpc>
                <a:spcPct val="140000"/>
              </a:lnSpc>
              <a:spcBef>
                <a:spcPts val="0"/>
              </a:spcBef>
              <a:spcAft>
                <a:spcPts val="0"/>
              </a:spcAft>
              <a:buClrTx/>
              <a:buSzTx/>
              <a:buFontTx/>
              <a:buNone/>
              <a:tabLst/>
              <a:defRPr sz="1428" cap="all" spc="357">
                <a:solidFill>
                  <a:schemeClr val="accent1"/>
                </a:solidFill>
                <a:latin typeface="Segoe UI"/>
                <a:cs typeface="Segoe UI"/>
                <a:sym typeface="Segoe UI"/>
              </a:defRPr>
            </a:lvl1pPr>
          </a:lstStyle>
          <a:p>
            <a:pPr marL="0" marR="0" lvl="0" indent="0" algn="l" defTabSz="932597" rtl="0" eaLnBrk="1" fontAlgn="auto" latinLnBrk="0" hangingPunct="1">
              <a:lnSpc>
                <a:spcPct val="140000"/>
              </a:lnSpc>
              <a:spcBef>
                <a:spcPts val="0"/>
              </a:spcBef>
              <a:spcAft>
                <a:spcPts val="0"/>
              </a:spcAft>
              <a:buClrTx/>
              <a:buSzTx/>
              <a:buFontTx/>
              <a:buNone/>
              <a:tabLst/>
              <a:defRPr sz="1400" cap="all" spc="350">
                <a:solidFill>
                  <a:srgbClr val="50E6FF"/>
                </a:solidFill>
                <a:latin typeface="Segoe UI"/>
                <a:ea typeface="Segoe UI"/>
                <a:cs typeface="Segoe UI"/>
                <a:sym typeface="Segoe UI"/>
              </a:defRPr>
            </a:pPr>
            <a:r>
              <a:rPr kumimoji="0" lang="en-US" sz="1224" b="0" i="0" u="none" strike="noStrike" kern="1200" cap="all" spc="357" normalizeH="0" baseline="0" noProof="0">
                <a:ln>
                  <a:noFill/>
                </a:ln>
                <a:solidFill>
                  <a:srgbClr val="0078D7"/>
                </a:solidFill>
                <a:effectLst/>
                <a:uLnTx/>
                <a:uFillTx/>
                <a:latin typeface="Segoe UI"/>
                <a:cs typeface="Segoe UI"/>
                <a:sym typeface="Segoe UI"/>
              </a:rPr>
              <a:t>LOREM IPSUM</a:t>
            </a:r>
          </a:p>
        </p:txBody>
      </p:sp>
      <p:sp>
        <p:nvSpPr>
          <p:cNvPr id="47" name="Text Placeholder 18">
            <a:extLst>
              <a:ext uri="{FF2B5EF4-FFF2-40B4-BE49-F238E27FC236}">
                <a16:creationId xmlns:a16="http://schemas.microsoft.com/office/drawing/2014/main" id="{2875D487-12D4-44C9-84B1-9E3763D865AE}"/>
              </a:ext>
            </a:extLst>
          </p:cNvPr>
          <p:cNvSpPr>
            <a:spLocks noGrp="1"/>
          </p:cNvSpPr>
          <p:nvPr>
            <p:ph type="body" sz="quarter" idx="10"/>
          </p:nvPr>
        </p:nvSpPr>
        <p:spPr>
          <a:xfrm>
            <a:off x="638017" y="2404368"/>
            <a:ext cx="6552312" cy="1600908"/>
          </a:xfrm>
        </p:spPr>
        <p:txBody>
          <a:bodyPr lIns="0"/>
          <a:lstStyle>
            <a:lvl1pPr marL="0" indent="0">
              <a:buNone/>
              <a:defRPr sz="5100">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259063412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3090002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16_Title Only without graphic">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55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6_Title Only with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92429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114C0C7-DC16-4A7F-AD73-F1DE0984F4CE}"/>
              </a:ext>
            </a:extLst>
          </p:cNvPr>
          <p:cNvSpPr/>
          <p:nvPr/>
        </p:nvSpPr>
        <p:spPr bwMode="auto">
          <a:xfrm>
            <a:off x="1" y="0"/>
            <a:ext cx="12436475" cy="70011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D9B3B345-D9EA-4EF1-A25F-4FF0E7AA256E}"/>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r="16311" b="46159"/>
          <a:stretch/>
        </p:blipFill>
        <p:spPr>
          <a:xfrm>
            <a:off x="6733841" y="4950273"/>
            <a:ext cx="5682181" cy="2055898"/>
          </a:xfrm>
          <a:prstGeom prst="rect">
            <a:avLst/>
          </a:prstGeom>
        </p:spPr>
      </p:pic>
      <p:pic>
        <p:nvPicPr>
          <p:cNvPr id="5" name="Graphic 4">
            <a:extLst>
              <a:ext uri="{FF2B5EF4-FFF2-40B4-BE49-F238E27FC236}">
                <a16:creationId xmlns:a16="http://schemas.microsoft.com/office/drawing/2014/main" id="{4FB25452-8D6E-4B6D-802C-C7A8E49A7C2E}"/>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r="59712" b="46159"/>
          <a:stretch/>
        </p:blipFill>
        <p:spPr>
          <a:xfrm>
            <a:off x="9699300" y="2902841"/>
            <a:ext cx="2735427" cy="2055898"/>
          </a:xfrm>
          <a:prstGeom prst="rect">
            <a:avLst/>
          </a:prstGeom>
        </p:spPr>
      </p:pic>
      <p:pic>
        <p:nvPicPr>
          <p:cNvPr id="6" name="Graphic 5">
            <a:extLst>
              <a:ext uri="{FF2B5EF4-FFF2-40B4-BE49-F238E27FC236}">
                <a16:creationId xmlns:a16="http://schemas.microsoft.com/office/drawing/2014/main" id="{707C3700-F39C-4396-90C0-1FB3E9FE7ECF}"/>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r="59902" b="46159"/>
          <a:stretch/>
        </p:blipFill>
        <p:spPr>
          <a:xfrm>
            <a:off x="9714003" y="846944"/>
            <a:ext cx="2722472" cy="2055898"/>
          </a:xfrm>
          <a:prstGeom prst="rect">
            <a:avLst/>
          </a:prstGeom>
        </p:spPr>
      </p:pic>
      <p:sp>
        <p:nvSpPr>
          <p:cNvPr id="18" name="Freeform: Shape 17">
            <a:extLst>
              <a:ext uri="{FF2B5EF4-FFF2-40B4-BE49-F238E27FC236}">
                <a16:creationId xmlns:a16="http://schemas.microsoft.com/office/drawing/2014/main" id="{FCBC923B-A160-4D2C-83B3-B9B2030BFBE5}"/>
              </a:ext>
            </a:extLst>
          </p:cNvPr>
          <p:cNvSpPr/>
          <p:nvPr/>
        </p:nvSpPr>
        <p:spPr bwMode="auto">
          <a:xfrm>
            <a:off x="8018254" y="0"/>
            <a:ext cx="4418221" cy="4924800"/>
          </a:xfrm>
          <a:custGeom>
            <a:avLst/>
            <a:gdLst>
              <a:gd name="connsiteX0" fmla="*/ 0 w 4331368"/>
              <a:gd name="connsiteY0" fmla="*/ 0 h 4828674"/>
              <a:gd name="connsiteX1" fmla="*/ 4331368 w 4331368"/>
              <a:gd name="connsiteY1" fmla="*/ 0 h 4828674"/>
              <a:gd name="connsiteX2" fmla="*/ 4331368 w 4331368"/>
              <a:gd name="connsiteY2" fmla="*/ 1604211 h 4828674"/>
              <a:gd name="connsiteX3" fmla="*/ 1796715 w 4331368"/>
              <a:gd name="connsiteY3" fmla="*/ 4219074 h 4828674"/>
              <a:gd name="connsiteX4" fmla="*/ 1604210 w 4331368"/>
              <a:gd name="connsiteY4" fmla="*/ 4700337 h 4828674"/>
              <a:gd name="connsiteX5" fmla="*/ 1556084 w 4331368"/>
              <a:gd name="connsiteY5" fmla="*/ 4828674 h 4828674"/>
              <a:gd name="connsiteX6" fmla="*/ 0 w 4331368"/>
              <a:gd name="connsiteY6" fmla="*/ 4828674 h 482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1368" h="4828674">
                <a:moveTo>
                  <a:pt x="0" y="0"/>
                </a:moveTo>
                <a:lnTo>
                  <a:pt x="4331368" y="0"/>
                </a:lnTo>
                <a:lnTo>
                  <a:pt x="4331368" y="1604211"/>
                </a:lnTo>
                <a:lnTo>
                  <a:pt x="1796715" y="4219074"/>
                </a:lnTo>
                <a:lnTo>
                  <a:pt x="1604210" y="4700337"/>
                </a:lnTo>
                <a:lnTo>
                  <a:pt x="1556084" y="4828674"/>
                </a:lnTo>
                <a:lnTo>
                  <a:pt x="0" y="4828674"/>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576E1436-6F0B-44D9-AEFB-433D64F62182}"/>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632" b="46159"/>
          <a:stretch/>
        </p:blipFill>
        <p:spPr>
          <a:xfrm>
            <a:off x="0" y="4950272"/>
            <a:ext cx="6746795" cy="2055897"/>
          </a:xfrm>
          <a:prstGeom prst="rect">
            <a:avLst/>
          </a:prstGeom>
        </p:spPr>
      </p:pic>
      <p:pic>
        <p:nvPicPr>
          <p:cNvPr id="9" name="Graphic 8">
            <a:extLst>
              <a:ext uri="{FF2B5EF4-FFF2-40B4-BE49-F238E27FC236}">
                <a16:creationId xmlns:a16="http://schemas.microsoft.com/office/drawing/2014/main" id="{33457663-0772-4BBB-AC89-C4B15E9644F9}"/>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34485" t="45404" r="34374" b="35092"/>
          <a:stretch/>
        </p:blipFill>
        <p:spPr>
          <a:xfrm rot="10800000" flipH="1">
            <a:off x="0" y="5022529"/>
            <a:ext cx="4866760" cy="1971995"/>
          </a:xfrm>
          <a:prstGeom prst="rect">
            <a:avLst/>
          </a:prstGeom>
        </p:spPr>
      </p:pic>
      <p:pic>
        <p:nvPicPr>
          <p:cNvPr id="10" name="Graphic 9">
            <a:extLst>
              <a:ext uri="{FF2B5EF4-FFF2-40B4-BE49-F238E27FC236}">
                <a16:creationId xmlns:a16="http://schemas.microsoft.com/office/drawing/2014/main" id="{3DC8D463-2EC6-48A8-A344-1FE585C641EF}"/>
              </a:ext>
            </a:extLst>
          </p:cNvPr>
          <p:cNvPicPr>
            <a:picLocks noChangeAspect="1"/>
          </p:cNvPicPr>
          <p:nvPr/>
        </p:nvPicPr>
        <p:blipFill rotWithShape="1">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rcRect l="23272" t="35419" r="4468" b="36428"/>
          <a:stretch/>
        </p:blipFill>
        <p:spPr>
          <a:xfrm>
            <a:off x="1" y="2404384"/>
            <a:ext cx="12436476" cy="2694464"/>
          </a:xfrm>
          <a:prstGeom prst="rect">
            <a:avLst/>
          </a:prstGeom>
        </p:spPr>
      </p:pic>
      <p:pic>
        <p:nvPicPr>
          <p:cNvPr id="13" name="Graphic 12">
            <a:extLst>
              <a:ext uri="{FF2B5EF4-FFF2-40B4-BE49-F238E27FC236}">
                <a16:creationId xmlns:a16="http://schemas.microsoft.com/office/drawing/2014/main" id="{5AC62215-6BE7-496D-90F9-6FAB23C011B7}"/>
              </a:ext>
            </a:extLst>
          </p:cNvPr>
          <p:cNvPicPr>
            <a:picLocks noChangeAspect="1"/>
          </p:cNvPicPr>
          <p:nvPr/>
        </p:nvPicPr>
        <p:blipFill rotWithShape="1">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3354" t="16222" r="57432" b="23454"/>
          <a:stretch/>
        </p:blipFill>
        <p:spPr>
          <a:xfrm>
            <a:off x="9284971" y="593174"/>
            <a:ext cx="3151505" cy="6401352"/>
          </a:xfrm>
          <a:prstGeom prst="rect">
            <a:avLst/>
          </a:prstGeom>
        </p:spPr>
      </p:pic>
      <p:pic>
        <p:nvPicPr>
          <p:cNvPr id="15" name="logo2.png" descr="logo2.png">
            <a:extLst>
              <a:ext uri="{FF2B5EF4-FFF2-40B4-BE49-F238E27FC236}">
                <a16:creationId xmlns:a16="http://schemas.microsoft.com/office/drawing/2014/main" id="{B890FFA7-3A8B-434C-A7FF-E48D67BA31B4}"/>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4896">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7" name="Text Placeholder 18">
            <a:extLst>
              <a:ext uri="{FF2B5EF4-FFF2-40B4-BE49-F238E27FC236}">
                <a16:creationId xmlns:a16="http://schemas.microsoft.com/office/drawing/2014/main" id="{64FE65B8-E9AC-49ED-A487-E114C793B81B}"/>
              </a:ext>
            </a:extLst>
          </p:cNvPr>
          <p:cNvSpPr>
            <a:spLocks noGrp="1"/>
          </p:cNvSpPr>
          <p:nvPr>
            <p:ph type="body" sz="quarter" idx="12" hasCustomPrompt="1"/>
          </p:nvPr>
        </p:nvSpPr>
        <p:spPr>
          <a:xfrm>
            <a:off x="638017" y="4164198"/>
            <a:ext cx="6552312" cy="357850"/>
          </a:xfrm>
        </p:spPr>
        <p:txBody>
          <a:bodyPr lIns="0"/>
          <a:lstStyle>
            <a:lvl1pPr marL="0" indent="0">
              <a:buNone/>
              <a:defRPr sz="1224" spc="306">
                <a:solidFill>
                  <a:schemeClr val="bg1"/>
                </a:solidFill>
                <a:latin typeface="+mn-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LOREM IPSUM</a:t>
            </a:r>
          </a:p>
        </p:txBody>
      </p:sp>
      <p:sp>
        <p:nvSpPr>
          <p:cNvPr id="19" name="Oval 18">
            <a:extLst>
              <a:ext uri="{FF2B5EF4-FFF2-40B4-BE49-F238E27FC236}">
                <a16:creationId xmlns:a16="http://schemas.microsoft.com/office/drawing/2014/main" id="{3C4794C2-A436-4AFD-AD5D-A51BB29B7CEE}"/>
              </a:ext>
            </a:extLst>
          </p:cNvPr>
          <p:cNvSpPr/>
          <p:nvPr userDrawn="1"/>
        </p:nvSpPr>
        <p:spPr bwMode="auto">
          <a:xfrm>
            <a:off x="1938975" y="5400953"/>
            <a:ext cx="121256" cy="121238"/>
          </a:xfrm>
          <a:prstGeom prst="ellipse">
            <a:avLst/>
          </a:prstGeom>
          <a:solidFill>
            <a:srgbClr val="2B78D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a:extLst>
              <a:ext uri="{FF2B5EF4-FFF2-40B4-BE49-F238E27FC236}">
                <a16:creationId xmlns:a16="http://schemas.microsoft.com/office/drawing/2014/main" id="{EF7E19FC-85FD-4DF7-A854-FCD110A267D9}"/>
              </a:ext>
            </a:extLst>
          </p:cNvPr>
          <p:cNvSpPr/>
          <p:nvPr userDrawn="1"/>
        </p:nvSpPr>
        <p:spPr bwMode="auto">
          <a:xfrm>
            <a:off x="5909657" y="4852024"/>
            <a:ext cx="121256" cy="121238"/>
          </a:xfrm>
          <a:prstGeom prst="ellipse">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a:extLst>
              <a:ext uri="{FF2B5EF4-FFF2-40B4-BE49-F238E27FC236}">
                <a16:creationId xmlns:a16="http://schemas.microsoft.com/office/drawing/2014/main" id="{E94F93FD-0D58-48D7-96EF-8342EF1959A7}"/>
              </a:ext>
            </a:extLst>
          </p:cNvPr>
          <p:cNvSpPr/>
          <p:nvPr userDrawn="1"/>
        </p:nvSpPr>
        <p:spPr bwMode="auto">
          <a:xfrm>
            <a:off x="11195159" y="2793492"/>
            <a:ext cx="121256" cy="121238"/>
          </a:xfrm>
          <a:prstGeom prst="ellipse">
            <a:avLst/>
          </a:prstGeom>
          <a:solidFill>
            <a:srgbClr val="FFFF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2928934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114C0C7-DC16-4A7F-AD73-F1DE0984F4CE}"/>
              </a:ext>
            </a:extLst>
          </p:cNvPr>
          <p:cNvSpPr/>
          <p:nvPr/>
        </p:nvSpPr>
        <p:spPr bwMode="auto">
          <a:xfrm>
            <a:off x="1" y="0"/>
            <a:ext cx="12436475" cy="70011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D9B3B345-D9EA-4EF1-A25F-4FF0E7AA256E}"/>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r="16311" b="46159"/>
          <a:stretch/>
        </p:blipFill>
        <p:spPr>
          <a:xfrm>
            <a:off x="6733841" y="4950273"/>
            <a:ext cx="5682181" cy="2055898"/>
          </a:xfrm>
          <a:prstGeom prst="rect">
            <a:avLst/>
          </a:prstGeom>
        </p:spPr>
      </p:pic>
      <p:pic>
        <p:nvPicPr>
          <p:cNvPr id="5" name="Graphic 4">
            <a:extLst>
              <a:ext uri="{FF2B5EF4-FFF2-40B4-BE49-F238E27FC236}">
                <a16:creationId xmlns:a16="http://schemas.microsoft.com/office/drawing/2014/main" id="{4FB25452-8D6E-4B6D-802C-C7A8E49A7C2E}"/>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r="59712" b="46159"/>
          <a:stretch/>
        </p:blipFill>
        <p:spPr>
          <a:xfrm>
            <a:off x="9699300" y="2902841"/>
            <a:ext cx="2735427" cy="2055898"/>
          </a:xfrm>
          <a:prstGeom prst="rect">
            <a:avLst/>
          </a:prstGeom>
        </p:spPr>
      </p:pic>
      <p:pic>
        <p:nvPicPr>
          <p:cNvPr id="6" name="Graphic 5">
            <a:extLst>
              <a:ext uri="{FF2B5EF4-FFF2-40B4-BE49-F238E27FC236}">
                <a16:creationId xmlns:a16="http://schemas.microsoft.com/office/drawing/2014/main" id="{707C3700-F39C-4396-90C0-1FB3E9FE7ECF}"/>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r="59902" b="46159"/>
          <a:stretch/>
        </p:blipFill>
        <p:spPr>
          <a:xfrm>
            <a:off x="9714003" y="846944"/>
            <a:ext cx="2722472" cy="2055898"/>
          </a:xfrm>
          <a:prstGeom prst="rect">
            <a:avLst/>
          </a:prstGeom>
        </p:spPr>
      </p:pic>
      <p:sp>
        <p:nvSpPr>
          <p:cNvPr id="18" name="Freeform: Shape 17">
            <a:extLst>
              <a:ext uri="{FF2B5EF4-FFF2-40B4-BE49-F238E27FC236}">
                <a16:creationId xmlns:a16="http://schemas.microsoft.com/office/drawing/2014/main" id="{FCBC923B-A160-4D2C-83B3-B9B2030BFBE5}"/>
              </a:ext>
            </a:extLst>
          </p:cNvPr>
          <p:cNvSpPr/>
          <p:nvPr/>
        </p:nvSpPr>
        <p:spPr bwMode="auto">
          <a:xfrm>
            <a:off x="8018254" y="0"/>
            <a:ext cx="4418221" cy="4924800"/>
          </a:xfrm>
          <a:custGeom>
            <a:avLst/>
            <a:gdLst>
              <a:gd name="connsiteX0" fmla="*/ 0 w 4331368"/>
              <a:gd name="connsiteY0" fmla="*/ 0 h 4828674"/>
              <a:gd name="connsiteX1" fmla="*/ 4331368 w 4331368"/>
              <a:gd name="connsiteY1" fmla="*/ 0 h 4828674"/>
              <a:gd name="connsiteX2" fmla="*/ 4331368 w 4331368"/>
              <a:gd name="connsiteY2" fmla="*/ 1604211 h 4828674"/>
              <a:gd name="connsiteX3" fmla="*/ 1796715 w 4331368"/>
              <a:gd name="connsiteY3" fmla="*/ 4219074 h 4828674"/>
              <a:gd name="connsiteX4" fmla="*/ 1604210 w 4331368"/>
              <a:gd name="connsiteY4" fmla="*/ 4700337 h 4828674"/>
              <a:gd name="connsiteX5" fmla="*/ 1556084 w 4331368"/>
              <a:gd name="connsiteY5" fmla="*/ 4828674 h 4828674"/>
              <a:gd name="connsiteX6" fmla="*/ 0 w 4331368"/>
              <a:gd name="connsiteY6" fmla="*/ 4828674 h 482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1368" h="4828674">
                <a:moveTo>
                  <a:pt x="0" y="0"/>
                </a:moveTo>
                <a:lnTo>
                  <a:pt x="4331368" y="0"/>
                </a:lnTo>
                <a:lnTo>
                  <a:pt x="4331368" y="1604211"/>
                </a:lnTo>
                <a:lnTo>
                  <a:pt x="1796715" y="4219074"/>
                </a:lnTo>
                <a:lnTo>
                  <a:pt x="1604210" y="4700337"/>
                </a:lnTo>
                <a:lnTo>
                  <a:pt x="1556084" y="4828674"/>
                </a:lnTo>
                <a:lnTo>
                  <a:pt x="0" y="482867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576E1436-6F0B-44D9-AEFB-433D64F62182}"/>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632" b="46159"/>
          <a:stretch/>
        </p:blipFill>
        <p:spPr>
          <a:xfrm>
            <a:off x="0" y="4950272"/>
            <a:ext cx="6746795" cy="2055897"/>
          </a:xfrm>
          <a:prstGeom prst="rect">
            <a:avLst/>
          </a:prstGeom>
        </p:spPr>
      </p:pic>
      <p:pic>
        <p:nvPicPr>
          <p:cNvPr id="9" name="Graphic 8">
            <a:extLst>
              <a:ext uri="{FF2B5EF4-FFF2-40B4-BE49-F238E27FC236}">
                <a16:creationId xmlns:a16="http://schemas.microsoft.com/office/drawing/2014/main" id="{33457663-0772-4BBB-AC89-C4B15E9644F9}"/>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34485" t="45404" r="34374" b="35092"/>
          <a:stretch/>
        </p:blipFill>
        <p:spPr>
          <a:xfrm rot="10800000" flipH="1">
            <a:off x="0" y="5022529"/>
            <a:ext cx="4866760" cy="1971995"/>
          </a:xfrm>
          <a:prstGeom prst="rect">
            <a:avLst/>
          </a:prstGeom>
        </p:spPr>
      </p:pic>
      <p:pic>
        <p:nvPicPr>
          <p:cNvPr id="10" name="Graphic 9">
            <a:extLst>
              <a:ext uri="{FF2B5EF4-FFF2-40B4-BE49-F238E27FC236}">
                <a16:creationId xmlns:a16="http://schemas.microsoft.com/office/drawing/2014/main" id="{3DC8D463-2EC6-48A8-A344-1FE585C641EF}"/>
              </a:ext>
            </a:extLst>
          </p:cNvPr>
          <p:cNvPicPr>
            <a:picLocks noChangeAspect="1"/>
          </p:cNvPicPr>
          <p:nvPr/>
        </p:nvPicPr>
        <p:blipFill rotWithShape="1">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rcRect l="23272" t="35419" r="4468" b="36428"/>
          <a:stretch/>
        </p:blipFill>
        <p:spPr>
          <a:xfrm>
            <a:off x="1" y="2404384"/>
            <a:ext cx="12436476" cy="2694464"/>
          </a:xfrm>
          <a:prstGeom prst="rect">
            <a:avLst/>
          </a:prstGeom>
        </p:spPr>
      </p:pic>
      <p:pic>
        <p:nvPicPr>
          <p:cNvPr id="13" name="Graphic 12">
            <a:extLst>
              <a:ext uri="{FF2B5EF4-FFF2-40B4-BE49-F238E27FC236}">
                <a16:creationId xmlns:a16="http://schemas.microsoft.com/office/drawing/2014/main" id="{5AC62215-6BE7-496D-90F9-6FAB23C011B7}"/>
              </a:ext>
            </a:extLst>
          </p:cNvPr>
          <p:cNvPicPr>
            <a:picLocks noChangeAspect="1"/>
          </p:cNvPicPr>
          <p:nvPr/>
        </p:nvPicPr>
        <p:blipFill rotWithShape="1">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3354" t="16222" r="57432" b="23454"/>
          <a:stretch/>
        </p:blipFill>
        <p:spPr>
          <a:xfrm>
            <a:off x="9284971" y="593174"/>
            <a:ext cx="3151505" cy="6401352"/>
          </a:xfrm>
          <a:prstGeom prst="rect">
            <a:avLst/>
          </a:prstGeom>
        </p:spPr>
      </p:pic>
      <p:pic>
        <p:nvPicPr>
          <p:cNvPr id="15" name="logo2.png" descr="logo2.png">
            <a:extLst>
              <a:ext uri="{FF2B5EF4-FFF2-40B4-BE49-F238E27FC236}">
                <a16:creationId xmlns:a16="http://schemas.microsoft.com/office/drawing/2014/main" id="{B890FFA7-3A8B-434C-A7FF-E48D67BA31B4}"/>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4896">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7" name="Text Placeholder 18">
            <a:extLst>
              <a:ext uri="{FF2B5EF4-FFF2-40B4-BE49-F238E27FC236}">
                <a16:creationId xmlns:a16="http://schemas.microsoft.com/office/drawing/2014/main" id="{3297221A-24DF-4562-B793-E0BDCFE44351}"/>
              </a:ext>
            </a:extLst>
          </p:cNvPr>
          <p:cNvSpPr>
            <a:spLocks noGrp="1"/>
          </p:cNvSpPr>
          <p:nvPr>
            <p:ph type="body" sz="quarter" idx="12" hasCustomPrompt="1"/>
          </p:nvPr>
        </p:nvSpPr>
        <p:spPr>
          <a:xfrm>
            <a:off x="638017" y="4164198"/>
            <a:ext cx="6552312" cy="357850"/>
          </a:xfrm>
        </p:spPr>
        <p:txBody>
          <a:bodyPr lIns="0"/>
          <a:lstStyle>
            <a:lvl1pPr marL="0" indent="0">
              <a:buNone/>
              <a:defRPr sz="1224" spc="306">
                <a:solidFill>
                  <a:schemeClr val="bg1"/>
                </a:solidFill>
                <a:latin typeface="+mn-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LOREM IPSUM</a:t>
            </a:r>
          </a:p>
        </p:txBody>
      </p:sp>
      <p:sp>
        <p:nvSpPr>
          <p:cNvPr id="19" name="Oval 18">
            <a:extLst>
              <a:ext uri="{FF2B5EF4-FFF2-40B4-BE49-F238E27FC236}">
                <a16:creationId xmlns:a16="http://schemas.microsoft.com/office/drawing/2014/main" id="{7CD01B21-AC48-4BAC-8D48-A1599F4E4F30}"/>
              </a:ext>
            </a:extLst>
          </p:cNvPr>
          <p:cNvSpPr/>
          <p:nvPr userDrawn="1"/>
        </p:nvSpPr>
        <p:spPr bwMode="auto">
          <a:xfrm>
            <a:off x="1938975" y="5400953"/>
            <a:ext cx="121256" cy="121238"/>
          </a:xfrm>
          <a:prstGeom prst="ellipse">
            <a:avLst/>
          </a:prstGeom>
          <a:solidFill>
            <a:srgbClr val="2B78D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a:extLst>
              <a:ext uri="{FF2B5EF4-FFF2-40B4-BE49-F238E27FC236}">
                <a16:creationId xmlns:a16="http://schemas.microsoft.com/office/drawing/2014/main" id="{08DFDEC9-6915-40D1-8F31-195043CAC35C}"/>
              </a:ext>
            </a:extLst>
          </p:cNvPr>
          <p:cNvSpPr/>
          <p:nvPr userDrawn="1"/>
        </p:nvSpPr>
        <p:spPr bwMode="auto">
          <a:xfrm>
            <a:off x="5909657" y="4852024"/>
            <a:ext cx="121256" cy="121238"/>
          </a:xfrm>
          <a:prstGeom prst="ellipse">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a:extLst>
              <a:ext uri="{FF2B5EF4-FFF2-40B4-BE49-F238E27FC236}">
                <a16:creationId xmlns:a16="http://schemas.microsoft.com/office/drawing/2014/main" id="{FCFFAD0E-82F3-4A77-9618-E0EA0413F094}"/>
              </a:ext>
            </a:extLst>
          </p:cNvPr>
          <p:cNvSpPr/>
          <p:nvPr userDrawn="1"/>
        </p:nvSpPr>
        <p:spPr bwMode="auto">
          <a:xfrm>
            <a:off x="11195159" y="2793492"/>
            <a:ext cx="121256" cy="121238"/>
          </a:xfrm>
          <a:prstGeom prst="ellipse">
            <a:avLst/>
          </a:prstGeom>
          <a:solidFill>
            <a:srgbClr val="FFFF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83519283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114C0C7-DC16-4A7F-AD73-F1DE0984F4CE}"/>
              </a:ext>
            </a:extLst>
          </p:cNvPr>
          <p:cNvSpPr/>
          <p:nvPr/>
        </p:nvSpPr>
        <p:spPr bwMode="auto">
          <a:xfrm>
            <a:off x="1" y="0"/>
            <a:ext cx="12436475" cy="700110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D9B3B345-D9EA-4EF1-A25F-4FF0E7AA256E}"/>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r="16311" b="46159"/>
          <a:stretch/>
        </p:blipFill>
        <p:spPr>
          <a:xfrm>
            <a:off x="6733841" y="4950273"/>
            <a:ext cx="5682181" cy="2055898"/>
          </a:xfrm>
          <a:prstGeom prst="rect">
            <a:avLst/>
          </a:prstGeom>
        </p:spPr>
      </p:pic>
      <p:pic>
        <p:nvPicPr>
          <p:cNvPr id="5" name="Graphic 4">
            <a:extLst>
              <a:ext uri="{FF2B5EF4-FFF2-40B4-BE49-F238E27FC236}">
                <a16:creationId xmlns:a16="http://schemas.microsoft.com/office/drawing/2014/main" id="{4FB25452-8D6E-4B6D-802C-C7A8E49A7C2E}"/>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r="59712" b="46159"/>
          <a:stretch/>
        </p:blipFill>
        <p:spPr>
          <a:xfrm>
            <a:off x="9699300" y="2902841"/>
            <a:ext cx="2735427" cy="2055898"/>
          </a:xfrm>
          <a:prstGeom prst="rect">
            <a:avLst/>
          </a:prstGeom>
        </p:spPr>
      </p:pic>
      <p:pic>
        <p:nvPicPr>
          <p:cNvPr id="6" name="Graphic 5">
            <a:extLst>
              <a:ext uri="{FF2B5EF4-FFF2-40B4-BE49-F238E27FC236}">
                <a16:creationId xmlns:a16="http://schemas.microsoft.com/office/drawing/2014/main" id="{707C3700-F39C-4396-90C0-1FB3E9FE7ECF}"/>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r="59902" b="46159"/>
          <a:stretch/>
        </p:blipFill>
        <p:spPr>
          <a:xfrm>
            <a:off x="9714003" y="846944"/>
            <a:ext cx="2722472" cy="2055898"/>
          </a:xfrm>
          <a:prstGeom prst="rect">
            <a:avLst/>
          </a:prstGeom>
        </p:spPr>
      </p:pic>
      <p:sp>
        <p:nvSpPr>
          <p:cNvPr id="18" name="Freeform: Shape 17">
            <a:extLst>
              <a:ext uri="{FF2B5EF4-FFF2-40B4-BE49-F238E27FC236}">
                <a16:creationId xmlns:a16="http://schemas.microsoft.com/office/drawing/2014/main" id="{FCBC923B-A160-4D2C-83B3-B9B2030BFBE5}"/>
              </a:ext>
            </a:extLst>
          </p:cNvPr>
          <p:cNvSpPr/>
          <p:nvPr/>
        </p:nvSpPr>
        <p:spPr bwMode="auto">
          <a:xfrm>
            <a:off x="8018254" y="0"/>
            <a:ext cx="4418221" cy="4924800"/>
          </a:xfrm>
          <a:custGeom>
            <a:avLst/>
            <a:gdLst>
              <a:gd name="connsiteX0" fmla="*/ 0 w 4331368"/>
              <a:gd name="connsiteY0" fmla="*/ 0 h 4828674"/>
              <a:gd name="connsiteX1" fmla="*/ 4331368 w 4331368"/>
              <a:gd name="connsiteY1" fmla="*/ 0 h 4828674"/>
              <a:gd name="connsiteX2" fmla="*/ 4331368 w 4331368"/>
              <a:gd name="connsiteY2" fmla="*/ 1604211 h 4828674"/>
              <a:gd name="connsiteX3" fmla="*/ 1796715 w 4331368"/>
              <a:gd name="connsiteY3" fmla="*/ 4219074 h 4828674"/>
              <a:gd name="connsiteX4" fmla="*/ 1604210 w 4331368"/>
              <a:gd name="connsiteY4" fmla="*/ 4700337 h 4828674"/>
              <a:gd name="connsiteX5" fmla="*/ 1556084 w 4331368"/>
              <a:gd name="connsiteY5" fmla="*/ 4828674 h 4828674"/>
              <a:gd name="connsiteX6" fmla="*/ 0 w 4331368"/>
              <a:gd name="connsiteY6" fmla="*/ 4828674 h 482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1368" h="4828674">
                <a:moveTo>
                  <a:pt x="0" y="0"/>
                </a:moveTo>
                <a:lnTo>
                  <a:pt x="4331368" y="0"/>
                </a:lnTo>
                <a:lnTo>
                  <a:pt x="4331368" y="1604211"/>
                </a:lnTo>
                <a:lnTo>
                  <a:pt x="1796715" y="4219074"/>
                </a:lnTo>
                <a:lnTo>
                  <a:pt x="1604210" y="4700337"/>
                </a:lnTo>
                <a:lnTo>
                  <a:pt x="1556084" y="4828674"/>
                </a:lnTo>
                <a:lnTo>
                  <a:pt x="0" y="4828674"/>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576E1436-6F0B-44D9-AEFB-433D64F62182}"/>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632" b="46159"/>
          <a:stretch/>
        </p:blipFill>
        <p:spPr>
          <a:xfrm>
            <a:off x="0" y="4950272"/>
            <a:ext cx="6746795" cy="2055897"/>
          </a:xfrm>
          <a:prstGeom prst="rect">
            <a:avLst/>
          </a:prstGeom>
        </p:spPr>
      </p:pic>
      <p:pic>
        <p:nvPicPr>
          <p:cNvPr id="9" name="Graphic 8">
            <a:extLst>
              <a:ext uri="{FF2B5EF4-FFF2-40B4-BE49-F238E27FC236}">
                <a16:creationId xmlns:a16="http://schemas.microsoft.com/office/drawing/2014/main" id="{33457663-0772-4BBB-AC89-C4B15E9644F9}"/>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34485" t="45404" r="34374" b="35092"/>
          <a:stretch/>
        </p:blipFill>
        <p:spPr>
          <a:xfrm rot="10800000" flipH="1">
            <a:off x="0" y="5022529"/>
            <a:ext cx="4866760" cy="1971995"/>
          </a:xfrm>
          <a:prstGeom prst="rect">
            <a:avLst/>
          </a:prstGeom>
        </p:spPr>
      </p:pic>
      <p:pic>
        <p:nvPicPr>
          <p:cNvPr id="10" name="Graphic 9">
            <a:extLst>
              <a:ext uri="{FF2B5EF4-FFF2-40B4-BE49-F238E27FC236}">
                <a16:creationId xmlns:a16="http://schemas.microsoft.com/office/drawing/2014/main" id="{3DC8D463-2EC6-48A8-A344-1FE585C641EF}"/>
              </a:ext>
            </a:extLst>
          </p:cNvPr>
          <p:cNvPicPr>
            <a:picLocks noChangeAspect="1"/>
          </p:cNvPicPr>
          <p:nvPr/>
        </p:nvPicPr>
        <p:blipFill rotWithShape="1">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rcRect l="23272" t="35419" r="4468" b="36428"/>
          <a:stretch/>
        </p:blipFill>
        <p:spPr>
          <a:xfrm>
            <a:off x="1" y="2404384"/>
            <a:ext cx="12436476" cy="2694464"/>
          </a:xfrm>
          <a:prstGeom prst="rect">
            <a:avLst/>
          </a:prstGeom>
        </p:spPr>
      </p:pic>
      <p:sp>
        <p:nvSpPr>
          <p:cNvPr id="11" name="Oval 10">
            <a:extLst>
              <a:ext uri="{FF2B5EF4-FFF2-40B4-BE49-F238E27FC236}">
                <a16:creationId xmlns:a16="http://schemas.microsoft.com/office/drawing/2014/main" id="{EB611F20-DDA8-42CC-A477-8E23D0CDEFA6}"/>
              </a:ext>
            </a:extLst>
          </p:cNvPr>
          <p:cNvSpPr/>
          <p:nvPr/>
        </p:nvSpPr>
        <p:spPr bwMode="auto">
          <a:xfrm>
            <a:off x="1938975" y="5400953"/>
            <a:ext cx="121256" cy="121238"/>
          </a:xfrm>
          <a:prstGeom prst="ellipse">
            <a:avLst/>
          </a:prstGeom>
          <a:solidFill>
            <a:srgbClr val="2B78D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a:extLst>
              <a:ext uri="{FF2B5EF4-FFF2-40B4-BE49-F238E27FC236}">
                <a16:creationId xmlns:a16="http://schemas.microsoft.com/office/drawing/2014/main" id="{30F5C67A-F3FA-4481-9500-0D0195D890B8}"/>
              </a:ext>
            </a:extLst>
          </p:cNvPr>
          <p:cNvSpPr/>
          <p:nvPr/>
        </p:nvSpPr>
        <p:spPr bwMode="auto">
          <a:xfrm>
            <a:off x="5909657" y="4852024"/>
            <a:ext cx="121256" cy="121238"/>
          </a:xfrm>
          <a:prstGeom prst="ellipse">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2B5C01F6-D4D8-45AC-A6E7-60C3436C6C9B}"/>
              </a:ext>
            </a:extLst>
          </p:cNvPr>
          <p:cNvGrpSpPr/>
          <p:nvPr userDrawn="1"/>
        </p:nvGrpSpPr>
        <p:grpSpPr>
          <a:xfrm>
            <a:off x="9284971" y="593174"/>
            <a:ext cx="3151505" cy="6401352"/>
            <a:chOff x="9102447" y="581595"/>
            <a:chExt cx="3089553" cy="6276405"/>
          </a:xfrm>
        </p:grpSpPr>
        <p:pic>
          <p:nvPicPr>
            <p:cNvPr id="13" name="Graphic 12">
              <a:extLst>
                <a:ext uri="{FF2B5EF4-FFF2-40B4-BE49-F238E27FC236}">
                  <a16:creationId xmlns:a16="http://schemas.microsoft.com/office/drawing/2014/main" id="{5AC62215-6BE7-496D-90F9-6FAB23C011B7}"/>
                </a:ext>
              </a:extLst>
            </p:cNvPr>
            <p:cNvPicPr>
              <a:picLocks noChangeAspect="1"/>
            </p:cNvPicPr>
            <p:nvPr/>
          </p:nvPicPr>
          <p:blipFill rotWithShape="1">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3354" t="16222" r="57432" b="23454"/>
            <a:stretch/>
          </p:blipFill>
          <p:spPr>
            <a:xfrm>
              <a:off x="9102447" y="581595"/>
              <a:ext cx="3089553" cy="6276405"/>
            </a:xfrm>
            <a:prstGeom prst="rect">
              <a:avLst/>
            </a:prstGeom>
          </p:spPr>
        </p:pic>
        <p:sp>
          <p:nvSpPr>
            <p:cNvPr id="14" name="Oval 13">
              <a:extLst>
                <a:ext uri="{FF2B5EF4-FFF2-40B4-BE49-F238E27FC236}">
                  <a16:creationId xmlns:a16="http://schemas.microsoft.com/office/drawing/2014/main" id="{6CB5B8E1-55AB-4F82-889A-6BA51ED3FE16}"/>
                </a:ext>
              </a:extLst>
            </p:cNvPr>
            <p:cNvSpPr/>
            <p:nvPr/>
          </p:nvSpPr>
          <p:spPr bwMode="auto">
            <a:xfrm>
              <a:off x="10975086" y="2738966"/>
              <a:ext cx="118872" cy="118872"/>
            </a:xfrm>
            <a:prstGeom prst="ellipse">
              <a:avLst/>
            </a:prstGeom>
            <a:solidFill>
              <a:srgbClr val="FFFF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5" name="logo2.png" descr="logo2.png">
            <a:extLst>
              <a:ext uri="{FF2B5EF4-FFF2-40B4-BE49-F238E27FC236}">
                <a16:creationId xmlns:a16="http://schemas.microsoft.com/office/drawing/2014/main" id="{B890FFA7-3A8B-434C-A7FF-E48D67BA31B4}"/>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4896">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7" name="Text Placeholder 18">
            <a:extLst>
              <a:ext uri="{FF2B5EF4-FFF2-40B4-BE49-F238E27FC236}">
                <a16:creationId xmlns:a16="http://schemas.microsoft.com/office/drawing/2014/main" id="{3297221A-24DF-4562-B793-E0BDCFE44351}"/>
              </a:ext>
            </a:extLst>
          </p:cNvPr>
          <p:cNvSpPr>
            <a:spLocks noGrp="1"/>
          </p:cNvSpPr>
          <p:nvPr>
            <p:ph type="body" sz="quarter" idx="12" hasCustomPrompt="1"/>
          </p:nvPr>
        </p:nvSpPr>
        <p:spPr>
          <a:xfrm>
            <a:off x="638017" y="4164198"/>
            <a:ext cx="6552312" cy="357850"/>
          </a:xfrm>
        </p:spPr>
        <p:txBody>
          <a:bodyPr lIns="0"/>
          <a:lstStyle>
            <a:lvl1pPr marL="0" indent="0">
              <a:buNone/>
              <a:defRPr sz="1224" spc="306">
                <a:solidFill>
                  <a:schemeClr val="bg1"/>
                </a:solidFill>
                <a:latin typeface="+mn-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LOREM IPSUM</a:t>
            </a:r>
          </a:p>
        </p:txBody>
      </p:sp>
    </p:spTree>
    <p:extLst>
      <p:ext uri="{BB962C8B-B14F-4D97-AF65-F5344CB8AC3E}">
        <p14:creationId xmlns:p14="http://schemas.microsoft.com/office/powerpoint/2010/main" val="285252055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F42DB1-3225-484B-9646-69EDD0CAECFE}"/>
              </a:ext>
            </a:extLst>
          </p:cNvPr>
          <p:cNvSpPr/>
          <p:nvPr/>
        </p:nvSpPr>
        <p:spPr bwMode="auto">
          <a:xfrm>
            <a:off x="0" y="5069"/>
            <a:ext cx="12434726" cy="700110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7C9BB789-3BFD-42B0-A11C-8B0953FE6E9E}"/>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r="16311" b="46159"/>
          <a:stretch/>
        </p:blipFill>
        <p:spPr>
          <a:xfrm>
            <a:off x="6733841" y="4950273"/>
            <a:ext cx="5682181" cy="2055898"/>
          </a:xfrm>
          <a:prstGeom prst="rect">
            <a:avLst/>
          </a:prstGeom>
        </p:spPr>
      </p:pic>
      <p:pic>
        <p:nvPicPr>
          <p:cNvPr id="5" name="Graphic 4">
            <a:extLst>
              <a:ext uri="{FF2B5EF4-FFF2-40B4-BE49-F238E27FC236}">
                <a16:creationId xmlns:a16="http://schemas.microsoft.com/office/drawing/2014/main" id="{26123060-7515-417F-86C0-76A9AA862E38}"/>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r="59712" b="46159"/>
          <a:stretch/>
        </p:blipFill>
        <p:spPr>
          <a:xfrm>
            <a:off x="9699300" y="2902841"/>
            <a:ext cx="2735427" cy="2055898"/>
          </a:xfrm>
          <a:prstGeom prst="rect">
            <a:avLst/>
          </a:prstGeom>
        </p:spPr>
      </p:pic>
      <p:pic>
        <p:nvPicPr>
          <p:cNvPr id="6" name="Graphic 5">
            <a:extLst>
              <a:ext uri="{FF2B5EF4-FFF2-40B4-BE49-F238E27FC236}">
                <a16:creationId xmlns:a16="http://schemas.microsoft.com/office/drawing/2014/main" id="{4C5AA9EE-D9BB-4E7F-B306-DE2666F331FB}"/>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r="59902" b="46159"/>
          <a:stretch/>
        </p:blipFill>
        <p:spPr>
          <a:xfrm>
            <a:off x="9712255" y="859343"/>
            <a:ext cx="2722472" cy="2055898"/>
          </a:xfrm>
          <a:prstGeom prst="rect">
            <a:avLst/>
          </a:prstGeom>
        </p:spPr>
      </p:pic>
      <p:sp>
        <p:nvSpPr>
          <p:cNvPr id="7" name="Freeform 13">
            <a:extLst>
              <a:ext uri="{FF2B5EF4-FFF2-40B4-BE49-F238E27FC236}">
                <a16:creationId xmlns:a16="http://schemas.microsoft.com/office/drawing/2014/main" id="{CF645011-85AF-4209-AF89-DDAC0C821A06}"/>
              </a:ext>
            </a:extLst>
          </p:cNvPr>
          <p:cNvSpPr/>
          <p:nvPr/>
        </p:nvSpPr>
        <p:spPr bwMode="auto">
          <a:xfrm>
            <a:off x="8018254" y="16362"/>
            <a:ext cx="4467312" cy="4924800"/>
          </a:xfrm>
          <a:custGeom>
            <a:avLst/>
            <a:gdLst>
              <a:gd name="connsiteX0" fmla="*/ 4331368 w 4379494"/>
              <a:gd name="connsiteY0" fmla="*/ 1604211 h 4828674"/>
              <a:gd name="connsiteX1" fmla="*/ 1796715 w 4379494"/>
              <a:gd name="connsiteY1" fmla="*/ 4219074 h 4828674"/>
              <a:gd name="connsiteX2" fmla="*/ 1604210 w 4379494"/>
              <a:gd name="connsiteY2" fmla="*/ 4700337 h 4828674"/>
              <a:gd name="connsiteX3" fmla="*/ 1556084 w 4379494"/>
              <a:gd name="connsiteY3" fmla="*/ 4828674 h 4828674"/>
              <a:gd name="connsiteX4" fmla="*/ 0 w 4379494"/>
              <a:gd name="connsiteY4" fmla="*/ 4828674 h 4828674"/>
              <a:gd name="connsiteX5" fmla="*/ 0 w 4379494"/>
              <a:gd name="connsiteY5" fmla="*/ 0 h 4828674"/>
              <a:gd name="connsiteX6" fmla="*/ 4379494 w 4379494"/>
              <a:gd name="connsiteY6" fmla="*/ 0 h 4828674"/>
              <a:gd name="connsiteX7" fmla="*/ 4331368 w 4379494"/>
              <a:gd name="connsiteY7" fmla="*/ 1604211 h 482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494" h="4828674">
                <a:moveTo>
                  <a:pt x="4331368" y="1604211"/>
                </a:moveTo>
                <a:lnTo>
                  <a:pt x="1796715" y="4219074"/>
                </a:lnTo>
                <a:lnTo>
                  <a:pt x="1604210" y="4700337"/>
                </a:lnTo>
                <a:lnTo>
                  <a:pt x="1556084" y="4828674"/>
                </a:lnTo>
                <a:lnTo>
                  <a:pt x="0" y="4828674"/>
                </a:lnTo>
                <a:lnTo>
                  <a:pt x="0" y="0"/>
                </a:lnTo>
                <a:lnTo>
                  <a:pt x="4379494" y="0"/>
                </a:lnTo>
                <a:lnTo>
                  <a:pt x="4331368" y="1604211"/>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01A57780-4DE1-4066-9F83-394D9B80A7EC}"/>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632" b="46159"/>
          <a:stretch/>
        </p:blipFill>
        <p:spPr>
          <a:xfrm>
            <a:off x="0" y="4950272"/>
            <a:ext cx="6746795" cy="2055897"/>
          </a:xfrm>
          <a:prstGeom prst="rect">
            <a:avLst/>
          </a:prstGeom>
        </p:spPr>
      </p:pic>
      <p:pic>
        <p:nvPicPr>
          <p:cNvPr id="9" name="Graphic 8">
            <a:extLst>
              <a:ext uri="{FF2B5EF4-FFF2-40B4-BE49-F238E27FC236}">
                <a16:creationId xmlns:a16="http://schemas.microsoft.com/office/drawing/2014/main" id="{FE550D7A-C3E8-4F94-A338-49FF3957674F}"/>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l="34485" t="45404" r="34374" b="35092"/>
          <a:stretch/>
        </p:blipFill>
        <p:spPr>
          <a:xfrm rot="10800000" flipH="1">
            <a:off x="0" y="5017461"/>
            <a:ext cx="4866760" cy="1971995"/>
          </a:xfrm>
          <a:prstGeom prst="rect">
            <a:avLst/>
          </a:prstGeom>
        </p:spPr>
      </p:pic>
      <p:pic>
        <p:nvPicPr>
          <p:cNvPr id="10" name="Graphic 9">
            <a:extLst>
              <a:ext uri="{FF2B5EF4-FFF2-40B4-BE49-F238E27FC236}">
                <a16:creationId xmlns:a16="http://schemas.microsoft.com/office/drawing/2014/main" id="{6179DAC0-A623-4BC1-AC90-8E2901DD02E0}"/>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l="23272" t="35419" r="4468" b="36428"/>
          <a:stretch/>
        </p:blipFill>
        <p:spPr>
          <a:xfrm>
            <a:off x="1" y="2410989"/>
            <a:ext cx="12436476" cy="2694464"/>
          </a:xfrm>
          <a:prstGeom prst="rect">
            <a:avLst/>
          </a:prstGeom>
        </p:spPr>
      </p:pic>
      <p:pic>
        <p:nvPicPr>
          <p:cNvPr id="17" name="logo 1.png" descr="logo 1.png">
            <a:extLst>
              <a:ext uri="{FF2B5EF4-FFF2-40B4-BE49-F238E27FC236}">
                <a16:creationId xmlns:a16="http://schemas.microsoft.com/office/drawing/2014/main" id="{2F4161FC-9D82-45AA-B7E0-0F063EA5B2E4}"/>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38034" y="658818"/>
            <a:ext cx="1513319" cy="322593"/>
          </a:xfrm>
          <a:prstGeom prst="rect">
            <a:avLst/>
          </a:prstGeom>
          <a:ln w="12700">
            <a:miter lim="400000"/>
          </a:ln>
        </p:spPr>
      </p:pic>
      <p:sp>
        <p:nvSpPr>
          <p:cNvPr id="20" name="Text Placeholder 18">
            <a:extLst>
              <a:ext uri="{FF2B5EF4-FFF2-40B4-BE49-F238E27FC236}">
                <a16:creationId xmlns:a16="http://schemas.microsoft.com/office/drawing/2014/main" id="{80D5E324-BA4F-4919-B622-311031E22A3A}"/>
              </a:ext>
            </a:extLst>
          </p:cNvPr>
          <p:cNvSpPr>
            <a:spLocks noGrp="1"/>
          </p:cNvSpPr>
          <p:nvPr>
            <p:ph type="body" sz="quarter" idx="10"/>
          </p:nvPr>
        </p:nvSpPr>
        <p:spPr>
          <a:xfrm>
            <a:off x="638017" y="2404368"/>
            <a:ext cx="6552312" cy="1600908"/>
          </a:xfrm>
        </p:spPr>
        <p:txBody>
          <a:bodyPr lIns="0"/>
          <a:lstStyle>
            <a:lvl1pPr marL="0" indent="0">
              <a:buNone/>
              <a:defRPr sz="4896">
                <a:solidFill>
                  <a:schemeClr val="accent5"/>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3" name="Text Placeholder 21">
            <a:extLst>
              <a:ext uri="{FF2B5EF4-FFF2-40B4-BE49-F238E27FC236}">
                <a16:creationId xmlns:a16="http://schemas.microsoft.com/office/drawing/2014/main" id="{FBE83940-F345-4D5F-935F-8E438EB0910B}"/>
              </a:ext>
            </a:extLst>
          </p:cNvPr>
          <p:cNvSpPr>
            <a:spLocks noGrp="1"/>
          </p:cNvSpPr>
          <p:nvPr>
            <p:ph type="body" sz="quarter" idx="11" hasCustomPrompt="1"/>
          </p:nvPr>
        </p:nvSpPr>
        <p:spPr>
          <a:xfrm>
            <a:off x="658093" y="4199105"/>
            <a:ext cx="2966589" cy="237979"/>
          </a:xfrm>
        </p:spPr>
        <p:txBody>
          <a:bodyPr lIns="0" tIns="0" rIns="0" bIns="0"/>
          <a:lstStyle>
            <a:lvl1pPr marL="0" marR="0" indent="0" algn="l" defTabSz="932597" rtl="0" eaLnBrk="1" fontAlgn="auto" latinLnBrk="0" hangingPunct="1">
              <a:lnSpc>
                <a:spcPct val="140000"/>
              </a:lnSpc>
              <a:spcBef>
                <a:spcPts val="0"/>
              </a:spcBef>
              <a:spcAft>
                <a:spcPts val="0"/>
              </a:spcAft>
              <a:buClrTx/>
              <a:buSzTx/>
              <a:buFontTx/>
              <a:buNone/>
              <a:tabLst/>
              <a:defRPr sz="1428" cap="all" spc="357">
                <a:solidFill>
                  <a:srgbClr val="50E6FF"/>
                </a:solidFill>
                <a:latin typeface="Segoe UI"/>
                <a:cs typeface="Segoe UI"/>
                <a:sym typeface="Segoe UI"/>
              </a:defRPr>
            </a:lvl1pPr>
          </a:lstStyle>
          <a:p>
            <a:pPr marL="0" marR="0" lvl="0" indent="0" algn="l" defTabSz="932597" rtl="0" eaLnBrk="1" fontAlgn="auto" latinLnBrk="0" hangingPunct="1">
              <a:lnSpc>
                <a:spcPct val="140000"/>
              </a:lnSpc>
              <a:spcBef>
                <a:spcPts val="0"/>
              </a:spcBef>
              <a:spcAft>
                <a:spcPts val="0"/>
              </a:spcAft>
              <a:buClrTx/>
              <a:buSzTx/>
              <a:buFontTx/>
              <a:buNone/>
              <a:tabLst/>
              <a:defRPr sz="1400" cap="all" spc="350">
                <a:solidFill>
                  <a:srgbClr val="50E6FF"/>
                </a:solidFill>
                <a:latin typeface="Segoe UI"/>
                <a:ea typeface="Segoe UI"/>
                <a:cs typeface="Segoe UI"/>
                <a:sym typeface="Segoe UI"/>
              </a:defRPr>
            </a:pPr>
            <a:r>
              <a:rPr kumimoji="0" lang="en-US" sz="1224" b="0" i="0" u="none" strike="noStrike" kern="1200" cap="all" spc="357" normalizeH="0" baseline="0" noProof="0">
                <a:ln>
                  <a:noFill/>
                </a:ln>
                <a:solidFill>
                  <a:srgbClr val="0078D7"/>
                </a:solidFill>
                <a:effectLst/>
                <a:uLnTx/>
                <a:uFillTx/>
                <a:latin typeface="Segoe UI"/>
                <a:cs typeface="Segoe UI"/>
                <a:sym typeface="Segoe UI"/>
              </a:rPr>
              <a:t>LOREM IPSUM</a:t>
            </a:r>
          </a:p>
        </p:txBody>
      </p:sp>
      <p:pic>
        <p:nvPicPr>
          <p:cNvPr id="22" name="Graphic 21">
            <a:extLst>
              <a:ext uri="{FF2B5EF4-FFF2-40B4-BE49-F238E27FC236}">
                <a16:creationId xmlns:a16="http://schemas.microsoft.com/office/drawing/2014/main" id="{F55EF1AF-6D4A-481D-9644-061D58B10A87}"/>
              </a:ext>
            </a:extLst>
          </p:cNvPr>
          <p:cNvPicPr>
            <a:picLocks noChangeAspect="1"/>
          </p:cNvPicPr>
          <p:nvPr/>
        </p:nvPicPr>
        <p:blipFill rotWithShape="1">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3354" t="16222" r="57432" b="23454"/>
          <a:stretch/>
        </p:blipFill>
        <p:spPr>
          <a:xfrm>
            <a:off x="9284971" y="593174"/>
            <a:ext cx="3151505" cy="6401352"/>
          </a:xfrm>
          <a:prstGeom prst="rect">
            <a:avLst/>
          </a:prstGeom>
        </p:spPr>
      </p:pic>
      <p:sp>
        <p:nvSpPr>
          <p:cNvPr id="25" name="Oval 24">
            <a:extLst>
              <a:ext uri="{FF2B5EF4-FFF2-40B4-BE49-F238E27FC236}">
                <a16:creationId xmlns:a16="http://schemas.microsoft.com/office/drawing/2014/main" id="{9DD28684-7242-4EC3-9FDE-80C47530FC36}"/>
              </a:ext>
            </a:extLst>
          </p:cNvPr>
          <p:cNvSpPr/>
          <p:nvPr userDrawn="1"/>
        </p:nvSpPr>
        <p:spPr bwMode="auto">
          <a:xfrm>
            <a:off x="11195159" y="2793492"/>
            <a:ext cx="121256" cy="121238"/>
          </a:xfrm>
          <a:prstGeom prst="ellipse">
            <a:avLst/>
          </a:prstGeom>
          <a:solidFill>
            <a:srgbClr val="FFFF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a:extLst>
              <a:ext uri="{FF2B5EF4-FFF2-40B4-BE49-F238E27FC236}">
                <a16:creationId xmlns:a16="http://schemas.microsoft.com/office/drawing/2014/main" id="{269983A8-8359-4284-9F2E-CB0A4FC4E4DE}"/>
              </a:ext>
            </a:extLst>
          </p:cNvPr>
          <p:cNvSpPr/>
          <p:nvPr userDrawn="1"/>
        </p:nvSpPr>
        <p:spPr bwMode="auto">
          <a:xfrm>
            <a:off x="1938975" y="5400953"/>
            <a:ext cx="121256" cy="121238"/>
          </a:xfrm>
          <a:prstGeom prst="ellipse">
            <a:avLst/>
          </a:prstGeom>
          <a:solidFill>
            <a:srgbClr val="2B78D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a:extLst>
              <a:ext uri="{FF2B5EF4-FFF2-40B4-BE49-F238E27FC236}">
                <a16:creationId xmlns:a16="http://schemas.microsoft.com/office/drawing/2014/main" id="{85BC55CE-1F1A-48CC-8472-78CDCB8BC330}"/>
              </a:ext>
            </a:extLst>
          </p:cNvPr>
          <p:cNvSpPr/>
          <p:nvPr userDrawn="1"/>
        </p:nvSpPr>
        <p:spPr bwMode="auto">
          <a:xfrm>
            <a:off x="5909657" y="4855910"/>
            <a:ext cx="121256" cy="121238"/>
          </a:xfrm>
          <a:prstGeom prst="ellipse">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556410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black">
          <a:xfrm>
            <a:off x="460690" y="479425"/>
            <a:ext cx="1451843" cy="310896"/>
          </a:xfrm>
          <a:prstGeom prst="rect">
            <a:avLst/>
          </a:prstGeom>
        </p:spPr>
      </p:pic>
    </p:spTree>
    <p:extLst>
      <p:ext uri="{BB962C8B-B14F-4D97-AF65-F5344CB8AC3E}">
        <p14:creationId xmlns:p14="http://schemas.microsoft.com/office/powerpoint/2010/main" val="283636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1889564" cy="917575"/>
          </a:xfrm>
        </p:spPr>
        <p:txBody>
          <a:bodyPr/>
          <a:lstStyle>
            <a:lvl1pPr>
              <a:defRPr sz="4488">
                <a:latin typeface="+mn-lt"/>
              </a:defRPr>
            </a:lvl1pPr>
          </a:lstStyle>
          <a:p>
            <a:r>
              <a:rPr lang="en-US"/>
              <a:t>Click to edit Master title style</a:t>
            </a:r>
          </a:p>
        </p:txBody>
      </p:sp>
      <p:sp>
        <p:nvSpPr>
          <p:cNvPr id="4" name="Text Placeholder 3"/>
          <p:cNvSpPr>
            <a:spLocks noGrp="1"/>
          </p:cNvSpPr>
          <p:nvPr>
            <p:ph type="body" sz="quarter" idx="10"/>
          </p:nvPr>
        </p:nvSpPr>
        <p:spPr>
          <a:xfrm>
            <a:off x="155456" y="930899"/>
            <a:ext cx="12125563" cy="2117673"/>
          </a:xfrm>
        </p:spPr>
        <p:txBody>
          <a:bodyPr>
            <a:spAutoFit/>
          </a:bodyPr>
          <a:lstStyle>
            <a:lvl1pPr marL="0" indent="0">
              <a:buNone/>
              <a:defRPr sz="3264"/>
            </a:lvl1pPr>
            <a:lvl2pPr marL="228513" indent="0">
              <a:buNone/>
              <a:defRPr sz="2448"/>
            </a:lvl2pPr>
            <a:lvl3pPr marL="457024" indent="0">
              <a:buNone/>
              <a:defRPr sz="2040"/>
            </a:lvl3pPr>
            <a:lvl4pPr marL="685537" indent="0">
              <a:buNone/>
              <a:defRPr sz="2040"/>
            </a:lvl4pPr>
            <a:lvl5pPr marL="914049"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17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15949"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829261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1889564" cy="917575"/>
          </a:xfrm>
        </p:spPr>
        <p:txBody>
          <a:bodyPr/>
          <a:lstStyle>
            <a:lvl1pPr>
              <a:defRPr sz="4488">
                <a:latin typeface="+mn-lt"/>
              </a:defRPr>
            </a:lvl1pPr>
          </a:lstStyle>
          <a:p>
            <a:r>
              <a:rPr lang="en-US"/>
              <a:t>Click to edit Master title style</a:t>
            </a:r>
          </a:p>
        </p:txBody>
      </p:sp>
      <p:sp>
        <p:nvSpPr>
          <p:cNvPr id="4" name="Text Placeholder 3"/>
          <p:cNvSpPr>
            <a:spLocks noGrp="1"/>
          </p:cNvSpPr>
          <p:nvPr>
            <p:ph type="body" sz="quarter" idx="10"/>
          </p:nvPr>
        </p:nvSpPr>
        <p:spPr>
          <a:xfrm>
            <a:off x="155456" y="930899"/>
            <a:ext cx="12125563" cy="2117673"/>
          </a:xfrm>
        </p:spPr>
        <p:txBody>
          <a:bodyPr>
            <a:spAutoFit/>
          </a:bodyPr>
          <a:lstStyle>
            <a:lvl1pPr marL="0" indent="0">
              <a:buNone/>
              <a:defRPr sz="3264"/>
            </a:lvl1pPr>
            <a:lvl2pPr marL="228513" indent="0">
              <a:buNone/>
              <a:defRPr sz="2448"/>
            </a:lvl2pPr>
            <a:lvl3pPr marL="457024" indent="0">
              <a:buNone/>
              <a:defRPr sz="2040"/>
            </a:lvl3pPr>
            <a:lvl4pPr marL="685537" indent="0">
              <a:buNone/>
              <a:defRPr sz="2040"/>
            </a:lvl4pPr>
            <a:lvl5pPr marL="914049"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C3F0D74B-E66A-49A6-B4C7-B1C98AF12AA0}"/>
              </a:ext>
            </a:extLst>
          </p:cNvPr>
          <p:cNvSpPr txBox="1">
            <a:spLocks/>
          </p:cNvSpPr>
          <p:nvPr/>
        </p:nvSpPr>
        <p:spPr bwMode="auto">
          <a:xfrm>
            <a:off x="1289416" y="6540552"/>
            <a:ext cx="9857643" cy="1600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108738" rtl="0" eaLnBrk="1" fontAlgn="base" latinLnBrk="0" hangingPunct="1">
              <a:lnSpc>
                <a:spcPct val="100000"/>
              </a:lnSpc>
              <a:spcBef>
                <a:spcPct val="0"/>
              </a:spcBef>
              <a:spcAft>
                <a:spcPct val="0"/>
              </a:spcAft>
              <a:buClr>
                <a:srgbClr val="0072C6"/>
              </a:buClr>
              <a:buSzTx/>
              <a:buFontTx/>
              <a:buNone/>
              <a:tabLst/>
              <a:defRPr/>
            </a:pPr>
            <a:r>
              <a:rPr kumimoji="0" lang="en-US" sz="102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359692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4" y="1211288"/>
            <a:ext cx="11888787" cy="2087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13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490" indent="0">
              <a:buFont typeface="Wingdings" panose="05000000000000000000" pitchFamily="2" charset="2"/>
              <a:buNone/>
              <a:defRPr sz="2400" b="0"/>
            </a:lvl2pPr>
            <a:lvl3pPr marL="450676" indent="0">
              <a:buFont typeface="Wingdings" panose="05000000000000000000" pitchFamily="2" charset="2"/>
              <a:buNone/>
              <a:tabLst/>
              <a:defRPr sz="2200" b="0"/>
            </a:lvl3pPr>
            <a:lvl4pPr marL="652211" indent="0">
              <a:buFont typeface="Wingdings" panose="05000000000000000000" pitchFamily="2" charset="2"/>
              <a:buNone/>
              <a:defRPr sz="2200" b="0"/>
            </a:lvl4pPr>
            <a:lvl5pPr marL="853747"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9"/>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490"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67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211"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747"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152" marR="0" lvl="0" indent="-514152" algn="l" defTabSz="932384"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514152" marR="0" lvl="1" indent="-514152" algn="l" defTabSz="932384" rtl="0" eaLnBrk="1" fontAlgn="auto" latinLnBrk="0" hangingPunct="1">
              <a:lnSpc>
                <a:spcPct val="90000"/>
              </a:lnSpc>
              <a:spcBef>
                <a:spcPts val="1224"/>
              </a:spcBef>
              <a:spcAft>
                <a:spcPts val="0"/>
              </a:spcAft>
              <a:buClr>
                <a:schemeClr val="tx1"/>
              </a:buClr>
              <a:buSzPct val="90000"/>
              <a:tabLst/>
            </a:pPr>
            <a:r>
              <a:rPr lang="en-US"/>
              <a:t>Second level</a:t>
            </a:r>
          </a:p>
          <a:p>
            <a:pPr marL="514152" marR="0" lvl="2" indent="-514152" algn="l" defTabSz="932384" rtl="0" eaLnBrk="1" fontAlgn="auto" latinLnBrk="0" hangingPunct="1">
              <a:lnSpc>
                <a:spcPct val="90000"/>
              </a:lnSpc>
              <a:spcBef>
                <a:spcPts val="1224"/>
              </a:spcBef>
              <a:spcAft>
                <a:spcPts val="0"/>
              </a:spcAft>
              <a:buClr>
                <a:schemeClr val="tx1"/>
              </a:buClr>
              <a:buSzPct val="90000"/>
              <a:tabLst/>
            </a:pPr>
            <a:r>
              <a:rPr lang="en-US"/>
              <a:t>Third level</a:t>
            </a:r>
          </a:p>
          <a:p>
            <a:pPr marL="514152" marR="0" lvl="3" indent="-514152" algn="l" defTabSz="932384" rtl="0" eaLnBrk="1" fontAlgn="auto" latinLnBrk="0" hangingPunct="1">
              <a:lnSpc>
                <a:spcPct val="90000"/>
              </a:lnSpc>
              <a:spcBef>
                <a:spcPts val="1224"/>
              </a:spcBef>
              <a:spcAft>
                <a:spcPts val="0"/>
              </a:spcAft>
              <a:buClr>
                <a:schemeClr val="tx1"/>
              </a:buClr>
              <a:buSzPct val="90000"/>
              <a:tabLst/>
            </a:pPr>
            <a:r>
              <a:rPr lang="en-US"/>
              <a:t>Fourth level</a:t>
            </a:r>
          </a:p>
          <a:p>
            <a:pPr marL="514152" marR="0" lvl="4" indent="-514152" algn="l" defTabSz="932384"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3720214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1287"/>
            <a:ext cx="5486399" cy="2539157"/>
          </a:xfrm>
        </p:spPr>
        <p:txBody>
          <a:bodyPr wrap="square">
            <a:spAutoFit/>
          </a:bodyPr>
          <a:lstStyle>
            <a:lvl1pPr marL="231686" indent="-231686">
              <a:spcBef>
                <a:spcPts val="1224"/>
              </a:spcBef>
              <a:buClr>
                <a:schemeClr val="tx1"/>
              </a:buClr>
              <a:buFont typeface="Wingdings" panose="05000000000000000000" pitchFamily="2" charset="2"/>
              <a:buChar char=""/>
              <a:defRPr sz="3000" b="0">
                <a:latin typeface="+mn-lt"/>
              </a:defRPr>
            </a:lvl1pPr>
            <a:lvl2pPr marL="426874" indent="-171384">
              <a:buFont typeface="Wingdings" panose="05000000000000000000" pitchFamily="2" charset="2"/>
              <a:buChar char=""/>
              <a:defRPr sz="2400" b="0"/>
            </a:lvl2pPr>
            <a:lvl3pPr marL="639517" indent="-188840">
              <a:buFont typeface="Wingdings" panose="05000000000000000000" pitchFamily="2" charset="2"/>
              <a:buChar char=""/>
              <a:tabLst/>
              <a:defRPr sz="2200" b="0"/>
            </a:lvl3pPr>
            <a:lvl4pPr marL="828357" indent="-176146">
              <a:buFont typeface="Wingdings" panose="05000000000000000000" pitchFamily="2" charset="2"/>
              <a:buChar char=""/>
              <a:defRPr sz="2200" b="0"/>
            </a:lvl4pPr>
            <a:lvl5pPr marL="1023544" indent="-169798">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934999"/>
          </a:xfrm>
        </p:spPr>
        <p:txBody>
          <a:bodyPr wrap="square">
            <a:spAutoFit/>
          </a:bodyPr>
          <a:lstStyle>
            <a:lvl1pPr marL="287227" indent="-287227">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258" indent="-342768">
              <a:defRPr lang="en-US" sz="2400" b="0" kern="1200" spc="0" baseline="0" dirty="0">
                <a:gradFill>
                  <a:gsLst>
                    <a:gs pos="1250">
                      <a:schemeClr val="tx1"/>
                    </a:gs>
                    <a:gs pos="100000">
                      <a:schemeClr val="tx1"/>
                    </a:gs>
                  </a:gsLst>
                  <a:lin ang="5400000" scaled="0"/>
                </a:gradFill>
                <a:latin typeface="+mn-lt"/>
                <a:ea typeface="+mn-ea"/>
                <a:cs typeface="+mn-cs"/>
              </a:defRPr>
            </a:lvl2pPr>
            <a:lvl3pPr marL="793444" indent="-342768">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4979" indent="-342768">
              <a:defRPr lang="en-US" sz="2200" b="0" kern="1200" spc="0" baseline="0" dirty="0">
                <a:gradFill>
                  <a:gsLst>
                    <a:gs pos="1250">
                      <a:schemeClr val="tx1"/>
                    </a:gs>
                    <a:gs pos="100000">
                      <a:schemeClr val="tx1"/>
                    </a:gs>
                  </a:gsLst>
                  <a:lin ang="5400000" scaled="0"/>
                </a:gradFill>
                <a:latin typeface="+mn-lt"/>
                <a:ea typeface="+mn-ea"/>
                <a:cs typeface="+mn-cs"/>
              </a:defRPr>
            </a:lvl4pPr>
            <a:lvl5pPr marL="1196516" indent="-342768">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686" marR="0" lvl="0"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231686" marR="0" lvl="1"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686" marR="0" lvl="2"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686" marR="0" lvl="3"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686" marR="0" lvl="4"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10730129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7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Rectangle 2">
            <a:extLst>
              <a:ext uri="{FF2B5EF4-FFF2-40B4-BE49-F238E27FC236}">
                <a16:creationId xmlns:a16="http://schemas.microsoft.com/office/drawing/2014/main" id="{1F38B350-EF28-4765-B8A9-D6085B5E2610}"/>
              </a:ext>
              <a:ext uri="{C183D7F6-B498-43B3-948B-1728B52AA6E4}">
                <adec:decorative xmlns:adec="http://schemas.microsoft.com/office/drawing/2017/decorative" val="1"/>
              </a:ext>
            </a:extLst>
          </p:cNvPr>
          <p:cNvSpPr/>
          <p:nvPr userDrawn="1"/>
        </p:nvSpPr>
        <p:spPr bwMode="auto">
          <a:xfrm>
            <a:off x="779238" y="1212851"/>
            <a:ext cx="10915782" cy="74818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4C59B4BA-FDA1-48DC-88A3-7101CA864127}"/>
              </a:ext>
              <a:ext uri="{C183D7F6-B498-43B3-948B-1728B52AA6E4}">
                <adec:decorative xmlns:adec="http://schemas.microsoft.com/office/drawing/2017/decorative" val="1"/>
              </a:ext>
            </a:extLst>
          </p:cNvPr>
          <p:cNvSpPr/>
          <p:nvPr userDrawn="1"/>
        </p:nvSpPr>
        <p:spPr bwMode="auto">
          <a:xfrm>
            <a:off x="779237" y="1961645"/>
            <a:ext cx="10918530" cy="4872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7925A57A-4810-4E6F-B140-098761EECCAD}"/>
              </a:ext>
              <a:ext uri="{C183D7F6-B498-43B3-948B-1728B52AA6E4}">
                <adec:decorative xmlns:adec="http://schemas.microsoft.com/office/drawing/2017/decorative" val="1"/>
              </a:ext>
            </a:extLst>
          </p:cNvPr>
          <p:cNvCxnSpPr>
            <a:cxnSpLocks/>
          </p:cNvCxnSpPr>
          <p:nvPr userDrawn="1"/>
        </p:nvCxnSpPr>
        <p:spPr>
          <a:xfrm flipH="1">
            <a:off x="829530" y="2625045"/>
            <a:ext cx="10777415"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27FD972-67F6-4A2B-92C9-A7D9756323AD}"/>
              </a:ext>
              <a:ext uri="{C183D7F6-B498-43B3-948B-1728B52AA6E4}">
                <adec:decorative xmlns:adec="http://schemas.microsoft.com/office/drawing/2017/decorative" val="1"/>
              </a:ext>
            </a:extLst>
          </p:cNvPr>
          <p:cNvCxnSpPr>
            <a:cxnSpLocks/>
          </p:cNvCxnSpPr>
          <p:nvPr userDrawn="1"/>
        </p:nvCxnSpPr>
        <p:spPr>
          <a:xfrm flipH="1">
            <a:off x="829530" y="3299545"/>
            <a:ext cx="10777415"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5CEF876-FA77-4B33-971F-1545D244E805}"/>
              </a:ext>
              <a:ext uri="{C183D7F6-B498-43B3-948B-1728B52AA6E4}">
                <adec:decorative xmlns:adec="http://schemas.microsoft.com/office/drawing/2017/decorative" val="1"/>
              </a:ext>
            </a:extLst>
          </p:cNvPr>
          <p:cNvCxnSpPr>
            <a:cxnSpLocks/>
          </p:cNvCxnSpPr>
          <p:nvPr userDrawn="1"/>
        </p:nvCxnSpPr>
        <p:spPr>
          <a:xfrm flipH="1">
            <a:off x="829530" y="3993240"/>
            <a:ext cx="10777415"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1BC6051-BB3C-4A89-8AEA-B65BCEC52766}"/>
              </a:ext>
              <a:ext uri="{C183D7F6-B498-43B3-948B-1728B52AA6E4}">
                <adec:decorative xmlns:adec="http://schemas.microsoft.com/office/drawing/2017/decorative" val="1"/>
              </a:ext>
            </a:extLst>
          </p:cNvPr>
          <p:cNvCxnSpPr>
            <a:cxnSpLocks/>
          </p:cNvCxnSpPr>
          <p:nvPr userDrawn="1"/>
        </p:nvCxnSpPr>
        <p:spPr>
          <a:xfrm flipH="1">
            <a:off x="829530" y="4667742"/>
            <a:ext cx="10777415"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FB9C1E4-BBBF-4973-A1FA-8A2F05C0FD5E}"/>
              </a:ext>
              <a:ext uri="{C183D7F6-B498-43B3-948B-1728B52AA6E4}">
                <adec:decorative xmlns:adec="http://schemas.microsoft.com/office/drawing/2017/decorative" val="1"/>
              </a:ext>
            </a:extLst>
          </p:cNvPr>
          <p:cNvCxnSpPr>
            <a:cxnSpLocks/>
          </p:cNvCxnSpPr>
          <p:nvPr userDrawn="1"/>
        </p:nvCxnSpPr>
        <p:spPr>
          <a:xfrm flipH="1">
            <a:off x="829530" y="5378271"/>
            <a:ext cx="10777415"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D85B2CC-F3E9-4630-907F-AD9B45C7A831}"/>
              </a:ext>
              <a:ext uri="{C183D7F6-B498-43B3-948B-1728B52AA6E4}">
                <adec:decorative xmlns:adec="http://schemas.microsoft.com/office/drawing/2017/decorative" val="1"/>
              </a:ext>
            </a:extLst>
          </p:cNvPr>
          <p:cNvCxnSpPr>
            <a:cxnSpLocks/>
          </p:cNvCxnSpPr>
          <p:nvPr userDrawn="1"/>
        </p:nvCxnSpPr>
        <p:spPr>
          <a:xfrm flipH="1">
            <a:off x="829530" y="6086844"/>
            <a:ext cx="10777415"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0220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0989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6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grpSp>
        <p:nvGrpSpPr>
          <p:cNvPr id="14" name="Group 13">
            <a:extLst>
              <a:ext uri="{FF2B5EF4-FFF2-40B4-BE49-F238E27FC236}">
                <a16:creationId xmlns:a16="http://schemas.microsoft.com/office/drawing/2014/main" id="{75B53ED9-8CB3-4E54-9E63-831FDB0DC2F1}"/>
              </a:ext>
            </a:extLst>
          </p:cNvPr>
          <p:cNvGrpSpPr/>
          <p:nvPr userDrawn="1"/>
        </p:nvGrpSpPr>
        <p:grpSpPr>
          <a:xfrm>
            <a:off x="4072219" y="1974677"/>
            <a:ext cx="7565193" cy="2356034"/>
            <a:chOff x="3992167" y="1431636"/>
            <a:chExt cx="7416477" cy="2884018"/>
          </a:xfrm>
        </p:grpSpPr>
        <p:sp>
          <p:nvSpPr>
            <p:cNvPr id="3" name="TextBox 2">
              <a:extLst>
                <a:ext uri="{FF2B5EF4-FFF2-40B4-BE49-F238E27FC236}">
                  <a16:creationId xmlns:a16="http://schemas.microsoft.com/office/drawing/2014/main" id="{9B9798A4-A615-4082-BB98-17F477719298}"/>
                </a:ext>
                <a:ext uri="{C183D7F6-B498-43B3-948B-1728B52AA6E4}">
                  <adec:decorative xmlns:adec="http://schemas.microsoft.com/office/drawing/2017/decorative" val="1"/>
                </a:ext>
              </a:extLst>
            </p:cNvPr>
            <p:cNvSpPr txBox="1"/>
            <p:nvPr userDrawn="1"/>
          </p:nvSpPr>
          <p:spPr>
            <a:xfrm>
              <a:off x="3992167" y="1431636"/>
              <a:ext cx="2823428" cy="826448"/>
            </a:xfrm>
            <a:prstGeom prst="roundRect">
              <a:avLst>
                <a:gd name="adj" fmla="val 5485"/>
              </a:avLst>
            </a:prstGeom>
            <a:solidFill>
              <a:schemeClr val="bg1"/>
            </a:solidFill>
            <a:ln>
              <a:noFill/>
            </a:ln>
          </p:spPr>
          <p:txBody>
            <a:bodyPr wrap="square" lIns="914400" tIns="45720" rIns="45720" bIns="45720" rtlCol="0" anchor="ctr">
              <a:noAutofit/>
            </a:bodyPr>
            <a:lstStyle/>
            <a:p>
              <a:pPr lvl="0">
                <a:spcAft>
                  <a:spcPts val="612"/>
                </a:spcAft>
              </a:pPr>
              <a:endParaRPr lang="en-US" sz="1224">
                <a:latin typeface="Segoe UI Semibold"/>
              </a:endParaRPr>
            </a:p>
          </p:txBody>
        </p:sp>
        <p:sp>
          <p:nvSpPr>
            <p:cNvPr id="4" name="TextBox 3">
              <a:extLst>
                <a:ext uri="{FF2B5EF4-FFF2-40B4-BE49-F238E27FC236}">
                  <a16:creationId xmlns:a16="http://schemas.microsoft.com/office/drawing/2014/main" id="{E9EF8500-749D-425D-8587-D7CB2D6A1F25}"/>
                </a:ext>
                <a:ext uri="{C183D7F6-B498-43B3-948B-1728B52AA6E4}">
                  <adec:decorative xmlns:adec="http://schemas.microsoft.com/office/drawing/2017/decorative" val="1"/>
                </a:ext>
              </a:extLst>
            </p:cNvPr>
            <p:cNvSpPr txBox="1"/>
            <p:nvPr userDrawn="1"/>
          </p:nvSpPr>
          <p:spPr>
            <a:xfrm>
              <a:off x="3992167" y="2453599"/>
              <a:ext cx="2823428" cy="826448"/>
            </a:xfrm>
            <a:prstGeom prst="roundRect">
              <a:avLst>
                <a:gd name="adj" fmla="val 5485"/>
              </a:avLst>
            </a:prstGeom>
            <a:solidFill>
              <a:schemeClr val="bg1"/>
            </a:solidFill>
            <a:ln>
              <a:noFill/>
            </a:ln>
          </p:spPr>
          <p:txBody>
            <a:bodyPr wrap="square" lIns="914400" tIns="45720" rIns="45720" bIns="45720" rtlCol="0" anchor="ctr">
              <a:noAutofit/>
            </a:bodyPr>
            <a:lstStyle/>
            <a:p>
              <a:pPr lvl="0">
                <a:spcAft>
                  <a:spcPts val="612"/>
                </a:spcAft>
              </a:pPr>
              <a:endParaRPr lang="en-US" sz="1224">
                <a:latin typeface="Segoe UI Semibold"/>
              </a:endParaRPr>
            </a:p>
          </p:txBody>
        </p:sp>
        <p:sp>
          <p:nvSpPr>
            <p:cNvPr id="5" name="TextBox 4">
              <a:extLst>
                <a:ext uri="{FF2B5EF4-FFF2-40B4-BE49-F238E27FC236}">
                  <a16:creationId xmlns:a16="http://schemas.microsoft.com/office/drawing/2014/main" id="{F915563C-4EB0-450C-8EBA-B0B7567D9201}"/>
                </a:ext>
                <a:ext uri="{C183D7F6-B498-43B3-948B-1728B52AA6E4}">
                  <adec:decorative xmlns:adec="http://schemas.microsoft.com/office/drawing/2017/decorative" val="1"/>
                </a:ext>
              </a:extLst>
            </p:cNvPr>
            <p:cNvSpPr txBox="1"/>
            <p:nvPr userDrawn="1"/>
          </p:nvSpPr>
          <p:spPr>
            <a:xfrm>
              <a:off x="3992167" y="3489206"/>
              <a:ext cx="2823428" cy="826448"/>
            </a:xfrm>
            <a:prstGeom prst="roundRect">
              <a:avLst>
                <a:gd name="adj" fmla="val 5485"/>
              </a:avLst>
            </a:prstGeom>
            <a:solidFill>
              <a:schemeClr val="bg1"/>
            </a:solidFill>
            <a:ln>
              <a:noFill/>
            </a:ln>
          </p:spPr>
          <p:txBody>
            <a:bodyPr wrap="square" lIns="914400" tIns="45720" rIns="45720" bIns="45720" rtlCol="0" anchor="ctr">
              <a:noAutofit/>
            </a:bodyPr>
            <a:lstStyle/>
            <a:p>
              <a:pPr lvl="0">
                <a:spcAft>
                  <a:spcPts val="612"/>
                </a:spcAft>
              </a:pPr>
              <a:endParaRPr lang="en-US" sz="1224">
                <a:latin typeface="Segoe UI Semibold"/>
              </a:endParaRPr>
            </a:p>
          </p:txBody>
        </p:sp>
        <p:cxnSp>
          <p:nvCxnSpPr>
            <p:cNvPr id="6" name="Straight Connector 5">
              <a:extLst>
                <a:ext uri="{FF2B5EF4-FFF2-40B4-BE49-F238E27FC236}">
                  <a16:creationId xmlns:a16="http://schemas.microsoft.com/office/drawing/2014/main" id="{17A14067-7142-4D72-BF3D-7F514A1AC581}"/>
                </a:ext>
                <a:ext uri="{C183D7F6-B498-43B3-948B-1728B52AA6E4}">
                  <adec:decorative xmlns:adec="http://schemas.microsoft.com/office/drawing/2017/decorative" val="1"/>
                </a:ext>
              </a:extLst>
            </p:cNvPr>
            <p:cNvCxnSpPr>
              <a:cxnSpLocks/>
            </p:cNvCxnSpPr>
            <p:nvPr userDrawn="1"/>
          </p:nvCxnSpPr>
          <p:spPr>
            <a:xfrm flipH="1">
              <a:off x="3992169" y="2258084"/>
              <a:ext cx="7406640"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6E3BC80-50F1-4F19-8114-FE5BBBA27B66}"/>
                </a:ext>
                <a:ext uri="{C183D7F6-B498-43B3-948B-1728B52AA6E4}">
                  <adec:decorative xmlns:adec="http://schemas.microsoft.com/office/drawing/2017/decorative" val="1"/>
                </a:ext>
              </a:extLst>
            </p:cNvPr>
            <p:cNvCxnSpPr>
              <a:cxnSpLocks/>
            </p:cNvCxnSpPr>
            <p:nvPr userDrawn="1"/>
          </p:nvCxnSpPr>
          <p:spPr>
            <a:xfrm flipH="1">
              <a:off x="4002004" y="3280047"/>
              <a:ext cx="7406640"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3F36B1D-915C-4CED-9C1B-07D55440E97D}"/>
                </a:ext>
                <a:ext uri="{C183D7F6-B498-43B3-948B-1728B52AA6E4}">
                  <adec:decorative xmlns:adec="http://schemas.microsoft.com/office/drawing/2017/decorative" val="1"/>
                </a:ext>
              </a:extLst>
            </p:cNvPr>
            <p:cNvCxnSpPr>
              <a:cxnSpLocks/>
            </p:cNvCxnSpPr>
            <p:nvPr userDrawn="1"/>
          </p:nvCxnSpPr>
          <p:spPr>
            <a:xfrm flipV="1">
              <a:off x="4717875" y="1536713"/>
              <a:ext cx="0" cy="601489"/>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9C6023F-B8B2-4A14-A108-0386ADDC83A8}"/>
                </a:ext>
                <a:ext uri="{C183D7F6-B498-43B3-948B-1728B52AA6E4}">
                  <adec:decorative xmlns:adec="http://schemas.microsoft.com/office/drawing/2017/decorative" val="1"/>
                </a:ext>
              </a:extLst>
            </p:cNvPr>
            <p:cNvCxnSpPr>
              <a:cxnSpLocks/>
            </p:cNvCxnSpPr>
            <p:nvPr userDrawn="1"/>
          </p:nvCxnSpPr>
          <p:spPr>
            <a:xfrm flipV="1">
              <a:off x="4717875" y="2597633"/>
              <a:ext cx="0" cy="601489"/>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CC0B91F-5C71-4E68-978A-C5E7D729E8E4}"/>
                </a:ext>
                <a:ext uri="{C183D7F6-B498-43B3-948B-1728B52AA6E4}">
                  <adec:decorative xmlns:adec="http://schemas.microsoft.com/office/drawing/2017/decorative" val="1"/>
                </a:ext>
              </a:extLst>
            </p:cNvPr>
            <p:cNvCxnSpPr>
              <a:cxnSpLocks/>
            </p:cNvCxnSpPr>
            <p:nvPr userDrawn="1"/>
          </p:nvCxnSpPr>
          <p:spPr>
            <a:xfrm flipV="1">
              <a:off x="4717875" y="3608061"/>
              <a:ext cx="0" cy="601489"/>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386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reeform: Shape 2">
            <a:extLst>
              <a:ext uri="{FF2B5EF4-FFF2-40B4-BE49-F238E27FC236}">
                <a16:creationId xmlns:a16="http://schemas.microsoft.com/office/drawing/2014/main" id="{B61E5337-916A-4F37-B330-F01D59E5EC3C}"/>
              </a:ext>
              <a:ext uri="{C183D7F6-B498-43B3-948B-1728B52AA6E4}">
                <adec:decorative xmlns:adec="http://schemas.microsoft.com/office/drawing/2017/decorative" val="1"/>
              </a:ext>
            </a:extLst>
          </p:cNvPr>
          <p:cNvSpPr/>
          <p:nvPr userDrawn="1"/>
        </p:nvSpPr>
        <p:spPr bwMode="auto">
          <a:xfrm>
            <a:off x="461620" y="1688919"/>
            <a:ext cx="3289174" cy="4043263"/>
          </a:xfrm>
          <a:custGeom>
            <a:avLst/>
            <a:gdLst>
              <a:gd name="connsiteX0" fmla="*/ 4655 w 3224516"/>
              <a:gd name="connsiteY0" fmla="*/ 0 h 3964343"/>
              <a:gd name="connsiteX1" fmla="*/ 3224516 w 3224516"/>
              <a:gd name="connsiteY1" fmla="*/ 0 h 3964343"/>
              <a:gd name="connsiteX2" fmla="*/ 3224516 w 3224516"/>
              <a:gd name="connsiteY2" fmla="*/ 3964343 h 3964343"/>
              <a:gd name="connsiteX3" fmla="*/ 567059 w 3224516"/>
              <a:gd name="connsiteY3" fmla="*/ 3959246 h 3964343"/>
              <a:gd name="connsiteX4" fmla="*/ 0 w 3224516"/>
              <a:gd name="connsiteY4" fmla="*/ 3408933 h 396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4516" h="3964343">
                <a:moveTo>
                  <a:pt x="4655" y="0"/>
                </a:moveTo>
                <a:lnTo>
                  <a:pt x="3224516" y="0"/>
                </a:lnTo>
                <a:lnTo>
                  <a:pt x="3224516" y="3964343"/>
                </a:lnTo>
                <a:lnTo>
                  <a:pt x="567059" y="3959246"/>
                </a:lnTo>
                <a:lnTo>
                  <a:pt x="0" y="340893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91436" indent="-291436">
              <a:buFont typeface="Arial" panose="020B0604020202020204" pitchFamily="34" charset="0"/>
              <a:buChar char="•"/>
            </a:pPr>
            <a:endParaRPr lang="en-US" sz="1428">
              <a:solidFill>
                <a:schemeClr val="tx1"/>
              </a:solidFill>
            </a:endParaRPr>
          </a:p>
        </p:txBody>
      </p:sp>
      <p:sp>
        <p:nvSpPr>
          <p:cNvPr id="4" name="Rectangle 3">
            <a:extLst>
              <a:ext uri="{FF2B5EF4-FFF2-40B4-BE49-F238E27FC236}">
                <a16:creationId xmlns:a16="http://schemas.microsoft.com/office/drawing/2014/main" id="{84D16DE4-969C-4C6C-A4DC-EE134145BF52}"/>
              </a:ext>
              <a:ext uri="{C183D7F6-B498-43B3-948B-1728B52AA6E4}">
                <adec:decorative xmlns:adec="http://schemas.microsoft.com/office/drawing/2017/decorative" val="1"/>
              </a:ext>
            </a:extLst>
          </p:cNvPr>
          <p:cNvSpPr/>
          <p:nvPr userDrawn="1"/>
        </p:nvSpPr>
        <p:spPr bwMode="auto">
          <a:xfrm>
            <a:off x="3879782" y="2738371"/>
            <a:ext cx="2610783" cy="20927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91436" indent="-291436">
              <a:buFont typeface="Arial" panose="020B0604020202020204" pitchFamily="34" charset="0"/>
              <a:buChar char="•"/>
            </a:pPr>
            <a:endParaRPr lang="en-US" sz="1428">
              <a:solidFill>
                <a:schemeClr val="tx1"/>
              </a:solidFill>
            </a:endParaRPr>
          </a:p>
        </p:txBody>
      </p:sp>
      <p:sp>
        <p:nvSpPr>
          <p:cNvPr id="5" name="Rectangle 4">
            <a:extLst>
              <a:ext uri="{FF2B5EF4-FFF2-40B4-BE49-F238E27FC236}">
                <a16:creationId xmlns:a16="http://schemas.microsoft.com/office/drawing/2014/main" id="{F6A4DA75-8286-4321-A5DB-B9056CE063DD}"/>
              </a:ext>
              <a:ext uri="{C183D7F6-B498-43B3-948B-1728B52AA6E4}">
                <adec:decorative xmlns:adec="http://schemas.microsoft.com/office/drawing/2017/decorative" val="1"/>
              </a:ext>
            </a:extLst>
          </p:cNvPr>
          <p:cNvSpPr/>
          <p:nvPr userDrawn="1"/>
        </p:nvSpPr>
        <p:spPr bwMode="auto">
          <a:xfrm>
            <a:off x="6653225" y="2738371"/>
            <a:ext cx="2610783" cy="20927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91436" indent="-291436">
              <a:buFont typeface="Arial" panose="020B0604020202020204" pitchFamily="34" charset="0"/>
              <a:buChar char="•"/>
            </a:pPr>
            <a:endParaRPr lang="en-US" sz="1428">
              <a:solidFill>
                <a:schemeClr val="tx1"/>
              </a:solidFill>
            </a:endParaRPr>
          </a:p>
        </p:txBody>
      </p:sp>
      <p:sp>
        <p:nvSpPr>
          <p:cNvPr id="6" name="Rectangle 5">
            <a:extLst>
              <a:ext uri="{FF2B5EF4-FFF2-40B4-BE49-F238E27FC236}">
                <a16:creationId xmlns:a16="http://schemas.microsoft.com/office/drawing/2014/main" id="{19EAA201-71EC-4FF1-AC8D-C0702C5E1AAF}"/>
              </a:ext>
              <a:ext uri="{C183D7F6-B498-43B3-948B-1728B52AA6E4}">
                <adec:decorative xmlns:adec="http://schemas.microsoft.com/office/drawing/2017/decorative" val="1"/>
              </a:ext>
            </a:extLst>
          </p:cNvPr>
          <p:cNvSpPr/>
          <p:nvPr userDrawn="1"/>
        </p:nvSpPr>
        <p:spPr bwMode="auto">
          <a:xfrm>
            <a:off x="9359324" y="2738371"/>
            <a:ext cx="2610783" cy="20927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91436" indent="-291436">
              <a:buFont typeface="Arial" panose="020B0604020202020204" pitchFamily="34" charset="0"/>
              <a:buChar char="•"/>
            </a:pPr>
            <a:endParaRPr lang="en-US" sz="1428">
              <a:solidFill>
                <a:schemeClr val="tx1"/>
              </a:solidFill>
            </a:endParaRPr>
          </a:p>
        </p:txBody>
      </p:sp>
    </p:spTree>
    <p:extLst>
      <p:ext uri="{BB962C8B-B14F-4D97-AF65-F5344CB8AC3E}">
        <p14:creationId xmlns:p14="http://schemas.microsoft.com/office/powerpoint/2010/main" val="1769857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2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E8C811C7-3D76-4D2D-8EFC-40DCB52EF23E}"/>
              </a:ext>
            </a:extLst>
          </p:cNvPr>
          <p:cNvSpPr/>
          <p:nvPr userDrawn="1"/>
        </p:nvSpPr>
        <p:spPr bwMode="auto">
          <a:xfrm>
            <a:off x="474140" y="1599551"/>
            <a:ext cx="2181011" cy="3810834"/>
          </a:xfrm>
          <a:custGeom>
            <a:avLst/>
            <a:gdLst>
              <a:gd name="connsiteX0" fmla="*/ 54859 w 2138137"/>
              <a:gd name="connsiteY0" fmla="*/ 0 h 3736451"/>
              <a:gd name="connsiteX1" fmla="*/ 2090533 w 2138137"/>
              <a:gd name="connsiteY1" fmla="*/ 0 h 3736451"/>
              <a:gd name="connsiteX2" fmla="*/ 2138137 w 2138137"/>
              <a:gd name="connsiteY2" fmla="*/ 47604 h 3736451"/>
              <a:gd name="connsiteX3" fmla="*/ 2138137 w 2138137"/>
              <a:gd name="connsiteY3" fmla="*/ 3736451 h 3736451"/>
              <a:gd name="connsiteX4" fmla="*/ 487680 w 2138137"/>
              <a:gd name="connsiteY4" fmla="*/ 3735191 h 3736451"/>
              <a:gd name="connsiteX5" fmla="*/ 624475 w 2138137"/>
              <a:gd name="connsiteY5" fmla="*/ 3256391 h 3736451"/>
              <a:gd name="connsiteX6" fmla="*/ 532388 w 2138137"/>
              <a:gd name="connsiteY6" fmla="*/ 3122489 h 3736451"/>
              <a:gd name="connsiteX7" fmla="*/ 540498 w 2138137"/>
              <a:gd name="connsiteY7" fmla="*/ 3042039 h 3736451"/>
              <a:gd name="connsiteX8" fmla="*/ 175440 w 2138137"/>
              <a:gd name="connsiteY8" fmla="*/ 2594128 h 3736451"/>
              <a:gd name="connsiteX9" fmla="*/ 168547 w 2138137"/>
              <a:gd name="connsiteY9" fmla="*/ 2593433 h 3736451"/>
              <a:gd name="connsiteX10" fmla="*/ 0 w 2138137"/>
              <a:gd name="connsiteY10" fmla="*/ 2348351 h 3736451"/>
              <a:gd name="connsiteX11" fmla="*/ 7255 w 2138137"/>
              <a:gd name="connsiteY11" fmla="*/ 47604 h 3736451"/>
              <a:gd name="connsiteX12" fmla="*/ 54859 w 2138137"/>
              <a:gd name="connsiteY12" fmla="*/ 0 h 37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8137" h="3736451">
                <a:moveTo>
                  <a:pt x="54859" y="0"/>
                </a:moveTo>
                <a:lnTo>
                  <a:pt x="2090533" y="0"/>
                </a:lnTo>
                <a:cubicBezTo>
                  <a:pt x="2116824" y="0"/>
                  <a:pt x="2138137" y="21313"/>
                  <a:pt x="2138137" y="47604"/>
                </a:cubicBezTo>
                <a:lnTo>
                  <a:pt x="2138137" y="3736451"/>
                </a:lnTo>
                <a:lnTo>
                  <a:pt x="487680" y="3735191"/>
                </a:lnTo>
                <a:lnTo>
                  <a:pt x="624475" y="3256391"/>
                </a:lnTo>
                <a:lnTo>
                  <a:pt x="532388" y="3122489"/>
                </a:lnTo>
                <a:lnTo>
                  <a:pt x="540498" y="3042039"/>
                </a:lnTo>
                <a:cubicBezTo>
                  <a:pt x="540498" y="2821097"/>
                  <a:pt x="383778" y="2636760"/>
                  <a:pt x="175440" y="2594128"/>
                </a:cubicBezTo>
                <a:lnTo>
                  <a:pt x="168547" y="2593433"/>
                </a:lnTo>
                <a:lnTo>
                  <a:pt x="0" y="2348351"/>
                </a:lnTo>
                <a:cubicBezTo>
                  <a:pt x="2418" y="1581435"/>
                  <a:pt x="4837" y="814520"/>
                  <a:pt x="7255" y="47604"/>
                </a:cubicBezTo>
                <a:cubicBezTo>
                  <a:pt x="7255" y="21313"/>
                  <a:pt x="28568" y="0"/>
                  <a:pt x="54859" y="0"/>
                </a:cubicBezTo>
                <a:close/>
              </a:path>
            </a:pathLst>
          </a:cu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0670" tIns="38858" rIns="90670" bIns="38858" numCol="1" spcCol="0" rtlCol="0" fromWordArt="0" anchor="t" anchorCtr="0" forceAA="0" compatLnSpc="1">
            <a:prstTxWarp prst="textNoShape">
              <a:avLst/>
            </a:prstTxWarp>
            <a:noAutofit/>
          </a:bodyPr>
          <a:lstStyle/>
          <a:p>
            <a:pPr lvl="0"/>
            <a:endParaRPr lang="en-US" sz="1428">
              <a:solidFill>
                <a:srgbClr val="1A1A1A"/>
              </a:solidFill>
              <a:cs typeface="Segoe UI"/>
            </a:endParaRPr>
          </a:p>
        </p:txBody>
      </p:sp>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9" name="TextBox 8">
            <a:extLst>
              <a:ext uri="{FF2B5EF4-FFF2-40B4-BE49-F238E27FC236}">
                <a16:creationId xmlns:a16="http://schemas.microsoft.com/office/drawing/2014/main" id="{BD1DC150-CD6F-46E0-B519-6AD8E2853A8E}"/>
              </a:ext>
              <a:ext uri="{C183D7F6-B498-43B3-948B-1728B52AA6E4}">
                <adec:decorative xmlns:adec="http://schemas.microsoft.com/office/drawing/2017/decorative" val="1"/>
              </a:ext>
            </a:extLst>
          </p:cNvPr>
          <p:cNvSpPr txBox="1"/>
          <p:nvPr userDrawn="1"/>
        </p:nvSpPr>
        <p:spPr>
          <a:xfrm>
            <a:off x="2665510" y="1599552"/>
            <a:ext cx="2483163" cy="1155565"/>
          </a:xfrm>
          <a:prstGeom prst="roundRect">
            <a:avLst>
              <a:gd name="adj" fmla="val 5485"/>
            </a:avLst>
          </a:prstGeom>
          <a:solidFill>
            <a:schemeClr val="bg1"/>
          </a:solidFill>
          <a:ln>
            <a:noFill/>
          </a:ln>
        </p:spPr>
        <p:txBody>
          <a:bodyPr wrap="square" lIns="932603" tIns="46630" rIns="46630" bIns="46630" rtlCol="0" anchor="ctr">
            <a:noAutofit/>
          </a:bodyPr>
          <a:lstStyle/>
          <a:p>
            <a:pPr lvl="0">
              <a:spcAft>
                <a:spcPts val="612"/>
              </a:spcAft>
            </a:pPr>
            <a:endParaRPr lang="en-US" sz="2216">
              <a:latin typeface="+mj-lt"/>
            </a:endParaRPr>
          </a:p>
        </p:txBody>
      </p:sp>
      <p:sp>
        <p:nvSpPr>
          <p:cNvPr id="10" name="TextBox 9">
            <a:extLst>
              <a:ext uri="{FF2B5EF4-FFF2-40B4-BE49-F238E27FC236}">
                <a16:creationId xmlns:a16="http://schemas.microsoft.com/office/drawing/2014/main" id="{BB19D530-2D9C-432E-B404-E741F3B61E12}"/>
              </a:ext>
              <a:ext uri="{C183D7F6-B498-43B3-948B-1728B52AA6E4}">
                <adec:decorative xmlns:adec="http://schemas.microsoft.com/office/drawing/2017/decorative" val="1"/>
              </a:ext>
            </a:extLst>
          </p:cNvPr>
          <p:cNvSpPr txBox="1"/>
          <p:nvPr userDrawn="1"/>
        </p:nvSpPr>
        <p:spPr>
          <a:xfrm>
            <a:off x="2665510" y="2924696"/>
            <a:ext cx="2483163" cy="1155565"/>
          </a:xfrm>
          <a:prstGeom prst="roundRect">
            <a:avLst>
              <a:gd name="adj" fmla="val 5485"/>
            </a:avLst>
          </a:prstGeom>
          <a:solidFill>
            <a:schemeClr val="bg1"/>
          </a:solidFill>
          <a:ln>
            <a:noFill/>
          </a:ln>
        </p:spPr>
        <p:txBody>
          <a:bodyPr wrap="square" lIns="932603" tIns="46630" rIns="46630" bIns="46630" rtlCol="0" anchor="ctr">
            <a:noAutofit/>
          </a:bodyPr>
          <a:lstStyle/>
          <a:p>
            <a:pPr lvl="0">
              <a:spcAft>
                <a:spcPts val="612"/>
              </a:spcAft>
            </a:pPr>
            <a:endParaRPr lang="en-US" sz="2216">
              <a:latin typeface="+mj-lt"/>
            </a:endParaRPr>
          </a:p>
        </p:txBody>
      </p:sp>
      <p:sp>
        <p:nvSpPr>
          <p:cNvPr id="11" name="TextBox 10">
            <a:extLst>
              <a:ext uri="{FF2B5EF4-FFF2-40B4-BE49-F238E27FC236}">
                <a16:creationId xmlns:a16="http://schemas.microsoft.com/office/drawing/2014/main" id="{1AF0B1A0-CCF2-4569-AF67-390A9E07C5EB}"/>
              </a:ext>
              <a:ext uri="{C183D7F6-B498-43B3-948B-1728B52AA6E4}">
                <adec:decorative xmlns:adec="http://schemas.microsoft.com/office/drawing/2017/decorative" val="1"/>
              </a:ext>
            </a:extLst>
          </p:cNvPr>
          <p:cNvSpPr txBox="1"/>
          <p:nvPr userDrawn="1"/>
        </p:nvSpPr>
        <p:spPr>
          <a:xfrm>
            <a:off x="2665510" y="4249839"/>
            <a:ext cx="2483163" cy="1155565"/>
          </a:xfrm>
          <a:prstGeom prst="roundRect">
            <a:avLst>
              <a:gd name="adj" fmla="val 5485"/>
            </a:avLst>
          </a:prstGeom>
          <a:solidFill>
            <a:schemeClr val="bg1"/>
          </a:solidFill>
          <a:ln>
            <a:noFill/>
          </a:ln>
        </p:spPr>
        <p:txBody>
          <a:bodyPr wrap="square" lIns="932603" tIns="46630" rIns="46630" bIns="46630" rtlCol="0" anchor="ctr">
            <a:noAutofit/>
          </a:bodyPr>
          <a:lstStyle/>
          <a:p>
            <a:pPr lvl="0">
              <a:spcAft>
                <a:spcPts val="612"/>
              </a:spcAft>
            </a:pPr>
            <a:endParaRPr lang="en-US" sz="2216">
              <a:latin typeface="+mj-lt"/>
            </a:endParaRPr>
          </a:p>
        </p:txBody>
      </p:sp>
      <p:cxnSp>
        <p:nvCxnSpPr>
          <p:cNvPr id="3" name="Straight Connector 2">
            <a:extLst>
              <a:ext uri="{FF2B5EF4-FFF2-40B4-BE49-F238E27FC236}">
                <a16:creationId xmlns:a16="http://schemas.microsoft.com/office/drawing/2014/main" id="{ED105DFE-EA48-4220-89D4-C42752AECF85}"/>
              </a:ext>
              <a:ext uri="{C183D7F6-B498-43B3-948B-1728B52AA6E4}">
                <adec:decorative xmlns:adec="http://schemas.microsoft.com/office/drawing/2017/decorative" val="1"/>
              </a:ext>
            </a:extLst>
          </p:cNvPr>
          <p:cNvCxnSpPr>
            <a:cxnSpLocks/>
          </p:cNvCxnSpPr>
          <p:nvPr userDrawn="1"/>
        </p:nvCxnSpPr>
        <p:spPr>
          <a:xfrm flipV="1">
            <a:off x="3497873" y="1832439"/>
            <a:ext cx="0" cy="689791"/>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3F14560-4B11-4105-864C-36B104876CE9}"/>
              </a:ext>
              <a:ext uri="{C183D7F6-B498-43B3-948B-1728B52AA6E4}">
                <adec:decorative xmlns:adec="http://schemas.microsoft.com/office/drawing/2017/decorative" val="1"/>
              </a:ext>
            </a:extLst>
          </p:cNvPr>
          <p:cNvCxnSpPr>
            <a:cxnSpLocks/>
          </p:cNvCxnSpPr>
          <p:nvPr userDrawn="1"/>
        </p:nvCxnSpPr>
        <p:spPr>
          <a:xfrm flipH="1">
            <a:off x="2655150" y="2755185"/>
            <a:ext cx="6528899" cy="0"/>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639CB5D-B5F4-4835-951F-03A04E99D4E2}"/>
              </a:ext>
              <a:ext uri="{C183D7F6-B498-43B3-948B-1728B52AA6E4}">
                <adec:decorative xmlns:adec="http://schemas.microsoft.com/office/drawing/2017/decorative" val="1"/>
              </a:ext>
            </a:extLst>
          </p:cNvPr>
          <p:cNvCxnSpPr>
            <a:cxnSpLocks/>
          </p:cNvCxnSpPr>
          <p:nvPr userDrawn="1"/>
        </p:nvCxnSpPr>
        <p:spPr>
          <a:xfrm flipV="1">
            <a:off x="3497873" y="3157583"/>
            <a:ext cx="0" cy="689791"/>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E0E0707-87C0-42BB-B7FB-DD143FA25530}"/>
              </a:ext>
              <a:ext uri="{C183D7F6-B498-43B3-948B-1728B52AA6E4}">
                <adec:decorative xmlns:adec="http://schemas.microsoft.com/office/drawing/2017/decorative" val="1"/>
              </a:ext>
            </a:extLst>
          </p:cNvPr>
          <p:cNvCxnSpPr>
            <a:cxnSpLocks/>
          </p:cNvCxnSpPr>
          <p:nvPr userDrawn="1"/>
        </p:nvCxnSpPr>
        <p:spPr>
          <a:xfrm flipH="1" flipV="1">
            <a:off x="2655150" y="4094277"/>
            <a:ext cx="6528898" cy="3457"/>
          </a:xfrm>
          <a:prstGeom prst="line">
            <a:avLst/>
          </a:prstGeom>
          <a:ln w="6350" cap="rnd">
            <a:solidFill>
              <a:schemeClr val="bg1">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0ECD5FC-3A4B-41B9-AF09-ABE1D5D05063}"/>
              </a:ext>
              <a:ext uri="{C183D7F6-B498-43B3-948B-1728B52AA6E4}">
                <adec:decorative xmlns:adec="http://schemas.microsoft.com/office/drawing/2017/decorative" val="1"/>
              </a:ext>
            </a:extLst>
          </p:cNvPr>
          <p:cNvCxnSpPr>
            <a:cxnSpLocks/>
          </p:cNvCxnSpPr>
          <p:nvPr userDrawn="1"/>
        </p:nvCxnSpPr>
        <p:spPr>
          <a:xfrm flipV="1">
            <a:off x="3497873" y="4469824"/>
            <a:ext cx="0" cy="689791"/>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0499001-6B4B-4D7D-BD37-C831CC1991BC}"/>
              </a:ext>
              <a:ext uri="{C183D7F6-B498-43B3-948B-1728B52AA6E4}">
                <adec:decorative xmlns:adec="http://schemas.microsoft.com/office/drawing/2017/decorative" val="1"/>
              </a:ext>
            </a:extLst>
          </p:cNvPr>
          <p:cNvSpPr/>
          <p:nvPr userDrawn="1"/>
        </p:nvSpPr>
        <p:spPr bwMode="auto">
          <a:xfrm>
            <a:off x="481539" y="1534909"/>
            <a:ext cx="8702509" cy="5758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26540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4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Rectangle 2">
            <a:extLst>
              <a:ext uri="{FF2B5EF4-FFF2-40B4-BE49-F238E27FC236}">
                <a16:creationId xmlns:a16="http://schemas.microsoft.com/office/drawing/2014/main" id="{9DA3C90E-4739-414A-9152-E7202DDA4D77}"/>
              </a:ext>
              <a:ext uri="{C183D7F6-B498-43B3-948B-1728B52AA6E4}">
                <adec:decorative xmlns:adec="http://schemas.microsoft.com/office/drawing/2017/decorative" val="1"/>
              </a:ext>
            </a:extLst>
          </p:cNvPr>
          <p:cNvSpPr/>
          <p:nvPr userDrawn="1"/>
        </p:nvSpPr>
        <p:spPr bwMode="auto">
          <a:xfrm>
            <a:off x="2349714" y="1480394"/>
            <a:ext cx="9620398" cy="9346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 name="Rectangle: Top Corners Rounded 3">
            <a:extLst>
              <a:ext uri="{FF2B5EF4-FFF2-40B4-BE49-F238E27FC236}">
                <a16:creationId xmlns:a16="http://schemas.microsoft.com/office/drawing/2014/main" id="{89CD5FF5-D4CB-4505-888A-C9AEC1AB7143}"/>
              </a:ext>
              <a:ext uri="{C183D7F6-B498-43B3-948B-1728B52AA6E4}">
                <adec:decorative xmlns:adec="http://schemas.microsoft.com/office/drawing/2017/decorative" val="1"/>
              </a:ext>
            </a:extLst>
          </p:cNvPr>
          <p:cNvSpPr/>
          <p:nvPr userDrawn="1"/>
        </p:nvSpPr>
        <p:spPr bwMode="auto">
          <a:xfrm rot="16200000">
            <a:off x="5767270" y="-2841007"/>
            <a:ext cx="917574" cy="11503351"/>
          </a:xfrm>
          <a:prstGeom prst="round2SameRect">
            <a:avLst>
              <a:gd name="adj1" fmla="val 2234"/>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86521" rIns="3637153" bIns="93260" numCol="1" spcCol="0" rtlCol="0" fromWordArt="0" anchor="t" anchorCtr="0" forceAA="0" compatLnSpc="1">
            <a:prstTxWarp prst="textNoShape">
              <a:avLst/>
            </a:prstTxWarp>
            <a:noAutofit/>
          </a:bodyPr>
          <a:lstStyle/>
          <a:p>
            <a:pPr algn="ctr" defTabSz="950663" fontAlgn="base">
              <a:spcBef>
                <a:spcPct val="0"/>
              </a:spcBef>
            </a:pPr>
            <a:endParaRPr lang="en-US" sz="2216">
              <a:solidFill>
                <a:schemeClr val="accent1"/>
              </a:solidFill>
              <a:latin typeface="+mj-lt"/>
              <a:cs typeface="Segoe UI" pitchFamily="34" charset="0"/>
            </a:endParaRPr>
          </a:p>
        </p:txBody>
      </p:sp>
      <p:sp>
        <p:nvSpPr>
          <p:cNvPr id="5" name="Rectangle 4">
            <a:extLst>
              <a:ext uri="{FF2B5EF4-FFF2-40B4-BE49-F238E27FC236}">
                <a16:creationId xmlns:a16="http://schemas.microsoft.com/office/drawing/2014/main" id="{E069C0EF-0138-4E8A-992D-4D02B69B2262}"/>
              </a:ext>
              <a:ext uri="{C183D7F6-B498-43B3-948B-1728B52AA6E4}">
                <adec:decorative xmlns:adec="http://schemas.microsoft.com/office/drawing/2017/decorative" val="1"/>
              </a:ext>
            </a:extLst>
          </p:cNvPr>
          <p:cNvSpPr/>
          <p:nvPr userDrawn="1"/>
        </p:nvSpPr>
        <p:spPr bwMode="auto">
          <a:xfrm>
            <a:off x="2355643" y="3625071"/>
            <a:ext cx="9614468" cy="9346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5C303A9E-B807-49DF-B569-DA912D8F2A97}"/>
              </a:ext>
              <a:ext uri="{C183D7F6-B498-43B3-948B-1728B52AA6E4}">
                <adec:decorative xmlns:adec="http://schemas.microsoft.com/office/drawing/2017/decorative" val="1"/>
              </a:ext>
            </a:extLst>
          </p:cNvPr>
          <p:cNvCxnSpPr>
            <a:cxnSpLocks/>
          </p:cNvCxnSpPr>
          <p:nvPr userDrawn="1"/>
        </p:nvCxnSpPr>
        <p:spPr>
          <a:xfrm>
            <a:off x="5650977" y="1695945"/>
            <a:ext cx="0" cy="50350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3134EFE-F936-4D3B-BC1B-4B5E5C4369C5}"/>
              </a:ext>
              <a:ext uri="{C183D7F6-B498-43B3-948B-1728B52AA6E4}">
                <adec:decorative xmlns:adec="http://schemas.microsoft.com/office/drawing/2017/decorative" val="1"/>
              </a:ext>
            </a:extLst>
          </p:cNvPr>
          <p:cNvCxnSpPr>
            <a:cxnSpLocks/>
          </p:cNvCxnSpPr>
          <p:nvPr userDrawn="1"/>
        </p:nvCxnSpPr>
        <p:spPr>
          <a:xfrm>
            <a:off x="5612113" y="3840621"/>
            <a:ext cx="0" cy="50350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27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590" y="0"/>
            <a:ext cx="12429295" cy="6994525"/>
          </a:xfrm>
          <a:prstGeom prst="rect">
            <a:avLst/>
          </a:prstGeom>
        </p:spPr>
      </p:pic>
      <p:sp>
        <p:nvSpPr>
          <p:cNvPr id="12" name="Text Placeholder 2"/>
          <p:cNvSpPr>
            <a:spLocks noGrp="1"/>
          </p:cNvSpPr>
          <p:nvPr>
            <p:ph type="body" sz="quarter" idx="12" hasCustomPrompt="1"/>
          </p:nvPr>
        </p:nvSpPr>
        <p:spPr>
          <a:xfrm>
            <a:off x="622213"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22213"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22213" y="1704109"/>
            <a:ext cx="6628819" cy="3543823"/>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22213" y="5290931"/>
            <a:ext cx="0" cy="1017079"/>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997" y="23160"/>
            <a:ext cx="2177513" cy="975815"/>
            <a:chOff x="30997" y="23160"/>
            <a:chExt cx="2177513" cy="975815"/>
          </a:xfrm>
        </p:grpSpPr>
        <p:pic>
          <p:nvPicPr>
            <p:cNvPr id="19" name="Picture 18"/>
            <p:cNvPicPr>
              <a:picLocks noChangeAspect="1"/>
            </p:cNvPicPr>
            <p:nvPr userDrawn="1"/>
          </p:nvPicPr>
          <p:blipFill rotWithShape="1">
            <a:blip r:embed="rId3" cstate="screen">
              <a:extLst>
                <a:ext uri="{28A0092B-C50C-407E-A947-70E740481C1C}">
                  <a14:useLocalDpi xmlns:a14="http://schemas.microsoft.com/office/drawing/2010/main" val="0"/>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screen">
              <a:lum bright="100000"/>
              <a:extLst>
                <a:ext uri="{28A0092B-C50C-407E-A947-70E740481C1C}">
                  <a14:useLocalDpi xmlns:a14="http://schemas.microsoft.com/office/drawing/2010/main" val="0"/>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1696169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15949"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81805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2_Title Only with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10784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27084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44880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1280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866374"/>
          </a:xfrm>
          <a:noFill/>
        </p:spPr>
        <p:txBody>
          <a:bodyPr tIns="91440" bIns="91440" anchor="t" anchorCtr="0">
            <a:spAutoFit/>
          </a:bodyPr>
          <a:lstStyle>
            <a:lvl1pPr>
              <a:defRPr sz="4896" spc="-100" baseline="0">
                <a:gradFill>
                  <a:gsLst>
                    <a:gs pos="100000">
                      <a:schemeClr val="tx1"/>
                    </a:gs>
                    <a:gs pos="0">
                      <a:schemeClr val="tx1"/>
                    </a:gs>
                  </a:gsLst>
                  <a:lin ang="5400000" scaled="0"/>
                </a:gradFill>
                <a:latin typeface="+mn-lt"/>
              </a:defRPr>
            </a:lvl1pPr>
          </a:lstStyle>
          <a:p>
            <a:r>
              <a:rPr lang="en-US"/>
              <a:t>Section title</a:t>
            </a:r>
          </a:p>
        </p:txBody>
      </p:sp>
    </p:spTree>
    <p:extLst>
      <p:ext uri="{BB962C8B-B14F-4D97-AF65-F5344CB8AC3E}">
        <p14:creationId xmlns:p14="http://schemas.microsoft.com/office/powerpoint/2010/main" val="288103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5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642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2091726"/>
          </a:xfrm>
        </p:spPr>
        <p:txBody>
          <a:bodyPr/>
          <a:lstStyle>
            <a:lvl1pPr marL="0" indent="0">
              <a:buNone/>
              <a:defRPr sz="3298">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38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2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59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00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5"/>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28" tIns="182828" rIns="182828" bIns="182828" numCol="1" anchor="t" anchorCtr="0" compatLnSpc="1">
            <a:prstTxWarp prst="textNoShape">
              <a:avLst/>
            </a:prstTxWarp>
            <a:spAutoFit/>
          </a:bodyPr>
          <a:lstStyle/>
          <a:p>
            <a:pPr defTabSz="93193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black">
          <a:xfrm>
            <a:off x="460690" y="479425"/>
            <a:ext cx="1451843" cy="310896"/>
          </a:xfrm>
          <a:prstGeom prst="rect">
            <a:avLst/>
          </a:prstGeom>
        </p:spPr>
      </p:pic>
    </p:spTree>
    <p:extLst>
      <p:ext uri="{BB962C8B-B14F-4D97-AF65-F5344CB8AC3E}">
        <p14:creationId xmlns:p14="http://schemas.microsoft.com/office/powerpoint/2010/main" val="357547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100280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43890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43890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43890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2861889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15949"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450440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accent5"/>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FF500843-866F-4B70-8023-A5F7A240F48B}"/>
              </a:ext>
            </a:extLst>
          </p:cNvPr>
          <p:cNvSpPr>
            <a:spLocks noGrp="1"/>
          </p:cNvSpPr>
          <p:nvPr>
            <p:ph type="title"/>
          </p:nvPr>
        </p:nvSpPr>
        <p:spPr>
          <a:xfrm>
            <a:off x="633198" y="2373220"/>
            <a:ext cx="6557131" cy="1632056"/>
          </a:xfrm>
        </p:spPr>
        <p:txBody>
          <a:bodyPr vert="horz" wrap="square" lIns="0" tIns="91440" rIns="146304" bIns="91440" rtlCol="0">
            <a:spAutoFit/>
          </a:bodyPr>
          <a:lstStyle>
            <a:lvl1pPr>
              <a:defRPr lang="en-IN" sz="5100" spc="0" dirty="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sp>
        <p:nvSpPr>
          <p:cNvPr id="22" name="Text Placeholder 21">
            <a:extLst>
              <a:ext uri="{FF2B5EF4-FFF2-40B4-BE49-F238E27FC236}">
                <a16:creationId xmlns:a16="http://schemas.microsoft.com/office/drawing/2014/main" id="{B1860CBC-335C-4133-BA71-CC6587274B60}"/>
              </a:ext>
            </a:extLst>
          </p:cNvPr>
          <p:cNvSpPr>
            <a:spLocks noGrp="1"/>
          </p:cNvSpPr>
          <p:nvPr>
            <p:ph type="body" sz="quarter" idx="11" hasCustomPrompt="1"/>
          </p:nvPr>
        </p:nvSpPr>
        <p:spPr>
          <a:xfrm>
            <a:off x="658093" y="1850720"/>
            <a:ext cx="2523572" cy="237979"/>
          </a:xfrm>
        </p:spPr>
        <p:txBody>
          <a:bodyPr lIns="0" tIns="0" rIns="0" bIns="0" anchor="ctr"/>
          <a:lstStyle>
            <a:lvl1pPr marL="0" marR="0" indent="0" algn="l" defTabSz="932597" rtl="0" eaLnBrk="1" fontAlgn="auto" latinLnBrk="0" hangingPunct="1">
              <a:lnSpc>
                <a:spcPct val="140000"/>
              </a:lnSpc>
              <a:spcBef>
                <a:spcPts val="0"/>
              </a:spcBef>
              <a:spcAft>
                <a:spcPts val="0"/>
              </a:spcAft>
              <a:buClrTx/>
              <a:buSzTx/>
              <a:buFontTx/>
              <a:buNone/>
              <a:tabLst/>
              <a:defRPr sz="1428" cap="all" spc="357">
                <a:solidFill>
                  <a:schemeClr val="accent1"/>
                </a:solidFill>
                <a:latin typeface="Segoe UI"/>
                <a:cs typeface="Segoe UI"/>
                <a:sym typeface="Segoe UI"/>
              </a:defRPr>
            </a:lvl1pPr>
          </a:lstStyle>
          <a:p>
            <a:pPr marL="0" marR="0" lvl="0" indent="0" algn="l" defTabSz="932597" rtl="0" eaLnBrk="1" fontAlgn="auto" latinLnBrk="0" hangingPunct="1">
              <a:lnSpc>
                <a:spcPct val="140000"/>
              </a:lnSpc>
              <a:spcBef>
                <a:spcPts val="0"/>
              </a:spcBef>
              <a:spcAft>
                <a:spcPts val="0"/>
              </a:spcAft>
              <a:buClrTx/>
              <a:buSzTx/>
              <a:buFontTx/>
              <a:buNone/>
              <a:tabLst/>
              <a:defRPr sz="1400" cap="all" spc="350">
                <a:solidFill>
                  <a:srgbClr val="50E6FF"/>
                </a:solidFill>
                <a:latin typeface="Segoe UI"/>
                <a:ea typeface="Segoe UI"/>
                <a:cs typeface="Segoe UI"/>
                <a:sym typeface="Segoe UI"/>
              </a:defRPr>
            </a:pPr>
            <a:r>
              <a:rPr kumimoji="0" lang="en-US" sz="1224" b="0" i="0" u="none" strike="noStrike" kern="1200" cap="all" spc="357" normalizeH="0" baseline="0" noProof="0">
                <a:ln>
                  <a:noFill/>
                </a:ln>
                <a:solidFill>
                  <a:srgbClr val="0078D7"/>
                </a:solidFill>
                <a:effectLst/>
                <a:uLnTx/>
                <a:uFillTx/>
                <a:latin typeface="Segoe UI"/>
                <a:cs typeface="Segoe UI"/>
                <a:sym typeface="Segoe UI"/>
              </a:rPr>
              <a:t>LOREM IPSUM</a:t>
            </a:r>
          </a:p>
        </p:txBody>
      </p:sp>
      <p:pic>
        <p:nvPicPr>
          <p:cNvPr id="15" name="logo2.png" descr="Microsoft logo">
            <a:extLst>
              <a:ext uri="{FF2B5EF4-FFF2-40B4-BE49-F238E27FC236}">
                <a16:creationId xmlns:a16="http://schemas.microsoft.com/office/drawing/2014/main" id="{B890FFA7-3A8B-434C-A7FF-E48D67BA31B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pic>
        <p:nvPicPr>
          <p:cNvPr id="4" name="Graphic 3">
            <a:extLst>
              <a:ext uri="{FF2B5EF4-FFF2-40B4-BE49-F238E27FC236}">
                <a16:creationId xmlns:a16="http://schemas.microsoft.com/office/drawing/2014/main" id="{D9B3B345-D9EA-4EF1-A25F-4FF0E7AA256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r="16311" b="46159"/>
          <a:stretch/>
        </p:blipFill>
        <p:spPr>
          <a:xfrm>
            <a:off x="6733841" y="4950273"/>
            <a:ext cx="5682181" cy="2055898"/>
          </a:xfrm>
          <a:prstGeom prst="rect">
            <a:avLst/>
          </a:prstGeom>
        </p:spPr>
      </p:pic>
      <p:pic>
        <p:nvPicPr>
          <p:cNvPr id="5" name="Graphic 4">
            <a:extLst>
              <a:ext uri="{FF2B5EF4-FFF2-40B4-BE49-F238E27FC236}">
                <a16:creationId xmlns:a16="http://schemas.microsoft.com/office/drawing/2014/main" id="{4FB25452-8D6E-4B6D-802C-C7A8E49A7C2E}"/>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r="59712" b="46159"/>
          <a:stretch/>
        </p:blipFill>
        <p:spPr>
          <a:xfrm>
            <a:off x="9699300" y="2902841"/>
            <a:ext cx="2735427" cy="2055898"/>
          </a:xfrm>
          <a:prstGeom prst="rect">
            <a:avLst/>
          </a:prstGeom>
        </p:spPr>
      </p:pic>
      <p:pic>
        <p:nvPicPr>
          <p:cNvPr id="6" name="Graphic 5">
            <a:extLst>
              <a:ext uri="{FF2B5EF4-FFF2-40B4-BE49-F238E27FC236}">
                <a16:creationId xmlns:a16="http://schemas.microsoft.com/office/drawing/2014/main" id="{707C3700-F39C-4396-90C0-1FB3E9FE7ECF}"/>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r="59902" b="46159"/>
          <a:stretch/>
        </p:blipFill>
        <p:spPr>
          <a:xfrm>
            <a:off x="9714003" y="846944"/>
            <a:ext cx="2722472" cy="2055898"/>
          </a:xfrm>
          <a:prstGeom prst="rect">
            <a:avLst/>
          </a:prstGeom>
        </p:spPr>
      </p:pic>
      <p:sp>
        <p:nvSpPr>
          <p:cNvPr id="18" name="Freeform: Shape 17">
            <a:extLst>
              <a:ext uri="{FF2B5EF4-FFF2-40B4-BE49-F238E27FC236}">
                <a16:creationId xmlns:a16="http://schemas.microsoft.com/office/drawing/2014/main" id="{FCBC923B-A160-4D2C-83B3-B9B2030BFBE5}"/>
              </a:ext>
              <a:ext uri="{C183D7F6-B498-43B3-948B-1728B52AA6E4}">
                <adec:decorative xmlns:adec="http://schemas.microsoft.com/office/drawing/2017/decorative" val="1"/>
              </a:ext>
            </a:extLst>
          </p:cNvPr>
          <p:cNvSpPr/>
          <p:nvPr/>
        </p:nvSpPr>
        <p:spPr bwMode="auto">
          <a:xfrm>
            <a:off x="8018254" y="0"/>
            <a:ext cx="4418221" cy="4924800"/>
          </a:xfrm>
          <a:custGeom>
            <a:avLst/>
            <a:gdLst>
              <a:gd name="connsiteX0" fmla="*/ 0 w 4331368"/>
              <a:gd name="connsiteY0" fmla="*/ 0 h 4828674"/>
              <a:gd name="connsiteX1" fmla="*/ 4331368 w 4331368"/>
              <a:gd name="connsiteY1" fmla="*/ 0 h 4828674"/>
              <a:gd name="connsiteX2" fmla="*/ 4331368 w 4331368"/>
              <a:gd name="connsiteY2" fmla="*/ 1604211 h 4828674"/>
              <a:gd name="connsiteX3" fmla="*/ 1796715 w 4331368"/>
              <a:gd name="connsiteY3" fmla="*/ 4219074 h 4828674"/>
              <a:gd name="connsiteX4" fmla="*/ 1604210 w 4331368"/>
              <a:gd name="connsiteY4" fmla="*/ 4700337 h 4828674"/>
              <a:gd name="connsiteX5" fmla="*/ 1556084 w 4331368"/>
              <a:gd name="connsiteY5" fmla="*/ 4828674 h 4828674"/>
              <a:gd name="connsiteX6" fmla="*/ 0 w 4331368"/>
              <a:gd name="connsiteY6" fmla="*/ 4828674 h 482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1368" h="4828674">
                <a:moveTo>
                  <a:pt x="0" y="0"/>
                </a:moveTo>
                <a:lnTo>
                  <a:pt x="4331368" y="0"/>
                </a:lnTo>
                <a:lnTo>
                  <a:pt x="4331368" y="1604211"/>
                </a:lnTo>
                <a:lnTo>
                  <a:pt x="1796715" y="4219074"/>
                </a:lnTo>
                <a:lnTo>
                  <a:pt x="1604210" y="4700337"/>
                </a:lnTo>
                <a:lnTo>
                  <a:pt x="1556084" y="4828674"/>
                </a:lnTo>
                <a:lnTo>
                  <a:pt x="0" y="4828674"/>
                </a:ln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576E1436-6F0B-44D9-AEFB-433D64F6218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32" b="46159"/>
          <a:stretch/>
        </p:blipFill>
        <p:spPr>
          <a:xfrm>
            <a:off x="0" y="4950272"/>
            <a:ext cx="6746795" cy="2055897"/>
          </a:xfrm>
          <a:prstGeom prst="rect">
            <a:avLst/>
          </a:prstGeom>
        </p:spPr>
      </p:pic>
      <p:pic>
        <p:nvPicPr>
          <p:cNvPr id="9" name="Graphic 8">
            <a:extLst>
              <a:ext uri="{FF2B5EF4-FFF2-40B4-BE49-F238E27FC236}">
                <a16:creationId xmlns:a16="http://schemas.microsoft.com/office/drawing/2014/main" id="{33457663-0772-4BBB-AC89-C4B15E9644F9}"/>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rcRect l="34485" t="45404" r="34374" b="35092"/>
          <a:stretch/>
        </p:blipFill>
        <p:spPr>
          <a:xfrm rot="10800000" flipH="1">
            <a:off x="0" y="5022529"/>
            <a:ext cx="4866760" cy="1971995"/>
          </a:xfrm>
          <a:prstGeom prst="rect">
            <a:avLst/>
          </a:prstGeom>
        </p:spPr>
      </p:pic>
      <p:pic>
        <p:nvPicPr>
          <p:cNvPr id="10" name="Graphic 9">
            <a:extLst>
              <a:ext uri="{FF2B5EF4-FFF2-40B4-BE49-F238E27FC236}">
                <a16:creationId xmlns:a16="http://schemas.microsoft.com/office/drawing/2014/main" id="{3DC8D463-2EC6-48A8-A344-1FE585C641EF}"/>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3272" t="35419" r="4468" b="36428"/>
          <a:stretch/>
        </p:blipFill>
        <p:spPr>
          <a:xfrm>
            <a:off x="1" y="2404384"/>
            <a:ext cx="12436476" cy="2694464"/>
          </a:xfrm>
          <a:prstGeom prst="rect">
            <a:avLst/>
          </a:prstGeom>
        </p:spPr>
      </p:pic>
      <p:sp>
        <p:nvSpPr>
          <p:cNvPr id="11" name="Oval 10">
            <a:extLst>
              <a:ext uri="{FF2B5EF4-FFF2-40B4-BE49-F238E27FC236}">
                <a16:creationId xmlns:a16="http://schemas.microsoft.com/office/drawing/2014/main" id="{EB611F20-DDA8-42CC-A477-8E23D0CDEFA6}"/>
              </a:ext>
              <a:ext uri="{C183D7F6-B498-43B3-948B-1728B52AA6E4}">
                <adec:decorative xmlns:adec="http://schemas.microsoft.com/office/drawing/2017/decorative" val="1"/>
              </a:ext>
            </a:extLst>
          </p:cNvPr>
          <p:cNvSpPr/>
          <p:nvPr/>
        </p:nvSpPr>
        <p:spPr bwMode="auto">
          <a:xfrm>
            <a:off x="1938975" y="5400952"/>
            <a:ext cx="127084" cy="127066"/>
          </a:xfrm>
          <a:prstGeom prst="ellipse">
            <a:avLst/>
          </a:prstGeom>
          <a:solidFill>
            <a:srgbClr val="9BF00B"/>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3" name="Graphic 12">
            <a:extLst>
              <a:ext uri="{FF2B5EF4-FFF2-40B4-BE49-F238E27FC236}">
                <a16:creationId xmlns:a16="http://schemas.microsoft.com/office/drawing/2014/main" id="{5AC62215-6BE7-496D-90F9-6FAB23C011B7}"/>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rcRect l="23354" t="16222" r="57432" b="23454"/>
          <a:stretch/>
        </p:blipFill>
        <p:spPr>
          <a:xfrm>
            <a:off x="9284971" y="593174"/>
            <a:ext cx="3151505" cy="6401352"/>
          </a:xfrm>
          <a:prstGeom prst="rect">
            <a:avLst/>
          </a:prstGeom>
        </p:spPr>
      </p:pic>
      <p:sp>
        <p:nvSpPr>
          <p:cNvPr id="14" name="Oval 13">
            <a:extLst>
              <a:ext uri="{FF2B5EF4-FFF2-40B4-BE49-F238E27FC236}">
                <a16:creationId xmlns:a16="http://schemas.microsoft.com/office/drawing/2014/main" id="{6CB5B8E1-55AB-4F82-889A-6BA51ED3FE16}"/>
              </a:ext>
              <a:ext uri="{C183D7F6-B498-43B3-948B-1728B52AA6E4}">
                <adec:decorative xmlns:adec="http://schemas.microsoft.com/office/drawing/2017/decorative" val="1"/>
              </a:ext>
            </a:extLst>
          </p:cNvPr>
          <p:cNvSpPr/>
          <p:nvPr/>
        </p:nvSpPr>
        <p:spPr bwMode="auto">
          <a:xfrm>
            <a:off x="11195159" y="2793492"/>
            <a:ext cx="127084" cy="127066"/>
          </a:xfrm>
          <a:prstGeom prst="ellips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a:extLst>
              <a:ext uri="{FF2B5EF4-FFF2-40B4-BE49-F238E27FC236}">
                <a16:creationId xmlns:a16="http://schemas.microsoft.com/office/drawing/2014/main" id="{170AECFC-4CDF-4751-8C16-30EE45AD70EE}"/>
              </a:ext>
              <a:ext uri="{C183D7F6-B498-43B3-948B-1728B52AA6E4}">
                <adec:decorative xmlns:adec="http://schemas.microsoft.com/office/drawing/2017/decorative" val="1"/>
              </a:ext>
            </a:extLst>
          </p:cNvPr>
          <p:cNvSpPr/>
          <p:nvPr userDrawn="1"/>
        </p:nvSpPr>
        <p:spPr bwMode="auto">
          <a:xfrm>
            <a:off x="5909658" y="4852024"/>
            <a:ext cx="114260" cy="114244"/>
          </a:xfrm>
          <a:prstGeom prst="ellipse">
            <a:avLst/>
          </a:prstGeom>
          <a:solidFill>
            <a:schemeClr val="accent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98704294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5_Title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114C0C7-DC16-4A7F-AD73-F1DE0984F4CE}"/>
              </a:ext>
            </a:extLst>
          </p:cNvPr>
          <p:cNvSpPr/>
          <p:nvPr/>
        </p:nvSpPr>
        <p:spPr bwMode="auto">
          <a:xfrm>
            <a:off x="1" y="0"/>
            <a:ext cx="12436475" cy="7001101"/>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51" name="Graphic 50">
            <a:extLst>
              <a:ext uri="{FF2B5EF4-FFF2-40B4-BE49-F238E27FC236}">
                <a16:creationId xmlns:a16="http://schemas.microsoft.com/office/drawing/2014/main" id="{154BC9D5-90C1-4C7B-A23C-C27AE41B29D0}"/>
              </a:ext>
            </a:extLst>
          </p:cNvPr>
          <p:cNvPicPr>
            <a:picLocks noChangeAspect="1"/>
          </p:cNvPicPr>
          <p:nvPr userDrawn="1"/>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r="16311" b="46159"/>
          <a:stretch/>
        </p:blipFill>
        <p:spPr>
          <a:xfrm>
            <a:off x="6733841" y="4950273"/>
            <a:ext cx="5682181" cy="2055898"/>
          </a:xfrm>
          <a:prstGeom prst="rect">
            <a:avLst/>
          </a:prstGeom>
        </p:spPr>
      </p:pic>
      <p:pic>
        <p:nvPicPr>
          <p:cNvPr id="52" name="Graphic 51">
            <a:extLst>
              <a:ext uri="{FF2B5EF4-FFF2-40B4-BE49-F238E27FC236}">
                <a16:creationId xmlns:a16="http://schemas.microsoft.com/office/drawing/2014/main" id="{CD536B42-77A9-4752-8CAC-02293CBB3479}"/>
              </a:ext>
            </a:extLst>
          </p:cNvPr>
          <p:cNvPicPr>
            <a:picLocks noChangeAspect="1"/>
          </p:cNvPicPr>
          <p:nvPr userDrawn="1"/>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632" b="46159"/>
          <a:stretch/>
        </p:blipFill>
        <p:spPr>
          <a:xfrm>
            <a:off x="0" y="4950272"/>
            <a:ext cx="6746795" cy="2055897"/>
          </a:xfrm>
          <a:prstGeom prst="rect">
            <a:avLst/>
          </a:prstGeom>
        </p:spPr>
      </p:pic>
      <p:pic>
        <p:nvPicPr>
          <p:cNvPr id="57" name="Graphic 56">
            <a:extLst>
              <a:ext uri="{FF2B5EF4-FFF2-40B4-BE49-F238E27FC236}">
                <a16:creationId xmlns:a16="http://schemas.microsoft.com/office/drawing/2014/main" id="{8BBE3376-4043-41B3-A774-DE3106CD6A02}"/>
              </a:ext>
            </a:extLst>
          </p:cNvPr>
          <p:cNvPicPr>
            <a:picLocks noChangeAspect="1"/>
          </p:cNvPicPr>
          <p:nvPr userDrawn="1"/>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r="59712" b="46159"/>
          <a:stretch/>
        </p:blipFill>
        <p:spPr>
          <a:xfrm>
            <a:off x="9699300" y="2902841"/>
            <a:ext cx="2735427" cy="2055898"/>
          </a:xfrm>
          <a:prstGeom prst="rect">
            <a:avLst/>
          </a:prstGeom>
        </p:spPr>
      </p:pic>
      <p:sp>
        <p:nvSpPr>
          <p:cNvPr id="18" name="Freeform: Shape 17">
            <a:extLst>
              <a:ext uri="{FF2B5EF4-FFF2-40B4-BE49-F238E27FC236}">
                <a16:creationId xmlns:a16="http://schemas.microsoft.com/office/drawing/2014/main" id="{FCBC923B-A160-4D2C-83B3-B9B2030BFBE5}"/>
              </a:ext>
            </a:extLst>
          </p:cNvPr>
          <p:cNvSpPr/>
          <p:nvPr/>
        </p:nvSpPr>
        <p:spPr bwMode="auto">
          <a:xfrm>
            <a:off x="8018254" y="0"/>
            <a:ext cx="4418221" cy="4924800"/>
          </a:xfrm>
          <a:custGeom>
            <a:avLst/>
            <a:gdLst>
              <a:gd name="connsiteX0" fmla="*/ 0 w 4331368"/>
              <a:gd name="connsiteY0" fmla="*/ 0 h 4828674"/>
              <a:gd name="connsiteX1" fmla="*/ 4331368 w 4331368"/>
              <a:gd name="connsiteY1" fmla="*/ 0 h 4828674"/>
              <a:gd name="connsiteX2" fmla="*/ 4331368 w 4331368"/>
              <a:gd name="connsiteY2" fmla="*/ 1604211 h 4828674"/>
              <a:gd name="connsiteX3" fmla="*/ 1796715 w 4331368"/>
              <a:gd name="connsiteY3" fmla="*/ 4219074 h 4828674"/>
              <a:gd name="connsiteX4" fmla="*/ 1604210 w 4331368"/>
              <a:gd name="connsiteY4" fmla="*/ 4700337 h 4828674"/>
              <a:gd name="connsiteX5" fmla="*/ 1556084 w 4331368"/>
              <a:gd name="connsiteY5" fmla="*/ 4828674 h 4828674"/>
              <a:gd name="connsiteX6" fmla="*/ 0 w 4331368"/>
              <a:gd name="connsiteY6" fmla="*/ 4828674 h 482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1368" h="4828674">
                <a:moveTo>
                  <a:pt x="0" y="0"/>
                </a:moveTo>
                <a:lnTo>
                  <a:pt x="4331368" y="0"/>
                </a:lnTo>
                <a:lnTo>
                  <a:pt x="4331368" y="1604211"/>
                </a:lnTo>
                <a:lnTo>
                  <a:pt x="1796715" y="4219074"/>
                </a:lnTo>
                <a:lnTo>
                  <a:pt x="1604210" y="4700337"/>
                </a:lnTo>
                <a:lnTo>
                  <a:pt x="1556084" y="4828674"/>
                </a:lnTo>
                <a:lnTo>
                  <a:pt x="0" y="4828674"/>
                </a:ln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15" name="logo2.png" descr="logo2.png">
            <a:extLst>
              <a:ext uri="{FF2B5EF4-FFF2-40B4-BE49-F238E27FC236}">
                <a16:creationId xmlns:a16="http://schemas.microsoft.com/office/drawing/2014/main" id="{B890FFA7-3A8B-434C-A7FF-E48D67BA31B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5100">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2" name="Text Placeholder 21">
            <a:extLst>
              <a:ext uri="{FF2B5EF4-FFF2-40B4-BE49-F238E27FC236}">
                <a16:creationId xmlns:a16="http://schemas.microsoft.com/office/drawing/2014/main" id="{B1860CBC-335C-4133-BA71-CC6587274B60}"/>
              </a:ext>
            </a:extLst>
          </p:cNvPr>
          <p:cNvSpPr>
            <a:spLocks noGrp="1"/>
          </p:cNvSpPr>
          <p:nvPr>
            <p:ph type="body" sz="quarter" idx="11" hasCustomPrompt="1"/>
          </p:nvPr>
        </p:nvSpPr>
        <p:spPr>
          <a:xfrm>
            <a:off x="658093" y="1850720"/>
            <a:ext cx="2523572" cy="237979"/>
          </a:xfrm>
        </p:spPr>
        <p:txBody>
          <a:bodyPr lIns="0" tIns="0" rIns="0" bIns="0" anchor="ctr"/>
          <a:lstStyle>
            <a:lvl1pPr marL="0" marR="0" indent="0" algn="l" defTabSz="932597" rtl="0" eaLnBrk="1" fontAlgn="auto" latinLnBrk="0" hangingPunct="1">
              <a:lnSpc>
                <a:spcPct val="140000"/>
              </a:lnSpc>
              <a:spcBef>
                <a:spcPts val="0"/>
              </a:spcBef>
              <a:spcAft>
                <a:spcPts val="0"/>
              </a:spcAft>
              <a:buClrTx/>
              <a:buSzTx/>
              <a:buFontTx/>
              <a:buNone/>
              <a:tabLst/>
              <a:defRPr sz="1428" cap="all" spc="357">
                <a:solidFill>
                  <a:schemeClr val="bg1"/>
                </a:solidFill>
                <a:latin typeface="Segoe UI"/>
                <a:cs typeface="Segoe UI"/>
                <a:sym typeface="Segoe UI"/>
              </a:defRPr>
            </a:lvl1pPr>
          </a:lstStyle>
          <a:p>
            <a:pPr marL="0" marR="0" lvl="0" indent="0" algn="l" defTabSz="932597" rtl="0" eaLnBrk="1" fontAlgn="auto" latinLnBrk="0" hangingPunct="1">
              <a:lnSpc>
                <a:spcPct val="140000"/>
              </a:lnSpc>
              <a:spcBef>
                <a:spcPts val="0"/>
              </a:spcBef>
              <a:spcAft>
                <a:spcPts val="0"/>
              </a:spcAft>
              <a:buClrTx/>
              <a:buSzTx/>
              <a:buFontTx/>
              <a:buNone/>
              <a:tabLst/>
              <a:defRPr sz="1400" cap="all" spc="350">
                <a:solidFill>
                  <a:srgbClr val="50E6FF"/>
                </a:solidFill>
                <a:latin typeface="Segoe UI"/>
                <a:ea typeface="Segoe UI"/>
                <a:cs typeface="Segoe UI"/>
                <a:sym typeface="Segoe UI"/>
              </a:defRPr>
            </a:pPr>
            <a:r>
              <a:rPr kumimoji="0" lang="en-US" sz="1224" b="0" i="0" u="none" strike="noStrike" kern="1200" cap="all" spc="357" normalizeH="0" baseline="0" noProof="0">
                <a:ln>
                  <a:noFill/>
                </a:ln>
                <a:solidFill>
                  <a:srgbClr val="0078D7"/>
                </a:solidFill>
                <a:effectLst/>
                <a:uLnTx/>
                <a:uFillTx/>
                <a:latin typeface="Segoe UI"/>
                <a:cs typeface="Segoe UI"/>
                <a:sym typeface="Segoe UI"/>
              </a:rPr>
              <a:t>LOREM IPSUM</a:t>
            </a:r>
          </a:p>
        </p:txBody>
      </p:sp>
      <p:sp>
        <p:nvSpPr>
          <p:cNvPr id="65" name="Freeform: Shape 64">
            <a:extLst>
              <a:ext uri="{FF2B5EF4-FFF2-40B4-BE49-F238E27FC236}">
                <a16:creationId xmlns:a16="http://schemas.microsoft.com/office/drawing/2014/main" id="{808688FB-1181-4599-989C-A6915063559F}"/>
              </a:ext>
            </a:extLst>
          </p:cNvPr>
          <p:cNvSpPr/>
          <p:nvPr userDrawn="1"/>
        </p:nvSpPr>
        <p:spPr bwMode="auto">
          <a:xfrm>
            <a:off x="0" y="2818084"/>
            <a:ext cx="12449993" cy="3791236"/>
          </a:xfrm>
          <a:custGeom>
            <a:avLst/>
            <a:gdLst>
              <a:gd name="connsiteX0" fmla="*/ 0 w 12205252"/>
              <a:gd name="connsiteY0" fmla="*/ 2037522 h 3717235"/>
              <a:gd name="connsiteX1" fmla="*/ 0 w 12205252"/>
              <a:gd name="connsiteY1" fmla="*/ 3717235 h 3717235"/>
              <a:gd name="connsiteX2" fmla="*/ 9631017 w 12205252"/>
              <a:gd name="connsiteY2" fmla="*/ 3717235 h 3717235"/>
              <a:gd name="connsiteX3" fmla="*/ 10336696 w 12205252"/>
              <a:gd name="connsiteY3" fmla="*/ 3498574 h 3717235"/>
              <a:gd name="connsiteX4" fmla="*/ 10783957 w 12205252"/>
              <a:gd name="connsiteY4" fmla="*/ 3061252 h 3717235"/>
              <a:gd name="connsiteX5" fmla="*/ 11191461 w 12205252"/>
              <a:gd name="connsiteY5" fmla="*/ 2673626 h 3717235"/>
              <a:gd name="connsiteX6" fmla="*/ 11191461 w 12205252"/>
              <a:gd name="connsiteY6" fmla="*/ 1530626 h 3717235"/>
              <a:gd name="connsiteX7" fmla="*/ 11350487 w 12205252"/>
              <a:gd name="connsiteY7" fmla="*/ 1063487 h 3717235"/>
              <a:gd name="connsiteX8" fmla="*/ 11598965 w 12205252"/>
              <a:gd name="connsiteY8" fmla="*/ 795131 h 3717235"/>
              <a:gd name="connsiteX9" fmla="*/ 11827565 w 12205252"/>
              <a:gd name="connsiteY9" fmla="*/ 566531 h 3717235"/>
              <a:gd name="connsiteX10" fmla="*/ 12105861 w 12205252"/>
              <a:gd name="connsiteY10" fmla="*/ 387626 h 3717235"/>
              <a:gd name="connsiteX11" fmla="*/ 12205252 w 12205252"/>
              <a:gd name="connsiteY11" fmla="*/ 288235 h 3717235"/>
              <a:gd name="connsiteX12" fmla="*/ 12205252 w 12205252"/>
              <a:gd name="connsiteY12" fmla="*/ 0 h 3717235"/>
              <a:gd name="connsiteX13" fmla="*/ 10803835 w 12205252"/>
              <a:gd name="connsiteY13" fmla="*/ 0 h 3717235"/>
              <a:gd name="connsiteX14" fmla="*/ 9044609 w 12205252"/>
              <a:gd name="connsiteY14" fmla="*/ 2077279 h 3717235"/>
              <a:gd name="connsiteX15" fmla="*/ 0 w 12205252"/>
              <a:gd name="connsiteY15" fmla="*/ 2037522 h 371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05252" h="3717235">
                <a:moveTo>
                  <a:pt x="0" y="2037522"/>
                </a:moveTo>
                <a:lnTo>
                  <a:pt x="0" y="3717235"/>
                </a:lnTo>
                <a:lnTo>
                  <a:pt x="9631017" y="3717235"/>
                </a:lnTo>
                <a:lnTo>
                  <a:pt x="10336696" y="3498574"/>
                </a:lnTo>
                <a:lnTo>
                  <a:pt x="10783957" y="3061252"/>
                </a:lnTo>
                <a:lnTo>
                  <a:pt x="11191461" y="2673626"/>
                </a:lnTo>
                <a:lnTo>
                  <a:pt x="11191461" y="1530626"/>
                </a:lnTo>
                <a:lnTo>
                  <a:pt x="11350487" y="1063487"/>
                </a:lnTo>
                <a:lnTo>
                  <a:pt x="11598965" y="795131"/>
                </a:lnTo>
                <a:lnTo>
                  <a:pt x="11827565" y="566531"/>
                </a:lnTo>
                <a:lnTo>
                  <a:pt x="12105861" y="387626"/>
                </a:lnTo>
                <a:lnTo>
                  <a:pt x="12205252" y="288235"/>
                </a:lnTo>
                <a:lnTo>
                  <a:pt x="12205252" y="0"/>
                </a:lnTo>
                <a:lnTo>
                  <a:pt x="10803835" y="0"/>
                </a:lnTo>
                <a:lnTo>
                  <a:pt x="9044609" y="2077279"/>
                </a:lnTo>
                <a:lnTo>
                  <a:pt x="0" y="2037522"/>
                </a:ln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A4FA1681-D2C4-4319-B25F-B28AC92EA02A}"/>
              </a:ext>
            </a:extLst>
          </p:cNvPr>
          <p:cNvGrpSpPr/>
          <p:nvPr userDrawn="1"/>
        </p:nvGrpSpPr>
        <p:grpSpPr>
          <a:xfrm>
            <a:off x="1" y="2135031"/>
            <a:ext cx="12436476" cy="4866070"/>
            <a:chOff x="0" y="2096582"/>
            <a:chExt cx="12192001" cy="4771090"/>
          </a:xfrm>
        </p:grpSpPr>
        <p:pic>
          <p:nvPicPr>
            <p:cNvPr id="48" name="Graphic 47">
              <a:extLst>
                <a:ext uri="{FF2B5EF4-FFF2-40B4-BE49-F238E27FC236}">
                  <a16:creationId xmlns:a16="http://schemas.microsoft.com/office/drawing/2014/main" id="{629BA5FF-850A-4559-B37D-CD066F5C10F5}"/>
                </a:ext>
              </a:extLst>
            </p:cNvPr>
            <p:cNvPicPr>
              <a:picLocks noChangeAspect="1"/>
            </p:cNvPicPr>
            <p:nvPr userDrawn="1"/>
          </p:nvPicPr>
          <p:blipFill rotWithShape="1">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rcRect l="23272" t="35419" r="4468" b="36428"/>
            <a:stretch/>
          </p:blipFill>
          <p:spPr>
            <a:xfrm rot="10800000" flipH="1" flipV="1">
              <a:off x="0" y="4003679"/>
              <a:ext cx="12192001" cy="2641871"/>
            </a:xfrm>
            <a:prstGeom prst="rect">
              <a:avLst/>
            </a:prstGeom>
          </p:spPr>
        </p:pic>
        <p:sp>
          <p:nvSpPr>
            <p:cNvPr id="49" name="Oval 48">
              <a:extLst>
                <a:ext uri="{FF2B5EF4-FFF2-40B4-BE49-F238E27FC236}">
                  <a16:creationId xmlns:a16="http://schemas.microsoft.com/office/drawing/2014/main" id="{FE4C3668-B87D-4370-B592-3409554ED379}"/>
                </a:ext>
              </a:extLst>
            </p:cNvPr>
            <p:cNvSpPr/>
            <p:nvPr userDrawn="1"/>
          </p:nvSpPr>
          <p:spPr bwMode="auto">
            <a:xfrm rot="10800000" flipH="1" flipV="1">
              <a:off x="5793486" y="6394749"/>
              <a:ext cx="124586" cy="124586"/>
            </a:xfrm>
            <a:prstGeom prst="ellipse">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Oval 49">
              <a:extLst>
                <a:ext uri="{FF2B5EF4-FFF2-40B4-BE49-F238E27FC236}">
                  <a16:creationId xmlns:a16="http://schemas.microsoft.com/office/drawing/2014/main" id="{C743B7C9-C77F-403F-9EB2-74855B8C8486}"/>
                </a:ext>
              </a:extLst>
            </p:cNvPr>
            <p:cNvSpPr/>
            <p:nvPr userDrawn="1"/>
          </p:nvSpPr>
          <p:spPr bwMode="auto">
            <a:xfrm rot="10800000" flipH="1" flipV="1">
              <a:off x="2009154" y="6394749"/>
              <a:ext cx="124586" cy="124586"/>
            </a:xfrm>
            <a:prstGeom prst="ellipse">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9" name="Graphic 58">
              <a:extLst>
                <a:ext uri="{FF2B5EF4-FFF2-40B4-BE49-F238E27FC236}">
                  <a16:creationId xmlns:a16="http://schemas.microsoft.com/office/drawing/2014/main" id="{9040063B-B529-4203-A217-F23986554A9E}"/>
                </a:ext>
              </a:extLst>
            </p:cNvPr>
            <p:cNvPicPr>
              <a:picLocks noChangeAspect="1"/>
            </p:cNvPicPr>
            <p:nvPr userDrawn="1"/>
          </p:nvPicPr>
          <p:blipFill rotWithShape="1">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rcRect l="34485" t="50327" r="34374" b="35092"/>
            <a:stretch/>
          </p:blipFill>
          <p:spPr>
            <a:xfrm rot="5400000" flipH="1">
              <a:off x="9082000" y="3759386"/>
              <a:ext cx="4771090" cy="1445482"/>
            </a:xfrm>
            <a:prstGeom prst="rect">
              <a:avLst/>
            </a:prstGeom>
          </p:spPr>
        </p:pic>
        <p:sp>
          <p:nvSpPr>
            <p:cNvPr id="60" name="Oval 59">
              <a:extLst>
                <a:ext uri="{FF2B5EF4-FFF2-40B4-BE49-F238E27FC236}">
                  <a16:creationId xmlns:a16="http://schemas.microsoft.com/office/drawing/2014/main" id="{DE3E05CF-3858-4F4F-A80E-AD7523803F1B}"/>
                </a:ext>
              </a:extLst>
            </p:cNvPr>
            <p:cNvSpPr/>
            <p:nvPr userDrawn="1"/>
          </p:nvSpPr>
          <p:spPr bwMode="auto">
            <a:xfrm rot="16200000">
              <a:off x="11258954" y="3886412"/>
              <a:ext cx="124586" cy="124586"/>
            </a:xfrm>
            <a:prstGeom prst="ellipse">
              <a:avLst/>
            </a:prstGeom>
            <a:solidFill>
              <a:srgbClr val="9BF00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89343527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6_Title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114C0C7-DC16-4A7F-AD73-F1DE0984F4CE}"/>
              </a:ext>
            </a:extLst>
          </p:cNvPr>
          <p:cNvSpPr/>
          <p:nvPr/>
        </p:nvSpPr>
        <p:spPr bwMode="auto">
          <a:xfrm>
            <a:off x="1" y="0"/>
            <a:ext cx="12436475" cy="7001101"/>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51" name="Graphic 50">
            <a:extLst>
              <a:ext uri="{FF2B5EF4-FFF2-40B4-BE49-F238E27FC236}">
                <a16:creationId xmlns:a16="http://schemas.microsoft.com/office/drawing/2014/main" id="{154BC9D5-90C1-4C7B-A23C-C27AE41B29D0}"/>
              </a:ext>
            </a:extLst>
          </p:cNvPr>
          <p:cNvPicPr>
            <a:picLocks noChangeAspect="1"/>
          </p:cNvPicPr>
          <p:nvPr userDrawn="1"/>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r="16311" b="46159"/>
          <a:stretch/>
        </p:blipFill>
        <p:spPr>
          <a:xfrm>
            <a:off x="6733841" y="4950273"/>
            <a:ext cx="5682181" cy="2055898"/>
          </a:xfrm>
          <a:prstGeom prst="rect">
            <a:avLst/>
          </a:prstGeom>
        </p:spPr>
      </p:pic>
      <p:pic>
        <p:nvPicPr>
          <p:cNvPr id="52" name="Graphic 51">
            <a:extLst>
              <a:ext uri="{FF2B5EF4-FFF2-40B4-BE49-F238E27FC236}">
                <a16:creationId xmlns:a16="http://schemas.microsoft.com/office/drawing/2014/main" id="{CD536B42-77A9-4752-8CAC-02293CBB3479}"/>
              </a:ext>
            </a:extLst>
          </p:cNvPr>
          <p:cNvPicPr>
            <a:picLocks noChangeAspect="1"/>
          </p:cNvPicPr>
          <p:nvPr userDrawn="1"/>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632" b="46159"/>
          <a:stretch/>
        </p:blipFill>
        <p:spPr>
          <a:xfrm>
            <a:off x="0" y="4950272"/>
            <a:ext cx="6746795" cy="2055897"/>
          </a:xfrm>
          <a:prstGeom prst="rect">
            <a:avLst/>
          </a:prstGeom>
        </p:spPr>
      </p:pic>
      <p:pic>
        <p:nvPicPr>
          <p:cNvPr id="57" name="Graphic 56">
            <a:extLst>
              <a:ext uri="{FF2B5EF4-FFF2-40B4-BE49-F238E27FC236}">
                <a16:creationId xmlns:a16="http://schemas.microsoft.com/office/drawing/2014/main" id="{8BBE3376-4043-41B3-A774-DE3106CD6A02}"/>
              </a:ext>
            </a:extLst>
          </p:cNvPr>
          <p:cNvPicPr>
            <a:picLocks noChangeAspect="1"/>
          </p:cNvPicPr>
          <p:nvPr userDrawn="1"/>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r="59712" b="46159"/>
          <a:stretch/>
        </p:blipFill>
        <p:spPr>
          <a:xfrm>
            <a:off x="9699300" y="2902841"/>
            <a:ext cx="2735427" cy="2055898"/>
          </a:xfrm>
          <a:prstGeom prst="rect">
            <a:avLst/>
          </a:prstGeom>
        </p:spPr>
      </p:pic>
      <p:sp>
        <p:nvSpPr>
          <p:cNvPr id="18" name="Freeform: Shape 17">
            <a:extLst>
              <a:ext uri="{FF2B5EF4-FFF2-40B4-BE49-F238E27FC236}">
                <a16:creationId xmlns:a16="http://schemas.microsoft.com/office/drawing/2014/main" id="{FCBC923B-A160-4D2C-83B3-B9B2030BFBE5}"/>
              </a:ext>
            </a:extLst>
          </p:cNvPr>
          <p:cNvSpPr/>
          <p:nvPr/>
        </p:nvSpPr>
        <p:spPr bwMode="auto">
          <a:xfrm>
            <a:off x="8018254" y="0"/>
            <a:ext cx="4418221" cy="4924800"/>
          </a:xfrm>
          <a:custGeom>
            <a:avLst/>
            <a:gdLst>
              <a:gd name="connsiteX0" fmla="*/ 0 w 4331368"/>
              <a:gd name="connsiteY0" fmla="*/ 0 h 4828674"/>
              <a:gd name="connsiteX1" fmla="*/ 4331368 w 4331368"/>
              <a:gd name="connsiteY1" fmla="*/ 0 h 4828674"/>
              <a:gd name="connsiteX2" fmla="*/ 4331368 w 4331368"/>
              <a:gd name="connsiteY2" fmla="*/ 1604211 h 4828674"/>
              <a:gd name="connsiteX3" fmla="*/ 1796715 w 4331368"/>
              <a:gd name="connsiteY3" fmla="*/ 4219074 h 4828674"/>
              <a:gd name="connsiteX4" fmla="*/ 1604210 w 4331368"/>
              <a:gd name="connsiteY4" fmla="*/ 4700337 h 4828674"/>
              <a:gd name="connsiteX5" fmla="*/ 1556084 w 4331368"/>
              <a:gd name="connsiteY5" fmla="*/ 4828674 h 4828674"/>
              <a:gd name="connsiteX6" fmla="*/ 0 w 4331368"/>
              <a:gd name="connsiteY6" fmla="*/ 4828674 h 482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1368" h="4828674">
                <a:moveTo>
                  <a:pt x="0" y="0"/>
                </a:moveTo>
                <a:lnTo>
                  <a:pt x="4331368" y="0"/>
                </a:lnTo>
                <a:lnTo>
                  <a:pt x="4331368" y="1604211"/>
                </a:lnTo>
                <a:lnTo>
                  <a:pt x="1796715" y="4219074"/>
                </a:lnTo>
                <a:lnTo>
                  <a:pt x="1604210" y="4700337"/>
                </a:lnTo>
                <a:lnTo>
                  <a:pt x="1556084" y="4828674"/>
                </a:lnTo>
                <a:lnTo>
                  <a:pt x="0" y="4828674"/>
                </a:ln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15" name="logo2.png" descr="logo2.png">
            <a:extLst>
              <a:ext uri="{FF2B5EF4-FFF2-40B4-BE49-F238E27FC236}">
                <a16:creationId xmlns:a16="http://schemas.microsoft.com/office/drawing/2014/main" id="{B890FFA7-3A8B-434C-A7FF-E48D67BA31B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5100">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2" name="Text Placeholder 21">
            <a:extLst>
              <a:ext uri="{FF2B5EF4-FFF2-40B4-BE49-F238E27FC236}">
                <a16:creationId xmlns:a16="http://schemas.microsoft.com/office/drawing/2014/main" id="{B1860CBC-335C-4133-BA71-CC6587274B60}"/>
              </a:ext>
            </a:extLst>
          </p:cNvPr>
          <p:cNvSpPr>
            <a:spLocks noGrp="1"/>
          </p:cNvSpPr>
          <p:nvPr>
            <p:ph type="body" sz="quarter" idx="11" hasCustomPrompt="1"/>
          </p:nvPr>
        </p:nvSpPr>
        <p:spPr>
          <a:xfrm>
            <a:off x="658093" y="1850720"/>
            <a:ext cx="2523572" cy="237979"/>
          </a:xfrm>
        </p:spPr>
        <p:txBody>
          <a:bodyPr lIns="0" tIns="0" rIns="0" bIns="0" anchor="ctr"/>
          <a:lstStyle>
            <a:lvl1pPr marL="0" marR="0" indent="0" algn="l" defTabSz="932597" rtl="0" eaLnBrk="1" fontAlgn="auto" latinLnBrk="0" hangingPunct="1">
              <a:lnSpc>
                <a:spcPct val="140000"/>
              </a:lnSpc>
              <a:spcBef>
                <a:spcPts val="0"/>
              </a:spcBef>
              <a:spcAft>
                <a:spcPts val="0"/>
              </a:spcAft>
              <a:buClrTx/>
              <a:buSzTx/>
              <a:buFontTx/>
              <a:buNone/>
              <a:tabLst/>
              <a:defRPr sz="1428" cap="all" spc="357">
                <a:solidFill>
                  <a:schemeClr val="bg1"/>
                </a:solidFill>
                <a:latin typeface="Segoe UI"/>
                <a:cs typeface="Segoe UI"/>
                <a:sym typeface="Segoe UI"/>
              </a:defRPr>
            </a:lvl1pPr>
          </a:lstStyle>
          <a:p>
            <a:pPr marL="0" marR="0" lvl="0" indent="0" algn="l" defTabSz="932597" rtl="0" eaLnBrk="1" fontAlgn="auto" latinLnBrk="0" hangingPunct="1">
              <a:lnSpc>
                <a:spcPct val="140000"/>
              </a:lnSpc>
              <a:spcBef>
                <a:spcPts val="0"/>
              </a:spcBef>
              <a:spcAft>
                <a:spcPts val="0"/>
              </a:spcAft>
              <a:buClrTx/>
              <a:buSzTx/>
              <a:buFontTx/>
              <a:buNone/>
              <a:tabLst/>
              <a:defRPr sz="1400" cap="all" spc="350">
                <a:solidFill>
                  <a:srgbClr val="50E6FF"/>
                </a:solidFill>
                <a:latin typeface="Segoe UI"/>
                <a:ea typeface="Segoe UI"/>
                <a:cs typeface="Segoe UI"/>
                <a:sym typeface="Segoe UI"/>
              </a:defRPr>
            </a:pPr>
            <a:r>
              <a:rPr kumimoji="0" lang="en-US" sz="1224" b="0" i="0" u="none" strike="noStrike" kern="1200" cap="all" spc="357" normalizeH="0" baseline="0" noProof="0">
                <a:ln>
                  <a:noFill/>
                </a:ln>
                <a:solidFill>
                  <a:srgbClr val="0078D7"/>
                </a:solidFill>
                <a:effectLst/>
                <a:uLnTx/>
                <a:uFillTx/>
                <a:latin typeface="Segoe UI"/>
                <a:cs typeface="Segoe UI"/>
                <a:sym typeface="Segoe UI"/>
              </a:rPr>
              <a:t>LOREM IPSUM</a:t>
            </a:r>
          </a:p>
        </p:txBody>
      </p:sp>
      <p:sp>
        <p:nvSpPr>
          <p:cNvPr id="65" name="Freeform: Shape 64">
            <a:extLst>
              <a:ext uri="{FF2B5EF4-FFF2-40B4-BE49-F238E27FC236}">
                <a16:creationId xmlns:a16="http://schemas.microsoft.com/office/drawing/2014/main" id="{808688FB-1181-4599-989C-A6915063559F}"/>
              </a:ext>
            </a:extLst>
          </p:cNvPr>
          <p:cNvSpPr/>
          <p:nvPr userDrawn="1"/>
        </p:nvSpPr>
        <p:spPr bwMode="auto">
          <a:xfrm>
            <a:off x="0" y="2818084"/>
            <a:ext cx="12449993" cy="3791236"/>
          </a:xfrm>
          <a:custGeom>
            <a:avLst/>
            <a:gdLst>
              <a:gd name="connsiteX0" fmla="*/ 0 w 12205252"/>
              <a:gd name="connsiteY0" fmla="*/ 2037522 h 3717235"/>
              <a:gd name="connsiteX1" fmla="*/ 0 w 12205252"/>
              <a:gd name="connsiteY1" fmla="*/ 3717235 h 3717235"/>
              <a:gd name="connsiteX2" fmla="*/ 9631017 w 12205252"/>
              <a:gd name="connsiteY2" fmla="*/ 3717235 h 3717235"/>
              <a:gd name="connsiteX3" fmla="*/ 10336696 w 12205252"/>
              <a:gd name="connsiteY3" fmla="*/ 3498574 h 3717235"/>
              <a:gd name="connsiteX4" fmla="*/ 10783957 w 12205252"/>
              <a:gd name="connsiteY4" fmla="*/ 3061252 h 3717235"/>
              <a:gd name="connsiteX5" fmla="*/ 11191461 w 12205252"/>
              <a:gd name="connsiteY5" fmla="*/ 2673626 h 3717235"/>
              <a:gd name="connsiteX6" fmla="*/ 11191461 w 12205252"/>
              <a:gd name="connsiteY6" fmla="*/ 1530626 h 3717235"/>
              <a:gd name="connsiteX7" fmla="*/ 11350487 w 12205252"/>
              <a:gd name="connsiteY7" fmla="*/ 1063487 h 3717235"/>
              <a:gd name="connsiteX8" fmla="*/ 11598965 w 12205252"/>
              <a:gd name="connsiteY8" fmla="*/ 795131 h 3717235"/>
              <a:gd name="connsiteX9" fmla="*/ 11827565 w 12205252"/>
              <a:gd name="connsiteY9" fmla="*/ 566531 h 3717235"/>
              <a:gd name="connsiteX10" fmla="*/ 12105861 w 12205252"/>
              <a:gd name="connsiteY10" fmla="*/ 387626 h 3717235"/>
              <a:gd name="connsiteX11" fmla="*/ 12205252 w 12205252"/>
              <a:gd name="connsiteY11" fmla="*/ 288235 h 3717235"/>
              <a:gd name="connsiteX12" fmla="*/ 12205252 w 12205252"/>
              <a:gd name="connsiteY12" fmla="*/ 0 h 3717235"/>
              <a:gd name="connsiteX13" fmla="*/ 10803835 w 12205252"/>
              <a:gd name="connsiteY13" fmla="*/ 0 h 3717235"/>
              <a:gd name="connsiteX14" fmla="*/ 9044609 w 12205252"/>
              <a:gd name="connsiteY14" fmla="*/ 2077279 h 3717235"/>
              <a:gd name="connsiteX15" fmla="*/ 0 w 12205252"/>
              <a:gd name="connsiteY15" fmla="*/ 2037522 h 371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05252" h="3717235">
                <a:moveTo>
                  <a:pt x="0" y="2037522"/>
                </a:moveTo>
                <a:lnTo>
                  <a:pt x="0" y="3717235"/>
                </a:lnTo>
                <a:lnTo>
                  <a:pt x="9631017" y="3717235"/>
                </a:lnTo>
                <a:lnTo>
                  <a:pt x="10336696" y="3498574"/>
                </a:lnTo>
                <a:lnTo>
                  <a:pt x="10783957" y="3061252"/>
                </a:lnTo>
                <a:lnTo>
                  <a:pt x="11191461" y="2673626"/>
                </a:lnTo>
                <a:lnTo>
                  <a:pt x="11191461" y="1530626"/>
                </a:lnTo>
                <a:lnTo>
                  <a:pt x="11350487" y="1063487"/>
                </a:lnTo>
                <a:lnTo>
                  <a:pt x="11598965" y="795131"/>
                </a:lnTo>
                <a:lnTo>
                  <a:pt x="11827565" y="566531"/>
                </a:lnTo>
                <a:lnTo>
                  <a:pt x="12105861" y="387626"/>
                </a:lnTo>
                <a:lnTo>
                  <a:pt x="12205252" y="288235"/>
                </a:lnTo>
                <a:lnTo>
                  <a:pt x="12205252" y="0"/>
                </a:lnTo>
                <a:lnTo>
                  <a:pt x="10803835" y="0"/>
                </a:lnTo>
                <a:lnTo>
                  <a:pt x="9044609" y="2077279"/>
                </a:lnTo>
                <a:lnTo>
                  <a:pt x="0" y="2037522"/>
                </a:ln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A4FA1681-D2C4-4319-B25F-B28AC92EA02A}"/>
              </a:ext>
            </a:extLst>
          </p:cNvPr>
          <p:cNvGrpSpPr/>
          <p:nvPr userDrawn="1"/>
        </p:nvGrpSpPr>
        <p:grpSpPr>
          <a:xfrm>
            <a:off x="1" y="2135031"/>
            <a:ext cx="12436476" cy="4866070"/>
            <a:chOff x="0" y="2096582"/>
            <a:chExt cx="12192001" cy="4771090"/>
          </a:xfrm>
        </p:grpSpPr>
        <p:pic>
          <p:nvPicPr>
            <p:cNvPr id="48" name="Graphic 47">
              <a:extLst>
                <a:ext uri="{FF2B5EF4-FFF2-40B4-BE49-F238E27FC236}">
                  <a16:creationId xmlns:a16="http://schemas.microsoft.com/office/drawing/2014/main" id="{629BA5FF-850A-4559-B37D-CD066F5C10F5}"/>
                </a:ext>
              </a:extLst>
            </p:cNvPr>
            <p:cNvPicPr>
              <a:picLocks noChangeAspect="1"/>
            </p:cNvPicPr>
            <p:nvPr userDrawn="1"/>
          </p:nvPicPr>
          <p:blipFill rotWithShape="1">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rcRect l="23272" t="35419" r="4468" b="36428"/>
            <a:stretch/>
          </p:blipFill>
          <p:spPr>
            <a:xfrm rot="10800000" flipH="1" flipV="1">
              <a:off x="0" y="4003679"/>
              <a:ext cx="12192001" cy="2641871"/>
            </a:xfrm>
            <a:prstGeom prst="rect">
              <a:avLst/>
            </a:prstGeom>
          </p:spPr>
        </p:pic>
        <p:sp>
          <p:nvSpPr>
            <p:cNvPr id="49" name="Oval 48">
              <a:extLst>
                <a:ext uri="{FF2B5EF4-FFF2-40B4-BE49-F238E27FC236}">
                  <a16:creationId xmlns:a16="http://schemas.microsoft.com/office/drawing/2014/main" id="{FE4C3668-B87D-4370-B592-3409554ED379}"/>
                </a:ext>
              </a:extLst>
            </p:cNvPr>
            <p:cNvSpPr/>
            <p:nvPr userDrawn="1"/>
          </p:nvSpPr>
          <p:spPr bwMode="auto">
            <a:xfrm rot="10800000" flipH="1" flipV="1">
              <a:off x="5793486" y="6394749"/>
              <a:ext cx="124586" cy="124586"/>
            </a:xfrm>
            <a:prstGeom prst="ellipse">
              <a:avLst/>
            </a:prstGeom>
            <a:solidFill>
              <a:schemeClr val="accent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Oval 49">
              <a:extLst>
                <a:ext uri="{FF2B5EF4-FFF2-40B4-BE49-F238E27FC236}">
                  <a16:creationId xmlns:a16="http://schemas.microsoft.com/office/drawing/2014/main" id="{C743B7C9-C77F-403F-9EB2-74855B8C8486}"/>
                </a:ext>
              </a:extLst>
            </p:cNvPr>
            <p:cNvSpPr/>
            <p:nvPr userDrawn="1"/>
          </p:nvSpPr>
          <p:spPr bwMode="auto">
            <a:xfrm rot="10800000" flipH="1" flipV="1">
              <a:off x="2009154" y="6394749"/>
              <a:ext cx="124586" cy="124586"/>
            </a:xfrm>
            <a:prstGeom prst="ellipse">
              <a:avLst/>
            </a:prstGeom>
            <a:solidFill>
              <a:schemeClr val="accent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9" name="Graphic 58">
              <a:extLst>
                <a:ext uri="{FF2B5EF4-FFF2-40B4-BE49-F238E27FC236}">
                  <a16:creationId xmlns:a16="http://schemas.microsoft.com/office/drawing/2014/main" id="{9040063B-B529-4203-A217-F23986554A9E}"/>
                </a:ext>
              </a:extLst>
            </p:cNvPr>
            <p:cNvPicPr>
              <a:picLocks noChangeAspect="1"/>
            </p:cNvPicPr>
            <p:nvPr userDrawn="1"/>
          </p:nvPicPr>
          <p:blipFill rotWithShape="1">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rcRect l="34485" t="50327" r="34374" b="35092"/>
            <a:stretch/>
          </p:blipFill>
          <p:spPr>
            <a:xfrm rot="5400000" flipH="1">
              <a:off x="9082000" y="3759386"/>
              <a:ext cx="4771090" cy="1445482"/>
            </a:xfrm>
            <a:prstGeom prst="rect">
              <a:avLst/>
            </a:prstGeom>
          </p:spPr>
        </p:pic>
        <p:sp>
          <p:nvSpPr>
            <p:cNvPr id="60" name="Oval 59">
              <a:extLst>
                <a:ext uri="{FF2B5EF4-FFF2-40B4-BE49-F238E27FC236}">
                  <a16:creationId xmlns:a16="http://schemas.microsoft.com/office/drawing/2014/main" id="{DE3E05CF-3858-4F4F-A80E-AD7523803F1B}"/>
                </a:ext>
              </a:extLst>
            </p:cNvPr>
            <p:cNvSpPr/>
            <p:nvPr userDrawn="1"/>
          </p:nvSpPr>
          <p:spPr bwMode="auto">
            <a:xfrm rot="16200000">
              <a:off x="11258954" y="3886412"/>
              <a:ext cx="124586" cy="124586"/>
            </a:xfrm>
            <a:prstGeom prst="ellipse">
              <a:avLst/>
            </a:prstGeom>
            <a:solidFill>
              <a:srgbClr val="9BF00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26037434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42EF8-6B1F-400A-9A20-114102D5F2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41B3AC-6AA4-422C-B86D-B64F0B2FACFD}"/>
              </a:ext>
            </a:extLst>
          </p:cNvPr>
          <p:cNvSpPr>
            <a:spLocks noGrp="1"/>
          </p:cNvSpPr>
          <p:nvPr>
            <p:ph sz="half" idx="1"/>
          </p:nvPr>
        </p:nvSpPr>
        <p:spPr>
          <a:xfrm>
            <a:off x="855008" y="1861968"/>
            <a:ext cx="5285502" cy="25391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168CC79-293F-4B85-9767-52614A1FEA39}"/>
              </a:ext>
            </a:extLst>
          </p:cNvPr>
          <p:cNvSpPr>
            <a:spLocks noGrp="1"/>
          </p:cNvSpPr>
          <p:nvPr>
            <p:ph sz="half" idx="2"/>
          </p:nvPr>
        </p:nvSpPr>
        <p:spPr>
          <a:xfrm>
            <a:off x="6295965" y="1861968"/>
            <a:ext cx="5285502" cy="25391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348BCF7-4E18-4C3B-9F4B-216131A493A1}"/>
              </a:ext>
            </a:extLst>
          </p:cNvPr>
          <p:cNvSpPr>
            <a:spLocks noGrp="1"/>
          </p:cNvSpPr>
          <p:nvPr>
            <p:ph type="dt" sz="half" idx="10"/>
          </p:nvPr>
        </p:nvSpPr>
        <p:spPr/>
        <p:txBody>
          <a:bodyPr/>
          <a:lstStyle/>
          <a:p>
            <a:fld id="{AB0C43EE-87FB-4254-A0FA-27DBFB788335}" type="datetimeFigureOut">
              <a:rPr lang="en-US" smtClean="0"/>
              <a:t>2/12/2021</a:t>
            </a:fld>
            <a:endParaRPr lang="en-US"/>
          </a:p>
        </p:txBody>
      </p:sp>
      <p:sp>
        <p:nvSpPr>
          <p:cNvPr id="6" name="Footer Placeholder 5">
            <a:extLst>
              <a:ext uri="{FF2B5EF4-FFF2-40B4-BE49-F238E27FC236}">
                <a16:creationId xmlns:a16="http://schemas.microsoft.com/office/drawing/2014/main" id="{BB0437C5-BAC7-4966-8C99-9C6ACBADBB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F7AAE8-F186-4692-BF4C-D85AC8E1E5EA}"/>
              </a:ext>
            </a:extLst>
          </p:cNvPr>
          <p:cNvSpPr>
            <a:spLocks noGrp="1"/>
          </p:cNvSpPr>
          <p:nvPr>
            <p:ph type="sldNum" sz="quarter" idx="12"/>
          </p:nvPr>
        </p:nvSpPr>
        <p:spPr/>
        <p:txBody>
          <a:bodyPr/>
          <a:lstStyle/>
          <a:p>
            <a:fld id="{620F2881-0855-4D29-8C87-10998E8A675D}" type="slidenum">
              <a:rPr lang="en-US" smtClean="0"/>
              <a:t>‹#›</a:t>
            </a:fld>
            <a:endParaRPr lang="en-US"/>
          </a:p>
        </p:txBody>
      </p:sp>
    </p:spTree>
    <p:extLst>
      <p:ext uri="{BB962C8B-B14F-4D97-AF65-F5344CB8AC3E}">
        <p14:creationId xmlns:p14="http://schemas.microsoft.com/office/powerpoint/2010/main" val="29607269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041978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5760" y="2560320"/>
            <a:ext cx="9144000"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365759" y="1463040"/>
            <a:ext cx="9144000" cy="1097280"/>
          </a:xfrm>
          <a:noFill/>
        </p:spPr>
        <p:txBody>
          <a:bodyPr lIns="91440" tIns="91440" rIns="91440" bIns="91440" anchor="t" anchorCtr="0"/>
          <a:lstStyle>
            <a:lvl1pPr>
              <a:defRPr sz="5999" spc="-8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10332720" y="365760"/>
            <a:ext cx="1645920" cy="35257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372534"/>
            <a:ext cx="12436475" cy="3866389"/>
          </a:xfrm>
          <a:prstGeom prst="rect">
            <a:avLst/>
          </a:prstGeom>
        </p:spPr>
      </p:pic>
    </p:spTree>
    <p:extLst>
      <p:ext uri="{BB962C8B-B14F-4D97-AF65-F5344CB8AC3E}">
        <p14:creationId xmlns:p14="http://schemas.microsoft.com/office/powerpoint/2010/main" val="1032804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lored Title Slide">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5760" y="2560320"/>
            <a:ext cx="9144000"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365759" y="1463040"/>
            <a:ext cx="9144000" cy="1097280"/>
          </a:xfrm>
          <a:noFill/>
        </p:spPr>
        <p:txBody>
          <a:bodyPr lIns="91440" tIns="91440" rIns="91440" bIns="91440" anchor="t" anchorCtr="0"/>
          <a:lstStyle>
            <a:lvl1pPr>
              <a:defRPr sz="5999" spc="-80" baseline="0">
                <a:solidFill>
                  <a:schemeClr val="bg1"/>
                </a:soli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372534"/>
            <a:ext cx="12436475" cy="386638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10332720" y="365760"/>
            <a:ext cx="1645920" cy="352580"/>
          </a:xfrm>
          <a:prstGeom prst="rect">
            <a:avLst/>
          </a:prstGeom>
        </p:spPr>
      </p:pic>
    </p:spTree>
    <p:extLst>
      <p:ext uri="{BB962C8B-B14F-4D97-AF65-F5344CB8AC3E}">
        <p14:creationId xmlns:p14="http://schemas.microsoft.com/office/powerpoint/2010/main" val="861449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ark Title Slide">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5760" y="2560320"/>
            <a:ext cx="9144000"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365759" y="1463040"/>
            <a:ext cx="9144000" cy="1097280"/>
          </a:xfrm>
          <a:noFill/>
        </p:spPr>
        <p:txBody>
          <a:bodyPr lIns="91440" tIns="91440" rIns="91440" bIns="91440" anchor="t" anchorCtr="0"/>
          <a:lstStyle>
            <a:lvl1pPr>
              <a:defRPr sz="5999" spc="-80" baseline="0">
                <a:solidFill>
                  <a:schemeClr val="bg1"/>
                </a:soli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372534"/>
            <a:ext cx="12436475" cy="386638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10332720" y="365760"/>
            <a:ext cx="1645920" cy="352580"/>
          </a:xfrm>
          <a:prstGeom prst="rect">
            <a:avLst/>
          </a:prstGeom>
        </p:spPr>
      </p:pic>
    </p:spTree>
    <p:extLst>
      <p:ext uri="{BB962C8B-B14F-4D97-AF65-F5344CB8AC3E}">
        <p14:creationId xmlns:p14="http://schemas.microsoft.com/office/powerpoint/2010/main" val="40089833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 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5760" y="2560320"/>
            <a:ext cx="9144000"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365759" y="1463040"/>
            <a:ext cx="9144000" cy="1097280"/>
          </a:xfrm>
          <a:noFill/>
        </p:spPr>
        <p:txBody>
          <a:bodyPr lIns="91440" tIns="91440" rIns="91440" bIns="91440" anchor="t" anchorCtr="0"/>
          <a:lstStyle>
            <a:lvl1pPr>
              <a:defRPr sz="5999" spc="-8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10332720" y="365760"/>
            <a:ext cx="1645920" cy="352578"/>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494079"/>
            <a:ext cx="12436475" cy="2557690"/>
          </a:xfrm>
          <a:prstGeom prst="rect">
            <a:avLst/>
          </a:prstGeom>
        </p:spPr>
      </p:pic>
    </p:spTree>
    <p:extLst>
      <p:ext uri="{BB962C8B-B14F-4D97-AF65-F5344CB8AC3E}">
        <p14:creationId xmlns:p14="http://schemas.microsoft.com/office/powerpoint/2010/main" val="1387686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lored 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5760" y="2560320"/>
            <a:ext cx="9144000"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365759" y="1463040"/>
            <a:ext cx="9144000" cy="1097280"/>
          </a:xfrm>
          <a:noFill/>
        </p:spPr>
        <p:txBody>
          <a:bodyPr lIns="91440" tIns="91440" rIns="91440" bIns="91440" anchor="t" anchorCtr="0"/>
          <a:lstStyle>
            <a:lvl1pPr>
              <a:defRPr sz="5999" spc="-80" baseline="0">
                <a:solidFill>
                  <a:schemeClr val="bg1"/>
                </a:solidFill>
              </a:defRPr>
            </a:lvl1pPr>
          </a:lstStyle>
          <a:p>
            <a:r>
              <a:rPr lang="en-US" dirty="0"/>
              <a:t>Presentation 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10332720" y="365760"/>
            <a:ext cx="1645920" cy="35258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494079"/>
            <a:ext cx="12436475" cy="2557690"/>
          </a:xfrm>
          <a:prstGeom prst="rect">
            <a:avLst/>
          </a:prstGeom>
        </p:spPr>
      </p:pic>
    </p:spTree>
    <p:extLst>
      <p:ext uri="{BB962C8B-B14F-4D97-AF65-F5344CB8AC3E}">
        <p14:creationId xmlns:p14="http://schemas.microsoft.com/office/powerpoint/2010/main" val="35343722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15949"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667415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3158" y="5897245"/>
            <a:ext cx="7197633" cy="1097280"/>
          </a:xfrm>
          <a:prstGeom prst="rect">
            <a:avLst/>
          </a:prstGeom>
        </p:spPr>
      </p:pic>
    </p:spTree>
    <p:extLst>
      <p:ext uri="{BB962C8B-B14F-4D97-AF65-F5344CB8AC3E}">
        <p14:creationId xmlns:p14="http://schemas.microsoft.com/office/powerpoint/2010/main" val="42556749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365760" y="1371601"/>
            <a:ext cx="11704320" cy="2043636"/>
          </a:xfrm>
        </p:spPr>
        <p:txBody>
          <a:bodyPr>
            <a:spAutoFit/>
          </a:bodyPr>
          <a:lstStyle>
            <a:lvl1pPr marL="0" indent="0">
              <a:spcBef>
                <a:spcPts val="600"/>
              </a:spcBef>
              <a:buNone/>
              <a:defRPr sz="2800" spc="-30" baseline="0">
                <a:solidFill>
                  <a:schemeClr val="tx2"/>
                </a:solidFill>
                <a:latin typeface="+mj-lt"/>
              </a:defRPr>
            </a:lvl1pPr>
            <a:lvl2pPr marL="0" indent="0">
              <a:spcBef>
                <a:spcPts val="600"/>
              </a:spcBef>
              <a:buFontTx/>
              <a:buNone/>
              <a:defRPr sz="2000"/>
            </a:lvl2pPr>
            <a:lvl3pPr marL="228557" indent="0">
              <a:spcBef>
                <a:spcPts val="600"/>
              </a:spcBef>
              <a:buNone/>
              <a:defRPr/>
            </a:lvl3pPr>
            <a:lvl4pPr marL="457112" indent="0">
              <a:spcBef>
                <a:spcPts val="600"/>
              </a:spcBef>
              <a:buNone/>
              <a:defRPr/>
            </a:lvl4pPr>
            <a:lvl5pPr marL="685669" indent="0">
              <a:spcBef>
                <a:spcPts val="60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685658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65760" y="1371601"/>
            <a:ext cx="11704320" cy="2043636"/>
          </a:xfrm>
        </p:spPr>
        <p:txBody>
          <a:bodyPr>
            <a:spAutoFit/>
          </a:bodyPr>
          <a:lstStyle>
            <a:lvl1pPr marL="0" indent="0">
              <a:spcBef>
                <a:spcPts val="600"/>
              </a:spcBef>
              <a:buNone/>
              <a:defRPr sz="2800" spc="-30" baseline="0">
                <a:solidFill>
                  <a:schemeClr val="tx2"/>
                </a:solidFill>
                <a:latin typeface="+mj-lt"/>
              </a:defRPr>
            </a:lvl1pPr>
            <a:lvl2pPr marL="228557" indent="-228557">
              <a:spcBef>
                <a:spcPts val="600"/>
              </a:spcBef>
              <a:buFont typeface="Arial" charset="0"/>
              <a:buChar char="•"/>
              <a:defRPr sz="2000"/>
            </a:lvl2pPr>
            <a:lvl3pPr marL="457112" indent="-228557">
              <a:spcBef>
                <a:spcPts val="600"/>
              </a:spcBef>
              <a:buFont typeface="Arial" charset="0"/>
              <a:buChar char="•"/>
              <a:defRPr/>
            </a:lvl3pPr>
            <a:lvl4pPr marL="685669" indent="-228557">
              <a:spcBef>
                <a:spcPts val="600"/>
              </a:spcBef>
              <a:buFont typeface="Arial" charset="0"/>
              <a:buChar char="•"/>
              <a:defRPr/>
            </a:lvl4pPr>
            <a:lvl5pPr marL="914224" indent="-228557">
              <a:spcBef>
                <a:spcPts val="600"/>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642529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280160"/>
            <a:ext cx="11704320" cy="1877437"/>
          </a:xfrm>
        </p:spPr>
        <p:txBody>
          <a:bodyPr>
            <a:spAutoFit/>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19166778"/>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65759" y="1371601"/>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chemeClr val="tx2"/>
                </a:solidFill>
                <a:latin typeface="+mj-lt"/>
              </a:defRPr>
            </a:lvl1pPr>
            <a:lvl2pPr marL="0" indent="0">
              <a:spcBef>
                <a:spcPts val="600"/>
              </a:spcBef>
              <a:buNone/>
              <a:defRPr sz="2000"/>
            </a:lvl2pPr>
            <a:lvl3pPr marL="231730" indent="0">
              <a:spcBef>
                <a:spcPts val="600"/>
              </a:spcBef>
              <a:buNone/>
              <a:tabLst/>
              <a:defRPr sz="2000"/>
            </a:lvl3pPr>
            <a:lvl4pPr marL="460287" indent="0">
              <a:spcBef>
                <a:spcPts val="600"/>
              </a:spcBef>
              <a:buNone/>
              <a:defRPr/>
            </a:lvl4pPr>
            <a:lvl5pPr marL="685669"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00800" y="1371601"/>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chemeClr val="tx2"/>
                </a:solidFill>
                <a:latin typeface="+mj-lt"/>
              </a:defRPr>
            </a:lvl1pPr>
            <a:lvl2pPr marL="0" indent="0">
              <a:spcBef>
                <a:spcPts val="600"/>
              </a:spcBef>
              <a:buNone/>
              <a:defRPr sz="2000"/>
            </a:lvl2pPr>
            <a:lvl3pPr marL="231730" indent="0">
              <a:spcBef>
                <a:spcPts val="600"/>
              </a:spcBef>
              <a:buNone/>
              <a:tabLst/>
              <a:defRPr sz="2000"/>
            </a:lvl3pPr>
            <a:lvl4pPr marL="460287" indent="0">
              <a:spcBef>
                <a:spcPts val="600"/>
              </a:spcBef>
              <a:buNone/>
              <a:defRPr/>
            </a:lvl4pPr>
            <a:lvl5pPr marL="685669"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88822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65760" y="1371601"/>
            <a:ext cx="5669280" cy="2043636"/>
          </a:xfrm>
        </p:spPr>
        <p:txBody>
          <a:bodyPr wrap="square">
            <a:spAutoFit/>
          </a:bodyPr>
          <a:lstStyle>
            <a:lvl1pPr marL="0" indent="0">
              <a:spcBef>
                <a:spcPts val="600"/>
              </a:spcBef>
              <a:buClr>
                <a:schemeClr val="tx2"/>
              </a:buClr>
              <a:buFont typeface="Arial" pitchFamily="34" charset="0"/>
              <a:buNone/>
              <a:defRPr sz="2800" spc="-30" baseline="0">
                <a:solidFill>
                  <a:schemeClr val="tx2"/>
                </a:solidFill>
                <a:latin typeface="+mj-lt"/>
              </a:defRPr>
            </a:lvl1pPr>
            <a:lvl2pPr marL="228557" indent="-228557">
              <a:spcBef>
                <a:spcPts val="600"/>
              </a:spcBef>
              <a:defRPr sz="2000"/>
            </a:lvl2pPr>
            <a:lvl3pPr marL="457112" indent="-228557">
              <a:spcBef>
                <a:spcPts val="600"/>
              </a:spcBef>
              <a:tabLst/>
              <a:defRPr sz="2000"/>
            </a:lvl3pPr>
            <a:lvl4pPr marL="685669" indent="-228557">
              <a:spcBef>
                <a:spcPts val="600"/>
              </a:spcBef>
              <a:defRPr sz="2000"/>
            </a:lvl4pPr>
            <a:lvl5pPr marL="914224" indent="-228557">
              <a:spcBef>
                <a:spcPts val="600"/>
              </a:spcBef>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00800" y="1371601"/>
            <a:ext cx="5669280" cy="2043636"/>
          </a:xfrm>
        </p:spPr>
        <p:txBody>
          <a:bodyPr wrap="square">
            <a:spAutoFit/>
          </a:bodyPr>
          <a:lstStyle>
            <a:lvl1pPr marL="0" indent="0">
              <a:spcBef>
                <a:spcPts val="600"/>
              </a:spcBef>
              <a:buClr>
                <a:schemeClr val="tx2"/>
              </a:buClr>
              <a:buFont typeface="Arial" pitchFamily="34" charset="0"/>
              <a:buNone/>
              <a:defRPr sz="2800" spc="-30" baseline="0">
                <a:solidFill>
                  <a:schemeClr val="tx2"/>
                </a:solidFill>
                <a:latin typeface="+mj-lt"/>
              </a:defRPr>
            </a:lvl1pPr>
            <a:lvl2pPr marL="228557" indent="-228557">
              <a:spcBef>
                <a:spcPts val="600"/>
              </a:spcBef>
              <a:defRPr sz="2000"/>
            </a:lvl2pPr>
            <a:lvl3pPr marL="457112" indent="-228557">
              <a:spcBef>
                <a:spcPts val="600"/>
              </a:spcBef>
              <a:tabLst/>
              <a:defRPr sz="2000"/>
            </a:lvl3pPr>
            <a:lvl4pPr marL="685669" indent="-228557">
              <a:spcBef>
                <a:spcPts val="600"/>
              </a:spcBef>
              <a:defRPr sz="2000"/>
            </a:lvl4pPr>
            <a:lvl5pPr marL="914224" indent="-228557">
              <a:spcBef>
                <a:spcPts val="600"/>
              </a:spcBef>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66485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201757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1"/>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Tree>
    <p:extLst>
      <p:ext uri="{BB962C8B-B14F-4D97-AF65-F5344CB8AC3E}">
        <p14:creationId xmlns:p14="http://schemas.microsoft.com/office/powerpoint/2010/main" val="81576478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663441" y="2560320"/>
            <a:ext cx="2103120" cy="210312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60321" y="2560320"/>
            <a:ext cx="2103120" cy="210312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57200" y="2560320"/>
            <a:ext cx="2103120" cy="210312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65760" y="365761"/>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766561" y="2560320"/>
            <a:ext cx="2103120" cy="210312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60803" y="5051425"/>
            <a:ext cx="8928100" cy="1943100"/>
          </a:xfrm>
          <a:prstGeom prst="rect">
            <a:avLst/>
          </a:prstGeom>
        </p:spPr>
      </p:pic>
    </p:spTree>
    <p:extLst>
      <p:ext uri="{BB962C8B-B14F-4D97-AF65-F5344CB8AC3E}">
        <p14:creationId xmlns:p14="http://schemas.microsoft.com/office/powerpoint/2010/main" val="282459094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1" y="365760"/>
            <a:ext cx="5486400" cy="1554480"/>
          </a:xfrm>
        </p:spPr>
        <p:txBody>
          <a:bodyPr/>
          <a:lstStyle/>
          <a:p>
            <a:r>
              <a:rPr lang="en-US" dirty="0"/>
              <a:t>Click to edit Master title style</a:t>
            </a:r>
          </a:p>
        </p:txBody>
      </p:sp>
      <p:sp>
        <p:nvSpPr>
          <p:cNvPr id="4" name="Picture Placeholder 3"/>
          <p:cNvSpPr>
            <a:spLocks noGrp="1"/>
          </p:cNvSpPr>
          <p:nvPr>
            <p:ph type="pic" sz="quarter" idx="10"/>
          </p:nvPr>
        </p:nvSpPr>
        <p:spPr>
          <a:xfrm>
            <a:off x="6217921" y="1"/>
            <a:ext cx="6217920" cy="6995160"/>
          </a:xfrm>
        </p:spPr>
        <p:txBody>
          <a:bodyPr/>
          <a:lstStyle/>
          <a:p>
            <a:endParaRPr lang="en-US"/>
          </a:p>
        </p:txBody>
      </p:sp>
      <p:sp>
        <p:nvSpPr>
          <p:cNvPr id="6" name="Text Placeholder 5"/>
          <p:cNvSpPr>
            <a:spLocks noGrp="1"/>
          </p:cNvSpPr>
          <p:nvPr>
            <p:ph type="body" sz="quarter" idx="11"/>
          </p:nvPr>
        </p:nvSpPr>
        <p:spPr>
          <a:xfrm>
            <a:off x="365760" y="2103121"/>
            <a:ext cx="5486400" cy="188701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1013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94821" y="341737"/>
            <a:ext cx="730416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37709" y="2180312"/>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38190" y="1673342"/>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207825" y="2180312"/>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205926" y="1673342"/>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37709" y="3185675"/>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38190" y="2678697"/>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207825" y="3185675"/>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205926" y="2678697"/>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37709" y="4206528"/>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38190" y="3699558"/>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207825" y="4206528"/>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205926" y="3699558"/>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32737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1" y="365760"/>
            <a:ext cx="5486400" cy="1554480"/>
          </a:xfrm>
        </p:spPr>
        <p:txBody>
          <a:bodyPr/>
          <a:lstStyle/>
          <a:p>
            <a:r>
              <a:rPr lang="en-US" dirty="0"/>
              <a:t>Click to edit Master title style</a:t>
            </a:r>
          </a:p>
        </p:txBody>
      </p:sp>
      <p:sp>
        <p:nvSpPr>
          <p:cNvPr id="4" name="Picture Placeholder 3"/>
          <p:cNvSpPr>
            <a:spLocks noGrp="1"/>
          </p:cNvSpPr>
          <p:nvPr>
            <p:ph type="pic" sz="quarter" idx="10"/>
          </p:nvPr>
        </p:nvSpPr>
        <p:spPr>
          <a:xfrm>
            <a:off x="1" y="1"/>
            <a:ext cx="6217920" cy="6995160"/>
          </a:xfrm>
        </p:spPr>
        <p:txBody>
          <a:bodyPr/>
          <a:lstStyle/>
          <a:p>
            <a:endParaRPr lang="en-US"/>
          </a:p>
        </p:txBody>
      </p:sp>
      <p:sp>
        <p:nvSpPr>
          <p:cNvPr id="6" name="Text Placeholder 5"/>
          <p:cNvSpPr>
            <a:spLocks noGrp="1"/>
          </p:cNvSpPr>
          <p:nvPr>
            <p:ph type="body" sz="quarter" idx="11"/>
          </p:nvPr>
        </p:nvSpPr>
        <p:spPr>
          <a:xfrm>
            <a:off x="6583681" y="2103121"/>
            <a:ext cx="5486400" cy="188701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241669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435840" cy="6995160"/>
          </a:xfrm>
          <a:prstGeom prst="rect">
            <a:avLst/>
          </a:prstGeom>
        </p:spPr>
      </p:pic>
      <p:sp>
        <p:nvSpPr>
          <p:cNvPr id="2" name="Title 1"/>
          <p:cNvSpPr>
            <a:spLocks noGrp="1"/>
          </p:cNvSpPr>
          <p:nvPr>
            <p:ph type="title"/>
          </p:nvPr>
        </p:nvSpPr>
        <p:spPr>
          <a:xfrm>
            <a:off x="365761" y="731520"/>
            <a:ext cx="7772400"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93070" y="3497580"/>
            <a:ext cx="7346006" cy="3505200"/>
          </a:xfrm>
          <a:prstGeom prst="rect">
            <a:avLst/>
          </a:prstGeom>
        </p:spPr>
      </p:pic>
    </p:spTree>
    <p:extLst>
      <p:ext uri="{BB962C8B-B14F-4D97-AF65-F5344CB8AC3E}">
        <p14:creationId xmlns:p14="http://schemas.microsoft.com/office/powerpoint/2010/main" val="259096637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435840" cy="6995160"/>
          </a:xfrm>
          <a:prstGeom prst="rect">
            <a:avLst/>
          </a:prstGeom>
        </p:spPr>
      </p:pic>
      <p:sp>
        <p:nvSpPr>
          <p:cNvPr id="2" name="Title 1"/>
          <p:cNvSpPr>
            <a:spLocks noGrp="1"/>
          </p:cNvSpPr>
          <p:nvPr>
            <p:ph type="title"/>
          </p:nvPr>
        </p:nvSpPr>
        <p:spPr>
          <a:xfrm>
            <a:off x="4297681" y="731520"/>
            <a:ext cx="7772400" cy="615553"/>
          </a:xfrm>
        </p:spPr>
        <p:txBody>
          <a:bodyPr>
            <a:spAutoFit/>
          </a:bodyPr>
          <a:lstStyle>
            <a:lvl1pPr algn="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5638" y="3268662"/>
            <a:ext cx="7463692" cy="3048000"/>
          </a:xfrm>
          <a:prstGeom prst="rect">
            <a:avLst/>
          </a:prstGeom>
        </p:spPr>
      </p:pic>
    </p:spTree>
    <p:extLst>
      <p:ext uri="{BB962C8B-B14F-4D97-AF65-F5344CB8AC3E}">
        <p14:creationId xmlns:p14="http://schemas.microsoft.com/office/powerpoint/2010/main" val="247456194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1" y="1097281"/>
            <a:ext cx="7315200" cy="1181862"/>
          </a:xfrm>
          <a:noFill/>
        </p:spPr>
        <p:txBody>
          <a:bodyPr tIns="91440" bIns="91440" anchor="t" anchorCtr="0">
            <a:spAutoFit/>
          </a:bodyPr>
          <a:lstStyle>
            <a:lvl1pPr>
              <a:defRPr sz="7198" spc="-80" baseline="0">
                <a:gradFill>
                  <a:gsLst>
                    <a:gs pos="100000">
                      <a:schemeClr val="tx1"/>
                    </a:gs>
                    <a:gs pos="0">
                      <a:schemeClr val="tx1"/>
                    </a:gs>
                  </a:gsLst>
                  <a:lin ang="5400000" scaled="0"/>
                </a:gradFill>
              </a:defRPr>
            </a:lvl1pPr>
          </a:lstStyle>
          <a:p>
            <a:r>
              <a:rPr lang="en-US" dirty="0"/>
              <a:t>Section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94438" y="2125662"/>
            <a:ext cx="5534188" cy="4155496"/>
          </a:xfrm>
          <a:prstGeom prst="rect">
            <a:avLst/>
          </a:prstGeom>
        </p:spPr>
      </p:pic>
    </p:spTree>
    <p:extLst>
      <p:ext uri="{BB962C8B-B14F-4D97-AF65-F5344CB8AC3E}">
        <p14:creationId xmlns:p14="http://schemas.microsoft.com/office/powerpoint/2010/main" val="3181409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550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560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65760" y="1371601"/>
            <a:ext cx="11704320" cy="2043636"/>
          </a:xfrm>
        </p:spPr>
        <p:txBody>
          <a:bodyPr>
            <a:spAutoFit/>
          </a:bodyPr>
          <a:lstStyle>
            <a:lvl1pPr marL="0" indent="0">
              <a:spcBef>
                <a:spcPts val="600"/>
              </a:spcBef>
              <a:buNone/>
              <a:defRPr sz="31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8557"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57112"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85669"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914224"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159484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65760" y="6292888"/>
            <a:ext cx="11704320" cy="338554"/>
          </a:xfrm>
          <a:prstGeom prst="rect">
            <a:avLst/>
          </a:prstGeom>
          <a:noFill/>
          <a:ln w="12700">
            <a:noFill/>
            <a:miter lim="800000"/>
            <a:headEnd type="none" w="sm" len="sm"/>
            <a:tailEnd type="none" w="sm" len="sm"/>
          </a:ln>
          <a:effectLst/>
        </p:spPr>
        <p:txBody>
          <a:bodyPr vert="horz" wrap="square" lIns="91427" tIns="91427" rIns="91427" bIns="91427" numCol="1" anchor="t" anchorCtr="0" compatLnSpc="1">
            <a:prstTxWarp prst="textNoShape">
              <a:avLst/>
            </a:prstTxWarp>
            <a:spAutoFit/>
          </a:bodyPr>
          <a:lstStyle/>
          <a:p>
            <a:pPr defTabSz="932111" eaLnBrk="0" hangingPunct="0"/>
            <a:r>
              <a:rPr lang="en-US" sz="1000" dirty="0">
                <a:solidFill>
                  <a:srgbClr val="FFFFFF"/>
                </a:solidFill>
                <a:cs typeface="Segoe UI" pitchFamily="34" charset="0"/>
              </a:rPr>
              <a:t>© 2015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6416269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5760" y="1371600"/>
            <a:ext cx="11704320" cy="1877437"/>
          </a:xfrm>
          <a:prstGeom prst="rect">
            <a:avLst/>
          </a:prstGeom>
        </p:spPr>
        <p:txBody>
          <a:bodyPr>
            <a:spAutoFit/>
          </a:bodyPr>
          <a:lstStyle>
            <a:lvl1pPr marL="228557" indent="-228557">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57112" indent="-228557">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85669" indent="-228557">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914224" indent="-228557">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42781" indent="-228557">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63640"/>
            <a:ext cx="12436476" cy="731520"/>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098923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1881329"/>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1"/>
          </p:nvPr>
        </p:nvSpPr>
        <p:spPr>
          <a:xfrm>
            <a:off x="4119583" y="6482890"/>
            <a:ext cx="4197310" cy="372394"/>
          </a:xfrm>
          <a:prstGeom prst="rect">
            <a:avLst/>
          </a:prstGeom>
        </p:spPr>
        <p:txBody>
          <a:bodyPr/>
          <a:lstStyle/>
          <a:p>
            <a:pPr defTabSz="932563"/>
            <a:endParaRPr lang="en-US" dirty="0">
              <a:solidFill>
                <a:srgbClr val="505050"/>
              </a:solidFill>
            </a:endParaRPr>
          </a:p>
        </p:txBody>
      </p:sp>
      <p:sp>
        <p:nvSpPr>
          <p:cNvPr id="3" name="Slide Number Placeholder 2"/>
          <p:cNvSpPr>
            <a:spLocks noGrp="1"/>
          </p:cNvSpPr>
          <p:nvPr>
            <p:ph type="sldNum" sz="quarter" idx="12"/>
          </p:nvPr>
        </p:nvSpPr>
        <p:spPr>
          <a:xfrm>
            <a:off x="8783260" y="6482890"/>
            <a:ext cx="2798207" cy="372394"/>
          </a:xfrm>
          <a:prstGeom prst="rect">
            <a:avLst/>
          </a:prstGeom>
        </p:spPr>
        <p:txBody>
          <a:bodyPr/>
          <a:lstStyle/>
          <a:p>
            <a:pPr defTabSz="932563"/>
            <a:fld id="{894E8EF0-91FF-4791-8529-F57CE0475C15}" type="slidenum">
              <a:rPr lang="en-US" smtClean="0">
                <a:solidFill>
                  <a:srgbClr val="505050"/>
                </a:solidFill>
              </a:rPr>
              <a:pPr defTabSz="932563"/>
              <a:t>‹#›</a:t>
            </a:fld>
            <a:endParaRPr lang="en-US" dirty="0">
              <a:solidFill>
                <a:srgbClr val="505050"/>
              </a:solidFill>
            </a:endParaRPr>
          </a:p>
        </p:txBody>
      </p:sp>
    </p:spTree>
    <p:extLst>
      <p:ext uri="{BB962C8B-B14F-4D97-AF65-F5344CB8AC3E}">
        <p14:creationId xmlns:p14="http://schemas.microsoft.com/office/powerpoint/2010/main" val="13048691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94820" y="341737"/>
            <a:ext cx="11576517"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33867" y="1757185"/>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65567" y="1757185"/>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33867" y="2231423"/>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65567" y="2231421"/>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33867" y="2705670"/>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65567" y="2705668"/>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33867" y="3179929"/>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65567" y="3179929"/>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33867" y="3654177"/>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65567" y="3654177"/>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33867" y="4128427"/>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65567" y="4128427"/>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003189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3651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578475" y="-635"/>
            <a:ext cx="6858000" cy="6995160"/>
          </a:xfrm>
          <a:prstGeom prst="rect">
            <a:avLst/>
          </a:prstGeom>
        </p:spPr>
      </p:pic>
      <p:sp>
        <p:nvSpPr>
          <p:cNvPr id="27" name="Freeform 26"/>
          <p:cNvSpPr>
            <a:spLocks/>
          </p:cNvSpPr>
          <p:nvPr userDrawn="1"/>
        </p:nvSpPr>
        <p:spPr bwMode="white">
          <a:xfrm>
            <a:off x="0" y="-1212"/>
            <a:ext cx="5976257" cy="6996953"/>
          </a:xfrm>
          <a:prstGeom prst="rect">
            <a:avLst/>
          </a:prstGeom>
          <a:solidFill>
            <a:srgbClr val="243A5E"/>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28" name="Text Placeholder 2"/>
          <p:cNvSpPr>
            <a:spLocks noGrp="1"/>
          </p:cNvSpPr>
          <p:nvPr>
            <p:ph type="body" sz="quarter" idx="14" hasCustomPrompt="1"/>
          </p:nvPr>
        </p:nvSpPr>
        <p:spPr>
          <a:xfrm>
            <a:off x="435934" y="2475468"/>
            <a:ext cx="4632602"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2000"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405177" y="3477641"/>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62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70061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6451" y="-635"/>
            <a:ext cx="7050024" cy="6995160"/>
          </a:xfrm>
          <a:prstGeom prst="rect">
            <a:avLst/>
          </a:prstGeom>
        </p:spPr>
      </p:pic>
      <p:sp>
        <p:nvSpPr>
          <p:cNvPr id="27" name="Freeform 26"/>
          <p:cNvSpPr>
            <a:spLocks/>
          </p:cNvSpPr>
          <p:nvPr userDrawn="1"/>
        </p:nvSpPr>
        <p:spPr bwMode="white">
          <a:xfrm>
            <a:off x="0" y="-1212"/>
            <a:ext cx="5976257" cy="6996953"/>
          </a:xfrm>
          <a:prstGeom prst="rect">
            <a:avLst/>
          </a:pr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28" name="Text Placeholder 2"/>
          <p:cNvSpPr>
            <a:spLocks noGrp="1"/>
          </p:cNvSpPr>
          <p:nvPr>
            <p:ph type="body" sz="quarter" idx="14" hasCustomPrompt="1"/>
          </p:nvPr>
        </p:nvSpPr>
        <p:spPr>
          <a:xfrm>
            <a:off x="435934" y="2475468"/>
            <a:ext cx="4632602"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2000"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405177" y="3477641"/>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62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84412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7214616" cy="6995160"/>
          </a:xfrm>
          <a:prstGeom prst="rect">
            <a:avLst/>
          </a:prstGeom>
        </p:spPr>
      </p:pic>
      <p:sp>
        <p:nvSpPr>
          <p:cNvPr id="11" name="Freeform 10"/>
          <p:cNvSpPr>
            <a:spLocks/>
          </p:cNvSpPr>
          <p:nvPr userDrawn="1"/>
        </p:nvSpPr>
        <p:spPr bwMode="white">
          <a:xfrm rot="10800000">
            <a:off x="6456307" y="5"/>
            <a:ext cx="5980176" cy="6996953"/>
          </a:xfrm>
          <a:prstGeom prst="rect">
            <a:avLst/>
          </a:prstGeom>
          <a:solidFill>
            <a:srgbClr val="000000"/>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13" name="Text Placeholder 2"/>
          <p:cNvSpPr>
            <a:spLocks noGrp="1"/>
          </p:cNvSpPr>
          <p:nvPr>
            <p:ph type="body" sz="quarter" idx="14" hasCustomPrompt="1"/>
          </p:nvPr>
        </p:nvSpPr>
        <p:spPr>
          <a:xfrm>
            <a:off x="7338736" y="2475468"/>
            <a:ext cx="4632602" cy="781585"/>
          </a:xfrm>
        </p:spPr>
        <p:txBody>
          <a:bodyPr lIns="0" tIns="0" rIns="0" bIns="0" anchor="b" anchorCtr="0">
            <a:noAutofit/>
          </a:bodyPr>
          <a:lstStyle>
            <a:lvl1pPr marL="0" indent="0" algn="r" defTabSz="508623" rtl="0" eaLnBrk="1" latinLnBrk="0" hangingPunct="1">
              <a:lnSpc>
                <a:spcPct val="90000"/>
              </a:lnSpc>
              <a:spcBef>
                <a:spcPts val="0"/>
              </a:spcBef>
              <a:spcAft>
                <a:spcPts val="0"/>
              </a:spcAft>
              <a:buFont typeface="Arial"/>
              <a:buNone/>
              <a:defRPr lang="en-US" sz="2000"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806379" y="3392577"/>
            <a:ext cx="5169381" cy="781585"/>
          </a:xfrm>
        </p:spPr>
        <p:txBody>
          <a:bodyPr lIns="0" tIns="0" rIns="0" bIns="0" anchor="t" anchorCtr="0">
            <a:noAutofit/>
          </a:bodyPr>
          <a:lstStyle>
            <a:lvl1pPr marL="0" indent="0" algn="r" defTabSz="508623" rtl="0" eaLnBrk="1" latinLnBrk="0" hangingPunct="1">
              <a:lnSpc>
                <a:spcPct val="90000"/>
              </a:lnSpc>
              <a:spcBef>
                <a:spcPts val="0"/>
              </a:spcBef>
              <a:spcAft>
                <a:spcPts val="0"/>
              </a:spcAft>
              <a:buFont typeface="Arial"/>
              <a:buNone/>
              <a:defRPr lang="en-US" sz="4800" b="0" kern="1200" cap="none" spc="-15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967048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7095744" cy="6995160"/>
          </a:xfrm>
          <a:prstGeom prst="rect">
            <a:avLst/>
          </a:prstGeom>
        </p:spPr>
      </p:pic>
      <p:sp>
        <p:nvSpPr>
          <p:cNvPr id="11" name="Freeform 10"/>
          <p:cNvSpPr>
            <a:spLocks/>
          </p:cNvSpPr>
          <p:nvPr userDrawn="1"/>
        </p:nvSpPr>
        <p:spPr bwMode="white">
          <a:xfrm rot="10800000">
            <a:off x="6456307" y="5"/>
            <a:ext cx="5980176" cy="6996953"/>
          </a:xfrm>
          <a:prstGeom prst="rect">
            <a:avLst/>
          </a:prstGeom>
          <a:solidFill>
            <a:srgbClr val="0078D4"/>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13" name="Text Placeholder 2"/>
          <p:cNvSpPr>
            <a:spLocks noGrp="1"/>
          </p:cNvSpPr>
          <p:nvPr>
            <p:ph type="body" sz="quarter" idx="14" hasCustomPrompt="1"/>
          </p:nvPr>
        </p:nvSpPr>
        <p:spPr>
          <a:xfrm>
            <a:off x="7338736" y="2475468"/>
            <a:ext cx="4632602" cy="781585"/>
          </a:xfrm>
        </p:spPr>
        <p:txBody>
          <a:bodyPr lIns="0" tIns="0" rIns="0" bIns="0" anchor="b" anchorCtr="0">
            <a:noAutofit/>
          </a:bodyPr>
          <a:lstStyle>
            <a:lvl1pPr marL="0" indent="0" algn="r" defTabSz="508623" rtl="0" eaLnBrk="1" latinLnBrk="0" hangingPunct="1">
              <a:lnSpc>
                <a:spcPct val="90000"/>
              </a:lnSpc>
              <a:spcBef>
                <a:spcPts val="0"/>
              </a:spcBef>
              <a:spcAft>
                <a:spcPts val="0"/>
              </a:spcAft>
              <a:buFont typeface="Arial"/>
              <a:buNone/>
              <a:defRPr lang="en-US" sz="2000"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806379" y="3392577"/>
            <a:ext cx="5169381" cy="781585"/>
          </a:xfrm>
        </p:spPr>
        <p:txBody>
          <a:bodyPr lIns="0" tIns="0" rIns="0" bIns="0" anchor="t" anchorCtr="0">
            <a:noAutofit/>
          </a:bodyPr>
          <a:lstStyle>
            <a:lvl1pPr marL="0" indent="0" algn="r" defTabSz="508623" rtl="0" eaLnBrk="1" latinLnBrk="0" hangingPunct="1">
              <a:lnSpc>
                <a:spcPct val="90000"/>
              </a:lnSpc>
              <a:spcBef>
                <a:spcPts val="0"/>
              </a:spcBef>
              <a:spcAft>
                <a:spcPts val="0"/>
              </a:spcAft>
              <a:buFont typeface="Arial"/>
              <a:buNone/>
              <a:defRPr lang="en-US" sz="4800" b="0" kern="1200" cap="none" spc="-15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860207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4035" y="2914118"/>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62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985645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87BCB-FF98-43C5-8CFB-1ED80664B8D4}"/>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426696" cy="6995160"/>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1" y="-2"/>
            <a:ext cx="8499021" cy="6995160"/>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22213"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22213"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22213" y="1676400"/>
            <a:ext cx="6628819" cy="3571530"/>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997" y="23160"/>
            <a:ext cx="2177513" cy="975815"/>
            <a:chOff x="30997" y="23160"/>
            <a:chExt cx="2177513" cy="975815"/>
          </a:xfrm>
        </p:grpSpPr>
        <p:pic>
          <p:nvPicPr>
            <p:cNvPr id="19" name="Picture 18"/>
            <p:cNvPicPr>
              <a:picLocks noChangeAspect="1"/>
            </p:cNvPicPr>
            <p:nvPr userDrawn="1"/>
          </p:nvPicPr>
          <p:blipFill rotWithShape="1">
            <a:blip r:embed="rId3" cstate="screen">
              <a:extLst>
                <a:ext uri="{28A0092B-C50C-407E-A947-70E740481C1C}">
                  <a14:useLocalDpi xmlns:a14="http://schemas.microsoft.com/office/drawing/2010/main" val="0"/>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screen">
              <a:lum bright="100000"/>
              <a:extLst>
                <a:ext uri="{28A0092B-C50C-407E-A947-70E740481C1C}">
                  <a14:useLocalDpi xmlns:a14="http://schemas.microsoft.com/office/drawing/2010/main" val="0"/>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8295718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4035" y="2914115"/>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62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580445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3231" y="2914115"/>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62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28935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3231" y="2914115"/>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62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898461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3231" y="2914115"/>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62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190896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3231" y="2914115"/>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62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064643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6562" y="6286313"/>
            <a:ext cx="11887199" cy="433965"/>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900">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14300" y="2342638"/>
            <a:ext cx="4978303" cy="2423091"/>
          </a:xfrm>
          <a:prstGeom prst="rect">
            <a:avLst/>
          </a:prstGeom>
        </p:spPr>
      </p:pic>
    </p:spTree>
    <p:extLst>
      <p:ext uri="{BB962C8B-B14F-4D97-AF65-F5344CB8AC3E}">
        <p14:creationId xmlns:p14="http://schemas.microsoft.com/office/powerpoint/2010/main" val="14539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6562" y="6286313"/>
            <a:ext cx="11887199" cy="433965"/>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900">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14300" y="2342638"/>
            <a:ext cx="4978303" cy="2423091"/>
          </a:xfrm>
          <a:prstGeom prst="rect">
            <a:avLst/>
          </a:prstGeom>
        </p:spPr>
      </p:pic>
    </p:spTree>
    <p:extLst>
      <p:ext uri="{BB962C8B-B14F-4D97-AF65-F5344CB8AC3E}">
        <p14:creationId xmlns:p14="http://schemas.microsoft.com/office/powerpoint/2010/main" val="2136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_Subtitle_light">
    <p:bg>
      <p:bgPr>
        <a:solidFill>
          <a:srgbClr val="FFFFFF"/>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6"/>
          </p:nvPr>
        </p:nvSpPr>
        <p:spPr>
          <a:xfrm>
            <a:off x="632687" y="1216736"/>
            <a:ext cx="11179386" cy="232289"/>
          </a:xfrm>
        </p:spPr>
        <p:txBody>
          <a:bodyPr tIns="0"/>
          <a:lstStyle>
            <a:lvl1pPr marL="0" indent="0">
              <a:buNone/>
              <a:defRPr lang="en-US" sz="1496" kern="1200" spc="0" baseline="0" dirty="0">
                <a:solidFill>
                  <a:schemeClr val="accent4"/>
                </a:solidFill>
                <a:latin typeface="Arial" panose="020B0604020202020204" pitchFamily="34" charset="0"/>
                <a:ea typeface="+mn-ea"/>
                <a:cs typeface="Arial" panose="020B0604020202020204" pitchFamily="34" charset="0"/>
              </a:defRPr>
            </a:lvl1pPr>
            <a:lvl2pPr marL="235313" indent="0">
              <a:buNone/>
              <a:defRPr/>
            </a:lvl2pPr>
            <a:lvl3pPr marL="440404" indent="0">
              <a:buNone/>
              <a:defRPr/>
            </a:lvl3pPr>
            <a:lvl4pPr marL="621746" indent="0">
              <a:buNone/>
              <a:defRPr/>
            </a:lvl4pPr>
            <a:lvl5pPr marL="807407" indent="0">
              <a:buNone/>
              <a:defRPr/>
            </a:lvl5pPr>
          </a:lstStyle>
          <a:p>
            <a:pPr marL="0" lvl="0" indent="0" algn="l" defTabSz="1243493" rtl="0" eaLnBrk="1" latinLnBrk="0" hangingPunct="1">
              <a:lnSpc>
                <a:spcPct val="90000"/>
              </a:lnSpc>
              <a:spcBef>
                <a:spcPts val="1632"/>
              </a:spcBef>
              <a:buClr>
                <a:srgbClr val="0072C8"/>
              </a:buClr>
              <a:buSzPct val="110000"/>
              <a:buFont typeface="Wingdings" panose="05000000000000000000" pitchFamily="2" charset="2"/>
              <a:buNone/>
            </a:pPr>
            <a:r>
              <a:rPr lang="en-US"/>
              <a:t>Click to edit Master text styles</a:t>
            </a:r>
          </a:p>
        </p:txBody>
      </p:sp>
      <p:sp>
        <p:nvSpPr>
          <p:cNvPr id="3" name="Text Placeholder 2"/>
          <p:cNvSpPr>
            <a:spLocks noGrp="1"/>
          </p:cNvSpPr>
          <p:nvPr>
            <p:ph type="body" sz="quarter" idx="17" hasCustomPrompt="1"/>
          </p:nvPr>
        </p:nvSpPr>
        <p:spPr>
          <a:xfrm>
            <a:off x="632620" y="595830"/>
            <a:ext cx="11182031" cy="500843"/>
          </a:xfrm>
        </p:spPr>
        <p:txBody>
          <a:bodyPr tIns="0" bIns="0"/>
          <a:lstStyle>
            <a:lvl1pPr marL="0" indent="0">
              <a:spcBef>
                <a:spcPts val="0"/>
              </a:spcBef>
              <a:buNone/>
              <a:defRPr sz="3264" b="1" spc="-95" baseline="0">
                <a:solidFill>
                  <a:schemeClr val="accent3"/>
                </a:solidFill>
              </a:defRPr>
            </a:lvl1pPr>
            <a:lvl2pPr>
              <a:defRPr b="1"/>
            </a:lvl2pPr>
            <a:lvl3pPr>
              <a:defRPr b="1"/>
            </a:lvl3pPr>
            <a:lvl4pPr>
              <a:defRPr b="1"/>
            </a:lvl4pPr>
            <a:lvl5pPr>
              <a:defRPr b="1"/>
            </a:lvl5pPr>
          </a:lstStyle>
          <a:p>
            <a:pPr lvl="0"/>
            <a:r>
              <a:rPr lang="en-US"/>
              <a:t>Insert slide title here</a:t>
            </a:r>
            <a:endParaRPr lang="en-GB"/>
          </a:p>
        </p:txBody>
      </p:sp>
      <p:sp>
        <p:nvSpPr>
          <p:cNvPr id="4" name="Text Placeholder 3"/>
          <p:cNvSpPr>
            <a:spLocks noGrp="1"/>
          </p:cNvSpPr>
          <p:nvPr>
            <p:ph type="body" sz="quarter" idx="18" hasCustomPrompt="1"/>
          </p:nvPr>
        </p:nvSpPr>
        <p:spPr>
          <a:xfrm>
            <a:off x="634779" y="6278311"/>
            <a:ext cx="2479522" cy="126479"/>
          </a:xfrm>
        </p:spPr>
        <p:txBody>
          <a:bodyPr tIns="0" bIns="0" anchor="b"/>
          <a:lstStyle>
            <a:lvl1pPr marL="0" indent="0">
              <a:buNone/>
              <a:defRPr sz="816">
                <a:solidFill>
                  <a:schemeClr val="accent5"/>
                </a:solidFill>
              </a:defRPr>
            </a:lvl1pPr>
          </a:lstStyle>
          <a:p>
            <a:pPr lvl="0"/>
            <a:r>
              <a:rPr lang="en-US"/>
              <a:t>Optional small text </a:t>
            </a:r>
            <a:endParaRPr lang="en-GB"/>
          </a:p>
        </p:txBody>
      </p:sp>
    </p:spTree>
    <p:extLst>
      <p:ext uri="{BB962C8B-B14F-4D97-AF65-F5344CB8AC3E}">
        <p14:creationId xmlns:p14="http://schemas.microsoft.com/office/powerpoint/2010/main" val="14195123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7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70717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BE4E8-0722-473D-9094-04AFEC6E5BC6}"/>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A7022BD6-CD7F-4996-9729-104A4A006FBB}"/>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9FFB1AB-ADBA-42DA-B591-5488535F42E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D7DA366-0E91-4374-9AE8-5091C3D3A1E8}"/>
              </a:ext>
            </a:extLst>
          </p:cNvPr>
          <p:cNvSpPr>
            <a:spLocks noGrp="1"/>
          </p:cNvSpPr>
          <p:nvPr>
            <p:ph type="ftr" sz="quarter" idx="11"/>
          </p:nvPr>
        </p:nvSpPr>
        <p:spPr/>
        <p:txBody>
          <a:bodyPr/>
          <a:lstStyle/>
          <a:p>
            <a:r>
              <a:rPr lang="en-US"/>
              <a:t>Copyright Microsoft 2020</a:t>
            </a:r>
          </a:p>
        </p:txBody>
      </p:sp>
      <p:sp>
        <p:nvSpPr>
          <p:cNvPr id="6" name="Slide Number Placeholder 5">
            <a:extLst>
              <a:ext uri="{FF2B5EF4-FFF2-40B4-BE49-F238E27FC236}">
                <a16:creationId xmlns:a16="http://schemas.microsoft.com/office/drawing/2014/main" id="{9B0762B5-A907-4EF8-AB75-621E3056DA5A}"/>
              </a:ext>
            </a:extLst>
          </p:cNvPr>
          <p:cNvSpPr>
            <a:spLocks noGrp="1"/>
          </p:cNvSpPr>
          <p:nvPr>
            <p:ph type="sldNum" sz="quarter" idx="12"/>
          </p:nvPr>
        </p:nvSpPr>
        <p:spPr/>
        <p:txBody>
          <a:bodyPr/>
          <a:lstStyle/>
          <a:p>
            <a:fld id="{FC73124E-7FD3-4BB8-BC75-2D645F56EF18}" type="slidenum">
              <a:rPr lang="en-US" smtClean="0"/>
              <a:t>‹#›</a:t>
            </a:fld>
            <a:endParaRPr lang="en-US"/>
          </a:p>
        </p:txBody>
      </p:sp>
    </p:spTree>
    <p:extLst>
      <p:ext uri="{BB962C8B-B14F-4D97-AF65-F5344CB8AC3E}">
        <p14:creationId xmlns:p14="http://schemas.microsoft.com/office/powerpoint/2010/main" val="2854328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22213"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22213"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22213" y="1682496"/>
            <a:ext cx="6628819" cy="3565436"/>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997" y="23160"/>
            <a:ext cx="2177513" cy="975815"/>
            <a:chOff x="30997" y="23160"/>
            <a:chExt cx="2177513" cy="975815"/>
          </a:xfrm>
        </p:grpSpPr>
        <p:pic>
          <p:nvPicPr>
            <p:cNvPr id="19" name="Picture 18"/>
            <p:cNvPicPr>
              <a:picLocks noChangeAspect="1"/>
            </p:cNvPicPr>
            <p:nvPr userDrawn="1"/>
          </p:nvPicPr>
          <p:blipFill rotWithShape="1">
            <a:blip r:embed="rId2" cstate="screen">
              <a:extLst>
                <a:ext uri="{28A0092B-C50C-407E-A947-70E740481C1C}">
                  <a14:useLocalDpi xmlns:a14="http://schemas.microsoft.com/office/drawing/2010/main" val="0"/>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screen">
              <a:lum bright="100000"/>
              <a:extLst>
                <a:ext uri="{28A0092B-C50C-407E-A947-70E740481C1C}">
                  <a14:useLocalDpi xmlns:a14="http://schemas.microsoft.com/office/drawing/2010/main" val="0"/>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1673451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15" name="logo2.png" descr="Microsoft logo white text version">
            <a:extLst>
              <a:ext uri="{FF2B5EF4-FFF2-40B4-BE49-F238E27FC236}">
                <a16:creationId xmlns:a16="http://schemas.microsoft.com/office/drawing/2014/main" id="{B890FFA7-3A8B-434C-A7FF-E48D67BA31B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38034" y="663162"/>
            <a:ext cx="1513323" cy="322592"/>
          </a:xfrm>
          <a:prstGeom prst="rect">
            <a:avLst/>
          </a:prstGeom>
          <a:ln w="12700">
            <a:miter lim="400000"/>
          </a:ln>
        </p:spPr>
      </p:pic>
      <p:sp>
        <p:nvSpPr>
          <p:cNvPr id="21" name="Text Placeholder 18">
            <a:extLst>
              <a:ext uri="{FF2B5EF4-FFF2-40B4-BE49-F238E27FC236}">
                <a16:creationId xmlns:a16="http://schemas.microsoft.com/office/drawing/2014/main" id="{65FA8EC2-F248-4542-A0F0-EDCE555E4B9B}"/>
              </a:ext>
            </a:extLst>
          </p:cNvPr>
          <p:cNvSpPr>
            <a:spLocks noGrp="1"/>
          </p:cNvSpPr>
          <p:nvPr>
            <p:ph type="body" sz="quarter" idx="10"/>
          </p:nvPr>
        </p:nvSpPr>
        <p:spPr>
          <a:xfrm>
            <a:off x="638017" y="2404368"/>
            <a:ext cx="6552312" cy="1600908"/>
          </a:xfrm>
        </p:spPr>
        <p:txBody>
          <a:bodyPr lIns="0"/>
          <a:lstStyle>
            <a:lvl1pPr marL="0" indent="0">
              <a:buNone/>
              <a:defRPr sz="4896">
                <a:solidFill>
                  <a:schemeClr val="bg1"/>
                </a:solidFill>
                <a:latin typeface="+mj-lt"/>
                <a:cs typeface="Segoe UI" panose="020B0502040204020203" pitchFamily="34" charset="0"/>
              </a:defRPr>
            </a:lvl1pPr>
            <a:lvl2pPr marL="228512" indent="0">
              <a:buNone/>
              <a:defRPr sz="5100">
                <a:solidFill>
                  <a:schemeClr val="bg1"/>
                </a:solidFill>
                <a:latin typeface="Segoe UI" panose="020B0502040204020203" pitchFamily="34" charset="0"/>
                <a:cs typeface="Segoe UI" panose="020B0502040204020203" pitchFamily="34" charset="0"/>
              </a:defRPr>
            </a:lvl2pPr>
            <a:lvl3pPr>
              <a:defRPr sz="5100">
                <a:solidFill>
                  <a:schemeClr val="bg1"/>
                </a:solidFill>
                <a:latin typeface="Segoe UI" panose="020B0502040204020203" pitchFamily="34" charset="0"/>
                <a:cs typeface="Segoe UI" panose="020B0502040204020203" pitchFamily="34" charset="0"/>
              </a:defRPr>
            </a:lvl3pPr>
            <a:lvl4pPr>
              <a:defRPr sz="5100">
                <a:solidFill>
                  <a:schemeClr val="bg1"/>
                </a:solidFill>
                <a:latin typeface="Segoe UI" panose="020B0502040204020203" pitchFamily="34" charset="0"/>
                <a:cs typeface="Segoe UI" panose="020B0502040204020203" pitchFamily="34" charset="0"/>
              </a:defRPr>
            </a:lvl4pPr>
            <a:lvl5pPr>
              <a:defRPr sz="5100">
                <a:solidFill>
                  <a:schemeClr val="bg1"/>
                </a:solidFill>
                <a:latin typeface="Segoe UI" panose="020B0502040204020203" pitchFamily="34" charset="0"/>
                <a:cs typeface="Segoe UI" panose="020B0502040204020203" pitchFamily="34" charset="0"/>
              </a:defRPr>
            </a:lvl5pPr>
          </a:lstStyle>
          <a:p>
            <a:pPr lvl="0"/>
            <a:r>
              <a:rPr lang="en-US"/>
              <a:t>Click to edit Master text styles</a:t>
            </a:r>
          </a:p>
        </p:txBody>
      </p:sp>
      <p:pic>
        <p:nvPicPr>
          <p:cNvPr id="2" name="Picture 1">
            <a:extLst>
              <a:ext uri="{FF2B5EF4-FFF2-40B4-BE49-F238E27FC236}">
                <a16:creationId xmlns:a16="http://schemas.microsoft.com/office/drawing/2014/main" id="{32F765E2-77AD-47FB-8BB4-66BE1C9F736C}"/>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70" y="0"/>
            <a:ext cx="12440245" cy="7009083"/>
          </a:xfrm>
          <a:prstGeom prst="rect">
            <a:avLst/>
          </a:prstGeom>
        </p:spPr>
      </p:pic>
    </p:spTree>
    <p:extLst>
      <p:ext uri="{BB962C8B-B14F-4D97-AF65-F5344CB8AC3E}">
        <p14:creationId xmlns:p14="http://schemas.microsoft.com/office/powerpoint/2010/main" val="26131945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2_Title Only with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57028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C3EEA0B-97A6-4AF9-B99E-C7B4C2F791D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37277" y="481923"/>
            <a:ext cx="1149666" cy="311722"/>
          </a:xfrm>
          <a:prstGeom prst="rect">
            <a:avLst/>
          </a:prstGeom>
        </p:spPr>
      </p:pic>
    </p:spTree>
    <p:extLst>
      <p:ext uri="{BB962C8B-B14F-4D97-AF65-F5344CB8AC3E}">
        <p14:creationId xmlns:p14="http://schemas.microsoft.com/office/powerpoint/2010/main" val="1781563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6"/>
            <a:ext cx="980172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4215455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6"/>
            <a:ext cx="663783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3072191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78" y="2204497"/>
            <a:ext cx="7627938"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3424590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13636258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214444940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11393320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16418009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22213"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22213"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22213" y="1682496"/>
            <a:ext cx="6628819" cy="3565436"/>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997" y="23160"/>
            <a:ext cx="2177513" cy="975815"/>
            <a:chOff x="30997" y="23160"/>
            <a:chExt cx="2177513" cy="975815"/>
          </a:xfrm>
        </p:grpSpPr>
        <p:pic>
          <p:nvPicPr>
            <p:cNvPr id="19" name="Picture 18"/>
            <p:cNvPicPr>
              <a:picLocks noChangeAspect="1"/>
            </p:cNvPicPr>
            <p:nvPr userDrawn="1"/>
          </p:nvPicPr>
          <p:blipFill rotWithShape="1">
            <a:blip r:embed="rId2" cstate="screen">
              <a:extLst>
                <a:ext uri="{28A0092B-C50C-407E-A947-70E740481C1C}">
                  <a14:useLocalDpi xmlns:a14="http://schemas.microsoft.com/office/drawing/2010/main" val="0"/>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screen">
              <a:lum bright="100000"/>
              <a:extLst>
                <a:ext uri="{28A0092B-C50C-407E-A947-70E740481C1C}">
                  <a14:useLocalDpi xmlns:a14="http://schemas.microsoft.com/office/drawing/2010/main" val="0"/>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41894180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cstate="screen">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cstate="screen">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0" y="1631568"/>
            <a:ext cx="3681793" cy="3161095"/>
          </a:xfrm>
          <a:blipFill>
            <a:blip r:embed="rId4" cstate="screen">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9415248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188773603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170168433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4024800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482126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48456743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201864"/>
            <a:ext cx="3690937" cy="2590800"/>
          </a:xfrm>
          <a:blipFill>
            <a:blip r:embed="rId2" cstate="screen">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8" y="2201864"/>
            <a:ext cx="3679825" cy="2590800"/>
          </a:xfrm>
          <a:blipFill>
            <a:blip r:embed="rId3" cstate="screen">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4"/>
            <a:ext cx="3695700" cy="2590800"/>
          </a:xfrm>
          <a:blipFill>
            <a:blip r:embed="rId4" cstate="screen">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354365201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190712940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15574055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31245015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22213"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22213"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22213" y="1682496"/>
            <a:ext cx="6628819" cy="3565436"/>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997" y="23160"/>
            <a:ext cx="2177513" cy="975815"/>
            <a:chOff x="30997" y="23160"/>
            <a:chExt cx="2177513" cy="975815"/>
          </a:xfrm>
        </p:grpSpPr>
        <p:pic>
          <p:nvPicPr>
            <p:cNvPr id="19" name="Picture 18"/>
            <p:cNvPicPr>
              <a:picLocks noChangeAspect="1"/>
            </p:cNvPicPr>
            <p:nvPr userDrawn="1"/>
          </p:nvPicPr>
          <p:blipFill rotWithShape="1">
            <a:blip r:embed="rId2" cstate="screen">
              <a:extLst>
                <a:ext uri="{28A0092B-C50C-407E-A947-70E740481C1C}">
                  <a14:useLocalDpi xmlns:a14="http://schemas.microsoft.com/office/drawing/2010/main" val="0"/>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screen">
              <a:lum bright="100000"/>
              <a:extLst>
                <a:ext uri="{28A0092B-C50C-407E-A947-70E740481C1C}">
                  <a14:useLocalDpi xmlns:a14="http://schemas.microsoft.com/office/drawing/2010/main" val="0"/>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2025591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207348038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spTree>
    <p:extLst>
      <p:ext uri="{BB962C8B-B14F-4D97-AF65-F5344CB8AC3E}">
        <p14:creationId xmlns:p14="http://schemas.microsoft.com/office/powerpoint/2010/main" val="172097760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3278" y="448055"/>
            <a:ext cx="1362456" cy="194066"/>
          </a:xfrm>
          <a:prstGeom prst="rect">
            <a:avLst/>
          </a:prstGeom>
        </p:spPr>
      </p:pic>
    </p:spTree>
    <p:extLst>
      <p:ext uri="{BB962C8B-B14F-4D97-AF65-F5344CB8AC3E}">
        <p14:creationId xmlns:p14="http://schemas.microsoft.com/office/powerpoint/2010/main" val="3933999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833390"/>
          </a:xfrm>
          <a:solidFill>
            <a:srgbClr val="501FA6"/>
          </a:solidFill>
        </p:spPr>
        <p:txBody>
          <a:bodyPr>
            <a:normAutofit/>
          </a:bodyPr>
          <a:lstStyle>
            <a:lvl1pPr>
              <a:defRPr sz="3468">
                <a:solidFill>
                  <a:srgbClr val="FEFEFA"/>
                </a:solidFill>
              </a:defRPr>
            </a:lvl1pPr>
          </a:lstStyle>
          <a:p>
            <a:r>
              <a:rPr lang="en-US"/>
              <a:t>Click to edit Master title style</a:t>
            </a:r>
            <a:endParaRPr lang="en-GB"/>
          </a:p>
        </p:txBody>
      </p:sp>
      <p:sp>
        <p:nvSpPr>
          <p:cNvPr id="3" name="Content Placeholder 2"/>
          <p:cNvSpPr>
            <a:spLocks noGrp="1"/>
          </p:cNvSpPr>
          <p:nvPr>
            <p:ph sz="half" idx="1"/>
          </p:nvPr>
        </p:nvSpPr>
        <p:spPr>
          <a:xfrm>
            <a:off x="168686" y="1016349"/>
            <a:ext cx="12115640" cy="160031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solidFill>
                <a:srgbClr val="2F2F2F">
                  <a:tint val="75000"/>
                </a:srgbClr>
              </a:solidFill>
            </a:endParaRPr>
          </a:p>
        </p:txBody>
      </p:sp>
      <p:sp>
        <p:nvSpPr>
          <p:cNvPr id="6" name="Footer Placeholder 5"/>
          <p:cNvSpPr>
            <a:spLocks noGrp="1"/>
          </p:cNvSpPr>
          <p:nvPr>
            <p:ph type="ftr" sz="quarter" idx="11"/>
          </p:nvPr>
        </p:nvSpPr>
        <p:spPr/>
        <p:txBody>
          <a:bodyPr/>
          <a:lstStyle/>
          <a:p>
            <a:r>
              <a:rPr lang="en-GB">
                <a:solidFill>
                  <a:srgbClr val="2F2F2F">
                    <a:tint val="75000"/>
                  </a:srgbClr>
                </a:solidFill>
              </a:rPr>
              <a:t>Copyright Microsoft 2020</a:t>
            </a:r>
          </a:p>
        </p:txBody>
      </p:sp>
      <p:sp>
        <p:nvSpPr>
          <p:cNvPr id="7" name="Slide Number Placeholder 6"/>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38056987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quare photo">
    <p:bg>
      <p:bgRef idx="1002">
        <a:schemeClr val="bg1"/>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Picture 9" descr="3 people in conferencr room looking at Surface" title="Microsoft brand photo">
            <a:extLst>
              <a:ext uri="{FF2B5EF4-FFF2-40B4-BE49-F238E27FC236}">
                <a16:creationId xmlns:a16="http://schemas.microsoft.com/office/drawing/2014/main" id="{A64B9627-09D6-4E1A-A1CB-17790F7679AC}"/>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947226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97635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29729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7930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85566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6885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554510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7624322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76009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72380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6143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bg1"/>
                </a:solidFill>
                <a:latin typeface="+mj-lt"/>
                <a:cs typeface="Segoe UI" panose="020B0502040204020203" pitchFamily="34" charset="0"/>
              </a:defRPr>
            </a:lvl1pPr>
          </a:lstStyle>
          <a:p>
            <a:r>
              <a:rPr lang="en-US"/>
              <a:t>Event name or presentation title </a:t>
            </a:r>
          </a:p>
        </p:txBody>
      </p:sp>
      <p:pic>
        <p:nvPicPr>
          <p:cNvPr id="8" name="Picture 7">
            <a:extLst>
              <a:ext uri="{FF2B5EF4-FFF2-40B4-BE49-F238E27FC236}">
                <a16:creationId xmlns:a16="http://schemas.microsoft.com/office/drawing/2014/main" id="{00CEEA84-3FA4-A944-8887-1B7A81864F7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73275" y="460985"/>
            <a:ext cx="1839118" cy="732359"/>
          </a:xfrm>
          <a:prstGeom prst="rect">
            <a:avLst/>
          </a:prstGeom>
          <a:noFill/>
        </p:spPr>
      </p:pic>
    </p:spTree>
    <p:extLst>
      <p:ext uri="{BB962C8B-B14F-4D97-AF65-F5344CB8AC3E}">
        <p14:creationId xmlns:p14="http://schemas.microsoft.com/office/powerpoint/2010/main" val="874001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8187" y="233152"/>
            <a:ext cx="11400102" cy="565091"/>
          </a:xfrm>
        </p:spPr>
        <p:txBody>
          <a:bodyPr/>
          <a:lstStyle/>
          <a:p>
            <a:r>
              <a:rPr lang="en-US"/>
              <a:t>Click to edit Master title style</a:t>
            </a:r>
          </a:p>
        </p:txBody>
      </p:sp>
      <p:sp>
        <p:nvSpPr>
          <p:cNvPr id="5" name="Text Placeholder 4"/>
          <p:cNvSpPr>
            <a:spLocks noGrp="1"/>
          </p:cNvSpPr>
          <p:nvPr>
            <p:ph type="body" sz="quarter" idx="10"/>
          </p:nvPr>
        </p:nvSpPr>
        <p:spPr>
          <a:xfrm>
            <a:off x="518187" y="1476622"/>
            <a:ext cx="114001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1793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NEW - Agenda">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Copyright Microsoft 2020</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297587" y="8855"/>
            <a:ext cx="11841301" cy="592690"/>
          </a:xfrm>
        </p:spPr>
        <p:txBody>
          <a:bodyPr vert="horz" wrap="square" lIns="0" tIns="45720" rIns="91440" bIns="45720" rtlCol="0" anchor="ctr" anchorCtr="0">
            <a:spAutoFit/>
          </a:bodyPr>
          <a:lstStyle>
            <a:lvl1pPr marL="0" algn="l" defTabSz="932608" rtl="0" eaLnBrk="1" latinLnBrk="0" hangingPunct="1">
              <a:lnSpc>
                <a:spcPct val="90000"/>
              </a:lnSpc>
              <a:spcBef>
                <a:spcPct val="0"/>
              </a:spcBef>
              <a:buNone/>
              <a:defRPr lang="en-US" sz="3529" kern="1200" cap="none" spc="-98" baseline="0" dirty="0">
                <a:gradFill>
                  <a:gsLst>
                    <a:gs pos="75385">
                      <a:srgbClr val="0072C6"/>
                    </a:gs>
                    <a:gs pos="55000">
                      <a:srgbClr val="0072C6"/>
                    </a:gs>
                  </a:gsLst>
                  <a:lin ang="5400000" scaled="0"/>
                </a:gradFill>
                <a:latin typeface="+mj-lt"/>
                <a:ea typeface="+mj-ea"/>
                <a:cs typeface="Segoe UI" panose="020B0502040204020203" pitchFamily="34" charset="0"/>
              </a:defRPr>
            </a:lvl1pPr>
          </a:lstStyle>
          <a:p>
            <a:pPr marL="0" lvl="0"/>
            <a:r>
              <a:rPr lang="en-US"/>
              <a:t>Click to edit master title style</a:t>
            </a:r>
          </a:p>
        </p:txBody>
      </p:sp>
      <p:cxnSp>
        <p:nvCxnSpPr>
          <p:cNvPr id="11" name="Straight Connector 10"/>
          <p:cNvCxnSpPr/>
          <p:nvPr userDrawn="1"/>
        </p:nvCxnSpPr>
        <p:spPr>
          <a:xfrm>
            <a:off x="220748" y="646600"/>
            <a:ext cx="11994980" cy="0"/>
          </a:xfrm>
          <a:prstGeom prst="line">
            <a:avLst/>
          </a:prstGeom>
          <a:ln w="9525">
            <a:solidFill>
              <a:srgbClr val="B2B2B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2"/>
          </p:nvPr>
        </p:nvSpPr>
        <p:spPr>
          <a:xfrm>
            <a:off x="297587" y="898780"/>
            <a:ext cx="11840607" cy="1651221"/>
          </a:xfrm>
        </p:spPr>
        <p:txBody>
          <a:bodyPr/>
          <a:lstStyle>
            <a:lvl1pPr marL="118194" indent="-118194">
              <a:spcBef>
                <a:spcPts val="714"/>
              </a:spcBef>
              <a:spcAft>
                <a:spcPts val="0"/>
              </a:spcAft>
              <a:buFont typeface="Segoe UI" panose="020B0502040204020203" pitchFamily="34" charset="0"/>
              <a:buChar char="∙"/>
              <a:defRPr sz="2652">
                <a:latin typeface="Segoe UI Semilight" panose="020B0402040204020203" pitchFamily="34" charset="0"/>
                <a:cs typeface="Segoe UI Semilight" panose="020B0402040204020203" pitchFamily="34" charset="0"/>
              </a:defRPr>
            </a:lvl1pPr>
            <a:lvl2pPr marL="351343" indent="-176481">
              <a:buFont typeface="Segoe UI" panose="020B0502040204020203" pitchFamily="34" charset="0"/>
              <a:buChar char="∙"/>
              <a:defRPr sz="2244">
                <a:latin typeface="Segoe UI Semilight" panose="020B0402040204020203" pitchFamily="34" charset="0"/>
                <a:cs typeface="Segoe UI Semilight" panose="020B0402040204020203" pitchFamily="34" charset="0"/>
              </a:defRPr>
            </a:lvl2pPr>
            <a:lvl3pPr marL="524586" indent="-173243">
              <a:buFont typeface="Segoe UI" panose="020B0502040204020203" pitchFamily="34" charset="0"/>
              <a:buChar char="∙"/>
              <a:defRPr>
                <a:latin typeface="Segoe UI Semilight" panose="020B0402040204020203" pitchFamily="34" charset="0"/>
                <a:cs typeface="Segoe UI Semilight" panose="020B0402040204020203" pitchFamily="34" charset="0"/>
              </a:defRPr>
            </a:lvl3pPr>
            <a:lvl4pPr marL="699447" indent="-174862">
              <a:buFont typeface="Segoe UI" panose="020B0502040204020203" pitchFamily="34" charset="0"/>
              <a:buChar char="∙"/>
              <a:defRPr>
                <a:latin typeface="Segoe UI Semilight" panose="020B0402040204020203" pitchFamily="34" charset="0"/>
                <a:cs typeface="Segoe UI Semilight" panose="020B0402040204020203" pitchFamily="34" charset="0"/>
              </a:defRPr>
            </a:lvl4pPr>
            <a:lvl5pPr marL="874309" indent="-174862">
              <a:buFont typeface="Segoe UI" panose="020B0502040204020203" pitchFamily="34" charset="0"/>
              <a:buChar char="∙"/>
              <a:defRPr>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7568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8" name="Rectangle 7"/>
          <p:cNvSpPr/>
          <p:nvPr/>
        </p:nvSpPr>
        <p:spPr>
          <a:xfrm>
            <a:off x="0" y="0"/>
            <a:ext cx="12436475" cy="6994525"/>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12" name="Picture 11"/>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4389455" y="0"/>
            <a:ext cx="8047020" cy="6994525"/>
          </a:xfrm>
          <a:prstGeom prst="rect">
            <a:avLst/>
          </a:prstGeom>
        </p:spPr>
      </p:pic>
      <p:sp>
        <p:nvSpPr>
          <p:cNvPr id="2" name="Title 1"/>
          <p:cNvSpPr>
            <a:spLocks noGrp="1"/>
          </p:cNvSpPr>
          <p:nvPr>
            <p:ph type="ctrTitle"/>
          </p:nvPr>
        </p:nvSpPr>
        <p:spPr>
          <a:xfrm>
            <a:off x="457939" y="930448"/>
            <a:ext cx="9222054" cy="1664529"/>
          </a:xfrm>
        </p:spPr>
        <p:txBody>
          <a:bodyPr anchor="b">
            <a:normAutofit/>
          </a:bodyPr>
          <a:lstStyle>
            <a:lvl1pPr algn="l">
              <a:defRPr sz="4351"/>
            </a:lvl1pPr>
          </a:lstStyle>
          <a:p>
            <a:r>
              <a:rPr lang="en-US"/>
              <a:t>Click to edit Master title style</a:t>
            </a:r>
          </a:p>
        </p:txBody>
      </p:sp>
      <p:sp>
        <p:nvSpPr>
          <p:cNvPr id="3" name="Subtitle 2"/>
          <p:cNvSpPr>
            <a:spLocks noGrp="1"/>
          </p:cNvSpPr>
          <p:nvPr>
            <p:ph type="subTitle" idx="1"/>
          </p:nvPr>
        </p:nvSpPr>
        <p:spPr>
          <a:xfrm>
            <a:off x="457939" y="2720632"/>
            <a:ext cx="9276582" cy="1214404"/>
          </a:xfrm>
        </p:spPr>
        <p:txBody>
          <a:bodyPr/>
          <a:lstStyle>
            <a:lvl1pPr marL="0" indent="0" algn="l">
              <a:buNone/>
              <a:defRPr>
                <a:solidFill>
                  <a:schemeClr val="tx1"/>
                </a:solidFill>
              </a:defRPr>
            </a:lvl1pPr>
            <a:lvl2pPr marL="466197" indent="0" algn="ctr">
              <a:buNone/>
              <a:defRPr>
                <a:solidFill>
                  <a:schemeClr val="tx1">
                    <a:tint val="75000"/>
                  </a:schemeClr>
                </a:solidFill>
              </a:defRPr>
            </a:lvl2pPr>
            <a:lvl3pPr marL="932394" indent="0" algn="ctr">
              <a:buNone/>
              <a:defRPr>
                <a:solidFill>
                  <a:schemeClr val="tx1">
                    <a:tint val="75000"/>
                  </a:schemeClr>
                </a:solidFill>
              </a:defRPr>
            </a:lvl3pPr>
            <a:lvl4pPr marL="1398591" indent="0" algn="ctr">
              <a:buNone/>
              <a:defRPr>
                <a:solidFill>
                  <a:schemeClr val="tx1">
                    <a:tint val="75000"/>
                  </a:schemeClr>
                </a:solidFill>
              </a:defRPr>
            </a:lvl4pPr>
            <a:lvl5pPr marL="1864788" indent="0" algn="ctr">
              <a:buNone/>
              <a:defRPr>
                <a:solidFill>
                  <a:schemeClr val="tx1">
                    <a:tint val="75000"/>
                  </a:schemeClr>
                </a:solidFill>
              </a:defRPr>
            </a:lvl5pPr>
            <a:lvl6pPr marL="2330986" indent="0" algn="ctr">
              <a:buNone/>
              <a:defRPr>
                <a:solidFill>
                  <a:schemeClr val="tx1">
                    <a:tint val="75000"/>
                  </a:schemeClr>
                </a:solidFill>
              </a:defRPr>
            </a:lvl6pPr>
            <a:lvl7pPr marL="2797182" indent="0" algn="ctr">
              <a:buNone/>
              <a:defRPr>
                <a:solidFill>
                  <a:schemeClr val="tx1">
                    <a:tint val="75000"/>
                  </a:schemeClr>
                </a:solidFill>
              </a:defRPr>
            </a:lvl7pPr>
            <a:lvl8pPr marL="3263379" indent="0" algn="ctr">
              <a:buNone/>
              <a:defRPr>
                <a:solidFill>
                  <a:schemeClr val="tx1">
                    <a:tint val="75000"/>
                  </a:schemeClr>
                </a:solidFill>
              </a:defRPr>
            </a:lvl8pPr>
            <a:lvl9pPr marL="372957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p:nvPr>
        </p:nvSpPr>
        <p:spPr>
          <a:xfrm>
            <a:off x="462020" y="4816483"/>
            <a:ext cx="9303988" cy="1703106"/>
          </a:xfrm>
        </p:spPr>
        <p:txBody>
          <a:bodyPr anchor="b">
            <a:normAutofit/>
          </a:bodyPr>
          <a:lstStyle>
            <a:lvl1pPr marL="0" indent="0">
              <a:defRPr sz="1903"/>
            </a:lvl1pPr>
          </a:lstStyle>
          <a:p>
            <a:pPr lvl="0"/>
            <a:r>
              <a:rPr lang="en-US"/>
              <a:t>Click to edit Master text styles</a:t>
            </a:r>
          </a:p>
        </p:txBody>
      </p:sp>
      <p:pic>
        <p:nvPicPr>
          <p:cNvPr id="1029" name="Picture 5"/>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289623" y="372518"/>
            <a:ext cx="3298631" cy="80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7140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8" name="Rectangle 7"/>
          <p:cNvSpPr/>
          <p:nvPr/>
        </p:nvSpPr>
        <p:spPr>
          <a:xfrm>
            <a:off x="0" y="0"/>
            <a:ext cx="12436475" cy="699452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89456" y="-652617"/>
            <a:ext cx="9227697" cy="8293858"/>
          </a:xfrm>
          <a:prstGeom prst="rect">
            <a:avLst/>
          </a:prstGeom>
        </p:spPr>
      </p:pic>
      <p:sp>
        <p:nvSpPr>
          <p:cNvPr id="2" name="Title 1"/>
          <p:cNvSpPr>
            <a:spLocks noGrp="1"/>
          </p:cNvSpPr>
          <p:nvPr>
            <p:ph type="ctrTitle"/>
          </p:nvPr>
        </p:nvSpPr>
        <p:spPr>
          <a:xfrm>
            <a:off x="457939" y="930448"/>
            <a:ext cx="9222054" cy="1664529"/>
          </a:xfrm>
        </p:spPr>
        <p:txBody>
          <a:bodyPr anchor="b">
            <a:normAutofit/>
          </a:bodyPr>
          <a:lstStyle>
            <a:lvl1pPr algn="l">
              <a:defRPr sz="4351">
                <a:solidFill>
                  <a:schemeClr val="bg1"/>
                </a:solidFill>
              </a:defRPr>
            </a:lvl1pPr>
          </a:lstStyle>
          <a:p>
            <a:r>
              <a:rPr lang="en-US"/>
              <a:t>Click to edit Master title style</a:t>
            </a:r>
          </a:p>
        </p:txBody>
      </p:sp>
      <p:sp>
        <p:nvSpPr>
          <p:cNvPr id="3" name="Subtitle 2"/>
          <p:cNvSpPr>
            <a:spLocks noGrp="1"/>
          </p:cNvSpPr>
          <p:nvPr>
            <p:ph type="subTitle" idx="1"/>
          </p:nvPr>
        </p:nvSpPr>
        <p:spPr>
          <a:xfrm>
            <a:off x="457939" y="2720632"/>
            <a:ext cx="9276582" cy="1214404"/>
          </a:xfrm>
        </p:spPr>
        <p:txBody>
          <a:bodyPr/>
          <a:lstStyle>
            <a:lvl1pPr marL="0" indent="0" algn="l">
              <a:buNone/>
              <a:defRPr>
                <a:solidFill>
                  <a:schemeClr val="bg1"/>
                </a:solidFill>
              </a:defRPr>
            </a:lvl1pPr>
            <a:lvl2pPr marL="466197" indent="0" algn="ctr">
              <a:buNone/>
              <a:defRPr>
                <a:solidFill>
                  <a:schemeClr val="tx1">
                    <a:tint val="75000"/>
                  </a:schemeClr>
                </a:solidFill>
              </a:defRPr>
            </a:lvl2pPr>
            <a:lvl3pPr marL="932394" indent="0" algn="ctr">
              <a:buNone/>
              <a:defRPr>
                <a:solidFill>
                  <a:schemeClr val="tx1">
                    <a:tint val="75000"/>
                  </a:schemeClr>
                </a:solidFill>
              </a:defRPr>
            </a:lvl3pPr>
            <a:lvl4pPr marL="1398591" indent="0" algn="ctr">
              <a:buNone/>
              <a:defRPr>
                <a:solidFill>
                  <a:schemeClr val="tx1">
                    <a:tint val="75000"/>
                  </a:schemeClr>
                </a:solidFill>
              </a:defRPr>
            </a:lvl4pPr>
            <a:lvl5pPr marL="1864788" indent="0" algn="ctr">
              <a:buNone/>
              <a:defRPr>
                <a:solidFill>
                  <a:schemeClr val="tx1">
                    <a:tint val="75000"/>
                  </a:schemeClr>
                </a:solidFill>
              </a:defRPr>
            </a:lvl5pPr>
            <a:lvl6pPr marL="2330986" indent="0" algn="ctr">
              <a:buNone/>
              <a:defRPr>
                <a:solidFill>
                  <a:schemeClr val="tx1">
                    <a:tint val="75000"/>
                  </a:schemeClr>
                </a:solidFill>
              </a:defRPr>
            </a:lvl6pPr>
            <a:lvl7pPr marL="2797182" indent="0" algn="ctr">
              <a:buNone/>
              <a:defRPr>
                <a:solidFill>
                  <a:schemeClr val="tx1">
                    <a:tint val="75000"/>
                  </a:schemeClr>
                </a:solidFill>
              </a:defRPr>
            </a:lvl7pPr>
            <a:lvl8pPr marL="3263379" indent="0" algn="ctr">
              <a:buNone/>
              <a:defRPr>
                <a:solidFill>
                  <a:schemeClr val="tx1">
                    <a:tint val="75000"/>
                  </a:schemeClr>
                </a:solidFill>
              </a:defRPr>
            </a:lvl8pPr>
            <a:lvl9pPr marL="372957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p:nvPr>
        </p:nvSpPr>
        <p:spPr>
          <a:xfrm>
            <a:off x="367166" y="4989627"/>
            <a:ext cx="9303988" cy="1529963"/>
          </a:xfrm>
        </p:spPr>
        <p:txBody>
          <a:bodyPr vert="horz" lIns="68580" tIns="34290" rIns="68580" bIns="34290" rtlCol="0" anchor="b">
            <a:normAutofit/>
          </a:bodyPr>
          <a:lstStyle>
            <a:lvl1pPr>
              <a:defRPr lang="en-US" sz="1903" dirty="0" smtClean="0">
                <a:solidFill>
                  <a:schemeClr val="bg1"/>
                </a:solidFill>
              </a:defRPr>
            </a:lvl1pPr>
          </a:lstStyle>
          <a:p>
            <a:pPr marL="0" lvl="0" indent="0"/>
            <a:r>
              <a:rPr lang="en-US"/>
              <a:t>Click to edit Master text styles</a:t>
            </a:r>
          </a:p>
        </p:txBody>
      </p:sp>
      <p:pic>
        <p:nvPicPr>
          <p:cNvPr id="11" name="Picture 6"/>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289623" y="372518"/>
            <a:ext cx="3298631" cy="80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06954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8" name="Rectangle 7"/>
          <p:cNvSpPr/>
          <p:nvPr/>
        </p:nvSpPr>
        <p:spPr>
          <a:xfrm>
            <a:off x="0" y="0"/>
            <a:ext cx="12436475" cy="6994525"/>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89456" y="-652617"/>
            <a:ext cx="9227697" cy="8293858"/>
          </a:xfrm>
          <a:prstGeom prst="rect">
            <a:avLst/>
          </a:prstGeom>
        </p:spPr>
      </p:pic>
      <p:sp>
        <p:nvSpPr>
          <p:cNvPr id="2" name="Title 1"/>
          <p:cNvSpPr>
            <a:spLocks noGrp="1"/>
          </p:cNvSpPr>
          <p:nvPr>
            <p:ph type="ctrTitle"/>
          </p:nvPr>
        </p:nvSpPr>
        <p:spPr>
          <a:xfrm>
            <a:off x="457939" y="930448"/>
            <a:ext cx="9222054" cy="1664529"/>
          </a:xfrm>
        </p:spPr>
        <p:txBody>
          <a:bodyPr anchor="b">
            <a:normAutofit/>
          </a:bodyPr>
          <a:lstStyle>
            <a:lvl1pPr algn="l">
              <a:defRPr sz="4351">
                <a:solidFill>
                  <a:schemeClr val="bg1"/>
                </a:solidFill>
              </a:defRPr>
            </a:lvl1pPr>
          </a:lstStyle>
          <a:p>
            <a:r>
              <a:rPr lang="en-US"/>
              <a:t>Click to edit Master title style</a:t>
            </a:r>
          </a:p>
        </p:txBody>
      </p:sp>
      <p:sp>
        <p:nvSpPr>
          <p:cNvPr id="3" name="Subtitle 2"/>
          <p:cNvSpPr>
            <a:spLocks noGrp="1"/>
          </p:cNvSpPr>
          <p:nvPr>
            <p:ph type="subTitle" idx="1"/>
          </p:nvPr>
        </p:nvSpPr>
        <p:spPr>
          <a:xfrm>
            <a:off x="457939" y="2720632"/>
            <a:ext cx="9276582" cy="1214404"/>
          </a:xfrm>
        </p:spPr>
        <p:txBody>
          <a:bodyPr/>
          <a:lstStyle>
            <a:lvl1pPr marL="0" indent="0" algn="l">
              <a:buNone/>
              <a:defRPr>
                <a:solidFill>
                  <a:schemeClr val="bg1"/>
                </a:solidFill>
              </a:defRPr>
            </a:lvl1pPr>
            <a:lvl2pPr marL="466197" indent="0" algn="ctr">
              <a:buNone/>
              <a:defRPr>
                <a:solidFill>
                  <a:schemeClr val="tx1">
                    <a:tint val="75000"/>
                  </a:schemeClr>
                </a:solidFill>
              </a:defRPr>
            </a:lvl2pPr>
            <a:lvl3pPr marL="932394" indent="0" algn="ctr">
              <a:buNone/>
              <a:defRPr>
                <a:solidFill>
                  <a:schemeClr val="tx1">
                    <a:tint val="75000"/>
                  </a:schemeClr>
                </a:solidFill>
              </a:defRPr>
            </a:lvl3pPr>
            <a:lvl4pPr marL="1398591" indent="0" algn="ctr">
              <a:buNone/>
              <a:defRPr>
                <a:solidFill>
                  <a:schemeClr val="tx1">
                    <a:tint val="75000"/>
                  </a:schemeClr>
                </a:solidFill>
              </a:defRPr>
            </a:lvl4pPr>
            <a:lvl5pPr marL="1864788" indent="0" algn="ctr">
              <a:buNone/>
              <a:defRPr>
                <a:solidFill>
                  <a:schemeClr val="tx1">
                    <a:tint val="75000"/>
                  </a:schemeClr>
                </a:solidFill>
              </a:defRPr>
            </a:lvl5pPr>
            <a:lvl6pPr marL="2330986" indent="0" algn="ctr">
              <a:buNone/>
              <a:defRPr>
                <a:solidFill>
                  <a:schemeClr val="tx1">
                    <a:tint val="75000"/>
                  </a:schemeClr>
                </a:solidFill>
              </a:defRPr>
            </a:lvl6pPr>
            <a:lvl7pPr marL="2797182" indent="0" algn="ctr">
              <a:buNone/>
              <a:defRPr>
                <a:solidFill>
                  <a:schemeClr val="tx1">
                    <a:tint val="75000"/>
                  </a:schemeClr>
                </a:solidFill>
              </a:defRPr>
            </a:lvl7pPr>
            <a:lvl8pPr marL="3263379" indent="0" algn="ctr">
              <a:buNone/>
              <a:defRPr>
                <a:solidFill>
                  <a:schemeClr val="tx1">
                    <a:tint val="75000"/>
                  </a:schemeClr>
                </a:solidFill>
              </a:defRPr>
            </a:lvl8pPr>
            <a:lvl9pPr marL="372957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p:nvPr>
        </p:nvSpPr>
        <p:spPr>
          <a:xfrm>
            <a:off x="367166" y="4989627"/>
            <a:ext cx="9303988" cy="1529963"/>
          </a:xfrm>
        </p:spPr>
        <p:txBody>
          <a:bodyPr vert="horz" lIns="68580" tIns="34290" rIns="68580" bIns="34290" rtlCol="0" anchor="b">
            <a:normAutofit/>
          </a:bodyPr>
          <a:lstStyle>
            <a:lvl1pPr>
              <a:defRPr lang="en-US" sz="1903" dirty="0" smtClean="0">
                <a:solidFill>
                  <a:schemeClr val="bg1"/>
                </a:solidFill>
              </a:defRPr>
            </a:lvl1pPr>
          </a:lstStyle>
          <a:p>
            <a:pPr marL="0" lvl="0" indent="0"/>
            <a:r>
              <a:rPr lang="en-US"/>
              <a:t>Click to edit Master text styles</a:t>
            </a:r>
          </a:p>
        </p:txBody>
      </p:sp>
      <p:pic>
        <p:nvPicPr>
          <p:cNvPr id="9" name="Picture 6"/>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289623" y="372518"/>
            <a:ext cx="3298631" cy="80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39682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304981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sp>
        <p:nvSpPr>
          <p:cNvPr id="8" name="Rectangle 7"/>
          <p:cNvSpPr/>
          <p:nvPr/>
        </p:nvSpPr>
        <p:spPr>
          <a:xfrm>
            <a:off x="0" y="0"/>
            <a:ext cx="12436475" cy="6994525"/>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89456" y="-652617"/>
            <a:ext cx="9227697" cy="8293858"/>
          </a:xfrm>
          <a:prstGeom prst="rect">
            <a:avLst/>
          </a:prstGeom>
        </p:spPr>
      </p:pic>
      <p:sp>
        <p:nvSpPr>
          <p:cNvPr id="2" name="Title 1"/>
          <p:cNvSpPr>
            <a:spLocks noGrp="1"/>
          </p:cNvSpPr>
          <p:nvPr>
            <p:ph type="ctrTitle"/>
          </p:nvPr>
        </p:nvSpPr>
        <p:spPr>
          <a:xfrm>
            <a:off x="457939" y="930448"/>
            <a:ext cx="9222054" cy="1664529"/>
          </a:xfrm>
        </p:spPr>
        <p:txBody>
          <a:bodyPr anchor="b">
            <a:normAutofit/>
          </a:bodyPr>
          <a:lstStyle>
            <a:lvl1pPr algn="l">
              <a:defRPr sz="4351">
                <a:solidFill>
                  <a:schemeClr val="bg1"/>
                </a:solidFill>
              </a:defRPr>
            </a:lvl1pPr>
          </a:lstStyle>
          <a:p>
            <a:r>
              <a:rPr lang="en-US"/>
              <a:t>Click to edit Master title style</a:t>
            </a:r>
          </a:p>
        </p:txBody>
      </p:sp>
      <p:sp>
        <p:nvSpPr>
          <p:cNvPr id="3" name="Subtitle 2"/>
          <p:cNvSpPr>
            <a:spLocks noGrp="1"/>
          </p:cNvSpPr>
          <p:nvPr>
            <p:ph type="subTitle" idx="1"/>
          </p:nvPr>
        </p:nvSpPr>
        <p:spPr>
          <a:xfrm>
            <a:off x="457939" y="2720632"/>
            <a:ext cx="9276582" cy="1214404"/>
          </a:xfrm>
        </p:spPr>
        <p:txBody>
          <a:bodyPr/>
          <a:lstStyle>
            <a:lvl1pPr marL="0" indent="0" algn="l">
              <a:buNone/>
              <a:defRPr>
                <a:solidFill>
                  <a:schemeClr val="bg1"/>
                </a:solidFill>
              </a:defRPr>
            </a:lvl1pPr>
            <a:lvl2pPr marL="466197" indent="0" algn="ctr">
              <a:buNone/>
              <a:defRPr>
                <a:solidFill>
                  <a:schemeClr val="tx1">
                    <a:tint val="75000"/>
                  </a:schemeClr>
                </a:solidFill>
              </a:defRPr>
            </a:lvl2pPr>
            <a:lvl3pPr marL="932394" indent="0" algn="ctr">
              <a:buNone/>
              <a:defRPr>
                <a:solidFill>
                  <a:schemeClr val="tx1">
                    <a:tint val="75000"/>
                  </a:schemeClr>
                </a:solidFill>
              </a:defRPr>
            </a:lvl3pPr>
            <a:lvl4pPr marL="1398591" indent="0" algn="ctr">
              <a:buNone/>
              <a:defRPr>
                <a:solidFill>
                  <a:schemeClr val="tx1">
                    <a:tint val="75000"/>
                  </a:schemeClr>
                </a:solidFill>
              </a:defRPr>
            </a:lvl4pPr>
            <a:lvl5pPr marL="1864788" indent="0" algn="ctr">
              <a:buNone/>
              <a:defRPr>
                <a:solidFill>
                  <a:schemeClr val="tx1">
                    <a:tint val="75000"/>
                  </a:schemeClr>
                </a:solidFill>
              </a:defRPr>
            </a:lvl5pPr>
            <a:lvl6pPr marL="2330986" indent="0" algn="ctr">
              <a:buNone/>
              <a:defRPr>
                <a:solidFill>
                  <a:schemeClr val="tx1">
                    <a:tint val="75000"/>
                  </a:schemeClr>
                </a:solidFill>
              </a:defRPr>
            </a:lvl6pPr>
            <a:lvl7pPr marL="2797182" indent="0" algn="ctr">
              <a:buNone/>
              <a:defRPr>
                <a:solidFill>
                  <a:schemeClr val="tx1">
                    <a:tint val="75000"/>
                  </a:schemeClr>
                </a:solidFill>
              </a:defRPr>
            </a:lvl7pPr>
            <a:lvl8pPr marL="3263379" indent="0" algn="ctr">
              <a:buNone/>
              <a:defRPr>
                <a:solidFill>
                  <a:schemeClr val="tx1">
                    <a:tint val="75000"/>
                  </a:schemeClr>
                </a:solidFill>
              </a:defRPr>
            </a:lvl8pPr>
            <a:lvl9pPr marL="372957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p:nvPr>
        </p:nvSpPr>
        <p:spPr>
          <a:xfrm>
            <a:off x="367166" y="4989627"/>
            <a:ext cx="9303988" cy="1529963"/>
          </a:xfrm>
        </p:spPr>
        <p:txBody>
          <a:bodyPr vert="horz" lIns="68580" tIns="34290" rIns="68580" bIns="34290" rtlCol="0" anchor="b">
            <a:normAutofit/>
          </a:bodyPr>
          <a:lstStyle>
            <a:lvl1pPr>
              <a:defRPr lang="en-US" sz="1903" dirty="0" smtClean="0">
                <a:solidFill>
                  <a:schemeClr val="bg1"/>
                </a:solidFill>
              </a:defRPr>
            </a:lvl1pPr>
          </a:lstStyle>
          <a:p>
            <a:pPr marL="0" lvl="0" indent="0"/>
            <a:r>
              <a:rPr lang="en-US"/>
              <a:t>Click to edit Master text styles</a:t>
            </a:r>
          </a:p>
        </p:txBody>
      </p:sp>
      <p:pic>
        <p:nvPicPr>
          <p:cNvPr id="9" name="Picture 6"/>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289623" y="372518"/>
            <a:ext cx="3298631" cy="80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28312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Text slide">
    <p:spTree>
      <p:nvGrpSpPr>
        <p:cNvPr id="1" name=""/>
        <p:cNvGrpSpPr/>
        <p:nvPr/>
      </p:nvGrpSpPr>
      <p:grpSpPr>
        <a:xfrm>
          <a:off x="0" y="0"/>
          <a:ext cx="0" cy="0"/>
          <a:chOff x="0" y="0"/>
          <a:chExt cx="0" cy="0"/>
        </a:xfrm>
      </p:grpSpPr>
      <p:sp>
        <p:nvSpPr>
          <p:cNvPr id="10"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pPr defTabSz="466186"/>
            <a:fld id="{CEC664EE-8BCE-F347-A425-E70116B723D9}" type="slidenum">
              <a:rPr lang="en-US" smtClean="0">
                <a:solidFill>
                  <a:prstClr val="black">
                    <a:tint val="75000"/>
                  </a:prstClr>
                </a:solidFill>
              </a:rPr>
              <a:pPr defTabSz="466186"/>
              <a:t>‹#›</a:t>
            </a:fld>
            <a:endParaRPr lang="en-US">
              <a:solidFill>
                <a:prstClr val="black">
                  <a:tint val="75000"/>
                </a:prstClr>
              </a:solidFill>
            </a:endParaRPr>
          </a:p>
        </p:txBody>
      </p:sp>
      <p:pic>
        <p:nvPicPr>
          <p:cNvPr id="3" name="Picture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7" name="Title Placeholder 1"/>
          <p:cNvSpPr>
            <a:spLocks noGrp="1"/>
          </p:cNvSpPr>
          <p:nvPr>
            <p:ph type="title"/>
          </p:nvPr>
        </p:nvSpPr>
        <p:spPr>
          <a:xfrm>
            <a:off x="486239" y="261785"/>
            <a:ext cx="11462276" cy="635760"/>
          </a:xfrm>
          <a:prstGeom prst="rect">
            <a:avLst/>
          </a:prstGeom>
          <a:ln>
            <a:noFill/>
          </a:ln>
        </p:spPr>
        <p:txBody>
          <a:bodyPr vert="horz" lIns="0" tIns="0" rIns="0" bIns="0" rtlCol="0" anchor="b">
            <a:noAutofit/>
          </a:bodyPr>
          <a:lstStyle/>
          <a:p>
            <a:r>
              <a:rPr lang="en-US"/>
              <a:t>Click to edit Master title style</a:t>
            </a:r>
          </a:p>
        </p:txBody>
      </p:sp>
      <p:sp>
        <p:nvSpPr>
          <p:cNvPr id="4" name="Text Placeholder 3"/>
          <p:cNvSpPr>
            <a:spLocks noGrp="1"/>
          </p:cNvSpPr>
          <p:nvPr>
            <p:ph type="body" sz="quarter" idx="10"/>
          </p:nvPr>
        </p:nvSpPr>
        <p:spPr>
          <a:xfrm>
            <a:off x="487961" y="1029751"/>
            <a:ext cx="11460558" cy="5129318"/>
          </a:xfrm>
        </p:spPr>
        <p:txBody>
          <a:bodyPr>
            <a:noAutofit/>
          </a:bodyPr>
          <a:lstStyle>
            <a:lvl2pPr marL="149183" indent="-149183">
              <a:spcBef>
                <a:spcPts val="544"/>
              </a:spcBef>
              <a:defRPr>
                <a:latin typeface="Calibri Light" panose="020F0302020204030204" pitchFamily="34" charset="0"/>
                <a:cs typeface="Calibri Light" panose="020F0302020204030204" pitchFamily="34" charset="0"/>
              </a:defRPr>
            </a:lvl2pPr>
            <a:lvl3pPr marL="149183" indent="-149183">
              <a:spcBef>
                <a:spcPts val="544"/>
              </a:spcBef>
              <a:defRPr>
                <a:latin typeface="Calibri Light" panose="020F0302020204030204" pitchFamily="34" charset="0"/>
                <a:cs typeface="Calibri Light" panose="020F0302020204030204" pitchFamily="34" charset="0"/>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276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468">
          <p15:clr>
            <a:srgbClr val="FBAE40"/>
          </p15:clr>
        </p15:guide>
        <p15:guide id="4" orient="horz" pos="61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_Text slide">
    <p:spTree>
      <p:nvGrpSpPr>
        <p:cNvPr id="1" name=""/>
        <p:cNvGrpSpPr/>
        <p:nvPr/>
      </p:nvGrpSpPr>
      <p:grpSpPr>
        <a:xfrm>
          <a:off x="0" y="0"/>
          <a:ext cx="0" cy="0"/>
          <a:chOff x="0" y="0"/>
          <a:chExt cx="0" cy="0"/>
        </a:xfrm>
      </p:grpSpPr>
      <p:sp>
        <p:nvSpPr>
          <p:cNvPr id="10"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pPr defTabSz="466186"/>
            <a:fld id="{CEC664EE-8BCE-F347-A425-E70116B723D9}" type="slidenum">
              <a:rPr lang="en-US" smtClean="0">
                <a:solidFill>
                  <a:prstClr val="black">
                    <a:tint val="75000"/>
                  </a:prstClr>
                </a:solidFill>
              </a:rPr>
              <a:pPr defTabSz="466186"/>
              <a:t>‹#›</a:t>
            </a:fld>
            <a:endParaRPr lang="en-US">
              <a:solidFill>
                <a:prstClr val="black">
                  <a:tint val="75000"/>
                </a:prstClr>
              </a:solidFill>
            </a:endParaRPr>
          </a:p>
        </p:txBody>
      </p:sp>
      <p:sp>
        <p:nvSpPr>
          <p:cNvPr id="7" name="Title Placeholder 1"/>
          <p:cNvSpPr>
            <a:spLocks noGrp="1"/>
          </p:cNvSpPr>
          <p:nvPr>
            <p:ph type="title"/>
          </p:nvPr>
        </p:nvSpPr>
        <p:spPr>
          <a:xfrm>
            <a:off x="486239" y="261785"/>
            <a:ext cx="11462276" cy="635760"/>
          </a:xfrm>
          <a:prstGeom prst="rect">
            <a:avLst/>
          </a:prstGeom>
          <a:ln>
            <a:noFill/>
          </a:ln>
        </p:spPr>
        <p:txBody>
          <a:bodyPr vert="horz" lIns="0" tIns="0" rIns="0" bIns="0" rtlCol="0" anchor="b">
            <a:noAutofit/>
          </a:bodyPr>
          <a:lstStyle/>
          <a:p>
            <a:r>
              <a:rPr lang="en-US"/>
              <a:t>Click to edit Master title style</a:t>
            </a:r>
          </a:p>
        </p:txBody>
      </p:sp>
      <p:sp>
        <p:nvSpPr>
          <p:cNvPr id="4" name="Text Placeholder 3"/>
          <p:cNvSpPr>
            <a:spLocks noGrp="1"/>
          </p:cNvSpPr>
          <p:nvPr>
            <p:ph type="body" sz="quarter" idx="10"/>
          </p:nvPr>
        </p:nvSpPr>
        <p:spPr>
          <a:xfrm>
            <a:off x="487961" y="1029751"/>
            <a:ext cx="11460558" cy="5129318"/>
          </a:xfrm>
        </p:spPr>
        <p:txBody>
          <a:bodyPr>
            <a:noAutofit/>
          </a:bodyPr>
          <a:lstStyle>
            <a:lvl2pPr marL="149183" indent="-149183">
              <a:spcBef>
                <a:spcPts val="544"/>
              </a:spcBef>
              <a:defRPr>
                <a:latin typeface="Calibri Light" panose="020F0302020204030204" pitchFamily="34" charset="0"/>
                <a:cs typeface="Calibri Light" panose="020F0302020204030204" pitchFamily="34" charset="0"/>
              </a:defRPr>
            </a:lvl2pPr>
            <a:lvl3pPr marL="149183" indent="-149183">
              <a:spcBef>
                <a:spcPts val="544"/>
              </a:spcBef>
              <a:defRPr>
                <a:latin typeface="Calibri Light" panose="020F0302020204030204" pitchFamily="34" charset="0"/>
                <a:cs typeface="Calibri Light" panose="020F0302020204030204" pitchFamily="34" charset="0"/>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894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468">
          <p15:clr>
            <a:srgbClr val="FBAE40"/>
          </p15:clr>
        </p15:guide>
        <p15:guide id="4" orient="horz" pos="61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ynopsis slide">
    <p:spTree>
      <p:nvGrpSpPr>
        <p:cNvPr id="1" name=""/>
        <p:cNvGrpSpPr/>
        <p:nvPr/>
      </p:nvGrpSpPr>
      <p:grpSpPr>
        <a:xfrm>
          <a:off x="0" y="0"/>
          <a:ext cx="0" cy="0"/>
          <a:chOff x="0" y="0"/>
          <a:chExt cx="0" cy="0"/>
        </a:xfrm>
      </p:grpSpPr>
      <p:sp>
        <p:nvSpPr>
          <p:cNvPr id="10"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6" name="Title Placeholder 1"/>
          <p:cNvSpPr>
            <a:spLocks noGrp="1"/>
          </p:cNvSpPr>
          <p:nvPr>
            <p:ph type="title"/>
          </p:nvPr>
        </p:nvSpPr>
        <p:spPr>
          <a:xfrm>
            <a:off x="2001057" y="1895175"/>
            <a:ext cx="9182420" cy="635760"/>
          </a:xfrm>
          <a:prstGeom prst="rect">
            <a:avLst/>
          </a:prstGeom>
          <a:ln>
            <a:noFill/>
          </a:ln>
        </p:spPr>
        <p:txBody>
          <a:bodyPr vert="horz" lIns="0" tIns="0" rIns="0" bIns="0" rtlCol="0" anchor="b">
            <a:noAutofit/>
          </a:bodyPr>
          <a:lstStyle/>
          <a:p>
            <a:r>
              <a:rPr lang="en-US"/>
              <a:t>Click to edit Master title style</a:t>
            </a:r>
          </a:p>
        </p:txBody>
      </p:sp>
      <p:sp>
        <p:nvSpPr>
          <p:cNvPr id="7" name="Rectangle 6"/>
          <p:cNvSpPr/>
          <p:nvPr/>
        </p:nvSpPr>
        <p:spPr>
          <a:xfrm>
            <a:off x="1" y="0"/>
            <a:ext cx="1473952" cy="699452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4851" y="1979872"/>
            <a:ext cx="955767" cy="859044"/>
          </a:xfrm>
          <a:prstGeom prst="rect">
            <a:avLst/>
          </a:prstGeom>
        </p:spPr>
      </p:pic>
      <p:sp>
        <p:nvSpPr>
          <p:cNvPr id="3" name="Text Placeholder 2"/>
          <p:cNvSpPr>
            <a:spLocks noGrp="1"/>
          </p:cNvSpPr>
          <p:nvPr>
            <p:ph type="body" sz="quarter" idx="10"/>
          </p:nvPr>
        </p:nvSpPr>
        <p:spPr>
          <a:xfrm>
            <a:off x="2001496" y="2636549"/>
            <a:ext cx="9182696" cy="411357"/>
          </a:xfrm>
        </p:spPr>
        <p:txBody>
          <a:bodyPr/>
          <a:lstStyle>
            <a:lvl1pPr>
              <a:defRPr>
                <a:solidFill>
                  <a:schemeClr val="accent1"/>
                </a:solidFill>
              </a:defRPr>
            </a:lvl1pPr>
          </a:lstStyle>
          <a:p>
            <a:pPr lvl="0"/>
            <a:r>
              <a:rPr lang="en-US"/>
              <a:t>Click to edit Master text styles</a:t>
            </a:r>
          </a:p>
        </p:txBody>
      </p:sp>
      <p:sp>
        <p:nvSpPr>
          <p:cNvPr id="12" name="Text Placeholder 11"/>
          <p:cNvSpPr>
            <a:spLocks noGrp="1"/>
          </p:cNvSpPr>
          <p:nvPr>
            <p:ph type="body" sz="quarter" idx="11"/>
          </p:nvPr>
        </p:nvSpPr>
        <p:spPr>
          <a:xfrm>
            <a:off x="2001496" y="3150345"/>
            <a:ext cx="9182696" cy="3084930"/>
          </a:xfrm>
        </p:spPr>
        <p:txBody>
          <a:bodyPr>
            <a:normAutofit/>
          </a:bodyPr>
          <a:lstStyle>
            <a:lvl1pPr>
              <a:defRPr sz="1632">
                <a:solidFill>
                  <a:schemeClr val="tx1"/>
                </a:solidFill>
                <a:latin typeface="Calibri Light" panose="020F0302020204030204" pitchFamily="34" charset="0"/>
                <a:cs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6574031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Only ">
    <p:spTree>
      <p:nvGrpSpPr>
        <p:cNvPr id="1" name=""/>
        <p:cNvGrpSpPr/>
        <p:nvPr/>
      </p:nvGrpSpPr>
      <p:grpSpPr>
        <a:xfrm>
          <a:off x="0" y="0"/>
          <a:ext cx="0" cy="0"/>
          <a:chOff x="0" y="0"/>
          <a:chExt cx="0" cy="0"/>
        </a:xfrm>
      </p:grpSpPr>
      <p:sp>
        <p:nvSpPr>
          <p:cNvPr id="10"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latin typeface="Calibri Light" panose="020F0302020204030204" pitchFamily="34" charset="0"/>
                <a:cs typeface="Calibri Light" panose="020F0302020204030204" pitchFamily="34" charset="0"/>
              </a:defRPr>
            </a:lvl1pPr>
          </a:lstStyle>
          <a:p>
            <a:pPr defTabSz="466186"/>
            <a:fld id="{CEC664EE-8BCE-F347-A425-E70116B723D9}" type="slidenum">
              <a:rPr lang="en-US" smtClean="0">
                <a:solidFill>
                  <a:prstClr val="black">
                    <a:tint val="75000"/>
                  </a:prstClr>
                </a:solidFill>
              </a:rPr>
              <a:pPr defTabSz="466186"/>
              <a:t>‹#›</a:t>
            </a:fld>
            <a:endParaRPr lang="en-US">
              <a:solidFill>
                <a:prstClr val="black">
                  <a:tint val="75000"/>
                </a:prstClr>
              </a:solidFill>
            </a:endParaRPr>
          </a:p>
        </p:txBody>
      </p:sp>
      <p:sp>
        <p:nvSpPr>
          <p:cNvPr id="5"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Tree>
    <p:extLst>
      <p:ext uri="{BB962C8B-B14F-4D97-AF65-F5344CB8AC3E}">
        <p14:creationId xmlns:p14="http://schemas.microsoft.com/office/powerpoint/2010/main" val="339098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Goals and Objectives">
    <p:spTree>
      <p:nvGrpSpPr>
        <p:cNvPr id="1" name=""/>
        <p:cNvGrpSpPr/>
        <p:nvPr/>
      </p:nvGrpSpPr>
      <p:grpSpPr>
        <a:xfrm>
          <a:off x="0" y="0"/>
          <a:ext cx="0" cy="0"/>
          <a:chOff x="0" y="0"/>
          <a:chExt cx="0" cy="0"/>
        </a:xfrm>
      </p:grpSpPr>
      <p:sp>
        <p:nvSpPr>
          <p:cNvPr id="18" name="Text Placeholder 17"/>
          <p:cNvSpPr>
            <a:spLocks noGrp="1"/>
          </p:cNvSpPr>
          <p:nvPr>
            <p:ph type="body" sz="quarter" idx="13"/>
          </p:nvPr>
        </p:nvSpPr>
        <p:spPr>
          <a:xfrm>
            <a:off x="3249463" y="1016798"/>
            <a:ext cx="8690418" cy="1665798"/>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
        <p:nvSpPr>
          <p:cNvPr id="3" name="Text Placeholder 2"/>
          <p:cNvSpPr>
            <a:spLocks noGrp="1"/>
          </p:cNvSpPr>
          <p:nvPr>
            <p:ph type="body" sz="quarter" idx="10" hasCustomPrompt="1"/>
          </p:nvPr>
        </p:nvSpPr>
        <p:spPr>
          <a:xfrm>
            <a:off x="488675" y="1016799"/>
            <a:ext cx="2597411" cy="1666597"/>
          </a:xfrm>
          <a:solidFill>
            <a:schemeClr val="accent1"/>
          </a:solidFill>
        </p:spPr>
        <p:txBody>
          <a:bodyPr lIns="91440" rIns="0" bIns="91440" anchor="b">
            <a:noAutofit/>
          </a:bodyPr>
          <a:lstStyle>
            <a:lvl1pPr marL="0" indent="0">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rganizational Objective</a:t>
            </a:r>
          </a:p>
        </p:txBody>
      </p:sp>
      <p:sp>
        <p:nvSpPr>
          <p:cNvPr id="16" name="Text Placeholder 2"/>
          <p:cNvSpPr>
            <a:spLocks noGrp="1"/>
          </p:cNvSpPr>
          <p:nvPr>
            <p:ph type="body" sz="quarter" idx="11" hasCustomPrompt="1"/>
          </p:nvPr>
        </p:nvSpPr>
        <p:spPr>
          <a:xfrm>
            <a:off x="488675" y="2753554"/>
            <a:ext cx="2597411" cy="1666597"/>
          </a:xfrm>
          <a:solidFill>
            <a:schemeClr val="accent3"/>
          </a:solidFill>
        </p:spPr>
        <p:txBody>
          <a:bodyPr lIns="91440" rIns="0" bIns="91440" anchor="b">
            <a:noAutofit/>
          </a:bodyPr>
          <a:lstStyle>
            <a:lvl1pPr marL="0" indent="0">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trategic Objective</a:t>
            </a:r>
          </a:p>
        </p:txBody>
      </p:sp>
      <p:sp>
        <p:nvSpPr>
          <p:cNvPr id="17" name="Text Placeholder 2"/>
          <p:cNvSpPr>
            <a:spLocks noGrp="1"/>
          </p:cNvSpPr>
          <p:nvPr>
            <p:ph type="body" sz="quarter" idx="12" hasCustomPrompt="1"/>
          </p:nvPr>
        </p:nvSpPr>
        <p:spPr>
          <a:xfrm>
            <a:off x="488675" y="4488398"/>
            <a:ext cx="2597411" cy="1666597"/>
          </a:xfrm>
          <a:solidFill>
            <a:schemeClr val="accent4"/>
          </a:solidFill>
        </p:spPr>
        <p:txBody>
          <a:bodyPr lIns="91440" rIns="0" bIns="91440" anchor="b">
            <a:noAutofit/>
          </a:bodyPr>
          <a:lstStyle>
            <a:lvl1pPr marL="0" indent="0">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oject Objectives</a:t>
            </a:r>
          </a:p>
        </p:txBody>
      </p:sp>
      <p:sp>
        <p:nvSpPr>
          <p:cNvPr id="10"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pPr defTabSz="466197"/>
            <a:fld id="{CEC664EE-8BCE-F347-A425-E70116B723D9}" type="slidenum">
              <a:rPr lang="en-US" smtClean="0">
                <a:solidFill>
                  <a:prstClr val="black">
                    <a:tint val="75000"/>
                  </a:prstClr>
                </a:solidFill>
              </a:rPr>
              <a:pPr defTabSz="466197"/>
              <a:t>‹#›</a:t>
            </a:fld>
            <a:endParaRPr lang="en-US">
              <a:solidFill>
                <a:prstClr val="black">
                  <a:tint val="75000"/>
                </a:prstClr>
              </a:solidFill>
            </a:endParaRPr>
          </a:p>
        </p:txBody>
      </p:sp>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5"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19" name="Text Placeholder 17"/>
          <p:cNvSpPr>
            <a:spLocks noGrp="1"/>
          </p:cNvSpPr>
          <p:nvPr>
            <p:ph type="body" sz="quarter" idx="14"/>
          </p:nvPr>
        </p:nvSpPr>
        <p:spPr>
          <a:xfrm>
            <a:off x="3249463" y="2753556"/>
            <a:ext cx="8690418" cy="1666597"/>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
        <p:nvSpPr>
          <p:cNvPr id="20" name="Text Placeholder 17"/>
          <p:cNvSpPr>
            <a:spLocks noGrp="1"/>
          </p:cNvSpPr>
          <p:nvPr>
            <p:ph type="body" sz="quarter" idx="15"/>
          </p:nvPr>
        </p:nvSpPr>
        <p:spPr>
          <a:xfrm>
            <a:off x="3249463" y="4488399"/>
            <a:ext cx="8690418" cy="1666597"/>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Tree>
    <p:extLst>
      <p:ext uri="{BB962C8B-B14F-4D97-AF65-F5344CB8AC3E}">
        <p14:creationId xmlns:p14="http://schemas.microsoft.com/office/powerpoint/2010/main" val="119184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Goals and Objectives">
    <p:spTree>
      <p:nvGrpSpPr>
        <p:cNvPr id="1" name=""/>
        <p:cNvGrpSpPr/>
        <p:nvPr/>
      </p:nvGrpSpPr>
      <p:grpSpPr>
        <a:xfrm>
          <a:off x="0" y="0"/>
          <a:ext cx="0" cy="0"/>
          <a:chOff x="0" y="0"/>
          <a:chExt cx="0" cy="0"/>
        </a:xfrm>
      </p:grpSpPr>
      <p:sp>
        <p:nvSpPr>
          <p:cNvPr id="18" name="Text Placeholder 17"/>
          <p:cNvSpPr>
            <a:spLocks noGrp="1"/>
          </p:cNvSpPr>
          <p:nvPr>
            <p:ph type="body" sz="quarter" idx="13"/>
          </p:nvPr>
        </p:nvSpPr>
        <p:spPr>
          <a:xfrm>
            <a:off x="3249463" y="1016798"/>
            <a:ext cx="8690418" cy="1665798"/>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
        <p:nvSpPr>
          <p:cNvPr id="3" name="Text Placeholder 2"/>
          <p:cNvSpPr>
            <a:spLocks noGrp="1"/>
          </p:cNvSpPr>
          <p:nvPr>
            <p:ph type="body" sz="quarter" idx="10" hasCustomPrompt="1"/>
          </p:nvPr>
        </p:nvSpPr>
        <p:spPr>
          <a:xfrm>
            <a:off x="520292" y="1016799"/>
            <a:ext cx="2597411" cy="1666597"/>
          </a:xfrm>
          <a:solidFill>
            <a:schemeClr val="bg2"/>
          </a:solidFill>
        </p:spPr>
        <p:txBody>
          <a:bodyPr lIns="91440" tIns="91440" rIns="0" bIns="91440" anchor="t">
            <a:noAutofit/>
          </a:bodyPr>
          <a:lstStyle>
            <a:lvl1pPr marL="0" indent="0">
              <a:defRPr>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rganizational Objective</a:t>
            </a:r>
          </a:p>
        </p:txBody>
      </p:sp>
      <p:sp>
        <p:nvSpPr>
          <p:cNvPr id="16" name="Text Placeholder 2"/>
          <p:cNvSpPr>
            <a:spLocks noGrp="1"/>
          </p:cNvSpPr>
          <p:nvPr>
            <p:ph type="body" sz="quarter" idx="11" hasCustomPrompt="1"/>
          </p:nvPr>
        </p:nvSpPr>
        <p:spPr>
          <a:xfrm>
            <a:off x="520292" y="2753554"/>
            <a:ext cx="2597411" cy="1666597"/>
          </a:xfrm>
          <a:solidFill>
            <a:schemeClr val="bg2"/>
          </a:solidFill>
        </p:spPr>
        <p:txBody>
          <a:bodyPr lIns="91440" tIns="91440" rIns="0" bIns="91440" anchor="t">
            <a:noAutofit/>
          </a:bodyPr>
          <a:lstStyle>
            <a:lvl1pPr marL="0" indent="0">
              <a:defRPr>
                <a:solidFill>
                  <a:schemeClr val="accent3"/>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trategic Objective</a:t>
            </a:r>
          </a:p>
        </p:txBody>
      </p:sp>
      <p:sp>
        <p:nvSpPr>
          <p:cNvPr id="17" name="Text Placeholder 2"/>
          <p:cNvSpPr>
            <a:spLocks noGrp="1"/>
          </p:cNvSpPr>
          <p:nvPr>
            <p:ph type="body" sz="quarter" idx="12" hasCustomPrompt="1"/>
          </p:nvPr>
        </p:nvSpPr>
        <p:spPr>
          <a:xfrm>
            <a:off x="520292" y="4488398"/>
            <a:ext cx="2597411" cy="1666597"/>
          </a:xfrm>
          <a:solidFill>
            <a:schemeClr val="bg2"/>
          </a:solidFill>
        </p:spPr>
        <p:txBody>
          <a:bodyPr lIns="91440" tIns="91440" rIns="0" bIns="91440" anchor="t">
            <a:noAutofit/>
          </a:bodyPr>
          <a:lstStyle>
            <a:lvl1pPr marL="0" indent="0">
              <a:defRPr>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oject Objectives</a:t>
            </a:r>
          </a:p>
        </p:txBody>
      </p:sp>
      <p:sp>
        <p:nvSpPr>
          <p:cNvPr id="10"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5"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19" name="Text Placeholder 17"/>
          <p:cNvSpPr>
            <a:spLocks noGrp="1"/>
          </p:cNvSpPr>
          <p:nvPr>
            <p:ph type="body" sz="quarter" idx="14"/>
          </p:nvPr>
        </p:nvSpPr>
        <p:spPr>
          <a:xfrm>
            <a:off x="3249463" y="2753556"/>
            <a:ext cx="8690418" cy="1666597"/>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
        <p:nvSpPr>
          <p:cNvPr id="20" name="Text Placeholder 17"/>
          <p:cNvSpPr>
            <a:spLocks noGrp="1"/>
          </p:cNvSpPr>
          <p:nvPr>
            <p:ph type="body" sz="quarter" idx="15"/>
          </p:nvPr>
        </p:nvSpPr>
        <p:spPr>
          <a:xfrm>
            <a:off x="3249463" y="4488399"/>
            <a:ext cx="8690418" cy="1666597"/>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Tree>
    <p:extLst>
      <p:ext uri="{BB962C8B-B14F-4D97-AF65-F5344CB8AC3E}">
        <p14:creationId xmlns:p14="http://schemas.microsoft.com/office/powerpoint/2010/main" val="28730220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roject purpose and methodology">
    <p:spTree>
      <p:nvGrpSpPr>
        <p:cNvPr id="1" name=""/>
        <p:cNvGrpSpPr/>
        <p:nvPr/>
      </p:nvGrpSpPr>
      <p:grpSpPr>
        <a:xfrm>
          <a:off x="0" y="0"/>
          <a:ext cx="0" cy="0"/>
          <a:chOff x="0" y="0"/>
          <a:chExt cx="0" cy="0"/>
        </a:xfrm>
      </p:grpSpPr>
      <p:sp>
        <p:nvSpPr>
          <p:cNvPr id="18" name="Text Placeholder 17"/>
          <p:cNvSpPr>
            <a:spLocks noGrp="1"/>
          </p:cNvSpPr>
          <p:nvPr>
            <p:ph type="body" sz="quarter" idx="13"/>
          </p:nvPr>
        </p:nvSpPr>
        <p:spPr>
          <a:xfrm>
            <a:off x="3249463" y="1016798"/>
            <a:ext cx="8690418" cy="1665798"/>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
        <p:nvSpPr>
          <p:cNvPr id="3" name="Text Placeholder 2"/>
          <p:cNvSpPr>
            <a:spLocks noGrp="1"/>
          </p:cNvSpPr>
          <p:nvPr>
            <p:ph type="body" sz="quarter" idx="10" hasCustomPrompt="1"/>
          </p:nvPr>
        </p:nvSpPr>
        <p:spPr>
          <a:xfrm>
            <a:off x="488675" y="1016799"/>
            <a:ext cx="2597411" cy="1666597"/>
          </a:xfrm>
          <a:solidFill>
            <a:schemeClr val="bg2"/>
          </a:solidFill>
          <a:ln>
            <a:solidFill>
              <a:schemeClr val="bg1">
                <a:lumMod val="85000"/>
              </a:schemeClr>
            </a:solidFill>
          </a:ln>
        </p:spPr>
        <p:txBody>
          <a:bodyPr lIns="91440" tIns="91440" rIns="0" bIns="91440" anchor="t">
            <a:noAutofit/>
          </a:bodyPr>
          <a:lstStyle>
            <a:lvl1pPr marL="0" indent="0">
              <a:defRPr>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ethodology</a:t>
            </a:r>
          </a:p>
        </p:txBody>
      </p:sp>
      <p:sp>
        <p:nvSpPr>
          <p:cNvPr id="16" name="Text Placeholder 2"/>
          <p:cNvSpPr>
            <a:spLocks noGrp="1"/>
          </p:cNvSpPr>
          <p:nvPr>
            <p:ph type="body" sz="quarter" idx="11" hasCustomPrompt="1"/>
          </p:nvPr>
        </p:nvSpPr>
        <p:spPr>
          <a:xfrm>
            <a:off x="488675" y="2753554"/>
            <a:ext cx="2597411" cy="1666597"/>
          </a:xfrm>
          <a:solidFill>
            <a:schemeClr val="bg2"/>
          </a:solidFill>
          <a:ln>
            <a:solidFill>
              <a:schemeClr val="bg1">
                <a:lumMod val="85000"/>
              </a:schemeClr>
            </a:solidFill>
          </a:ln>
        </p:spPr>
        <p:txBody>
          <a:bodyPr lIns="91440" tIns="91440" rIns="0" bIns="91440" anchor="t">
            <a:noAutofit/>
          </a:bodyPr>
          <a:lstStyle>
            <a:lvl1pPr marL="0" indent="0">
              <a:defRPr>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mpetitors profiled</a:t>
            </a:r>
          </a:p>
        </p:txBody>
      </p:sp>
      <p:sp>
        <p:nvSpPr>
          <p:cNvPr id="17" name="Text Placeholder 2"/>
          <p:cNvSpPr>
            <a:spLocks noGrp="1"/>
          </p:cNvSpPr>
          <p:nvPr>
            <p:ph type="body" sz="quarter" idx="12" hasCustomPrompt="1"/>
          </p:nvPr>
        </p:nvSpPr>
        <p:spPr>
          <a:xfrm>
            <a:off x="488675" y="4488398"/>
            <a:ext cx="2597411" cy="1666597"/>
          </a:xfrm>
          <a:solidFill>
            <a:schemeClr val="bg2"/>
          </a:solidFill>
          <a:ln>
            <a:solidFill>
              <a:schemeClr val="bg1">
                <a:lumMod val="85000"/>
              </a:schemeClr>
            </a:solidFill>
          </a:ln>
        </p:spPr>
        <p:txBody>
          <a:bodyPr lIns="91440" tIns="91440" rIns="0" bIns="91440" anchor="t">
            <a:noAutofit/>
          </a:bodyPr>
          <a:lstStyle>
            <a:lvl1pPr marL="0" indent="0">
              <a:defRPr>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ources</a:t>
            </a:r>
          </a:p>
        </p:txBody>
      </p:sp>
      <p:sp>
        <p:nvSpPr>
          <p:cNvPr id="10"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5"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19" name="Text Placeholder 17"/>
          <p:cNvSpPr>
            <a:spLocks noGrp="1"/>
          </p:cNvSpPr>
          <p:nvPr>
            <p:ph type="body" sz="quarter" idx="14"/>
          </p:nvPr>
        </p:nvSpPr>
        <p:spPr>
          <a:xfrm>
            <a:off x="3249463" y="2753556"/>
            <a:ext cx="8690418" cy="1666597"/>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
        <p:nvSpPr>
          <p:cNvPr id="20" name="Text Placeholder 17"/>
          <p:cNvSpPr>
            <a:spLocks noGrp="1"/>
          </p:cNvSpPr>
          <p:nvPr>
            <p:ph type="body" sz="quarter" idx="15"/>
          </p:nvPr>
        </p:nvSpPr>
        <p:spPr>
          <a:xfrm>
            <a:off x="3249463" y="4488399"/>
            <a:ext cx="8690418" cy="1666597"/>
          </a:xfrm>
        </p:spPr>
        <p:txBody>
          <a:bodyPr>
            <a:noAutofit/>
          </a:bodyPr>
          <a:lstStyle>
            <a:lvl1pPr>
              <a:defRPr sz="1632">
                <a:solidFill>
                  <a:schemeClr val="tx1"/>
                </a:solidFill>
                <a:latin typeface="Calibri Light" panose="020F0302020204030204" pitchFamily="34" charset="0"/>
                <a:cs typeface="Calibri Light" panose="020F0302020204030204" pitchFamily="34" charset="0"/>
              </a:defRPr>
            </a:lvl1pPr>
            <a:lvl2pPr>
              <a:defRPr sz="1632">
                <a:latin typeface="Trebuchet MS" panose="020B0603020202020204" pitchFamily="34" charset="0"/>
              </a:defRPr>
            </a:lvl2pPr>
            <a:lvl3pPr>
              <a:defRPr sz="1632">
                <a:latin typeface="Trebuchet MS" panose="020B0603020202020204" pitchFamily="34" charset="0"/>
              </a:defRPr>
            </a:lvl3pPr>
            <a:lvl4pPr>
              <a:defRPr sz="1632">
                <a:latin typeface="Trebuchet MS" panose="020B0603020202020204" pitchFamily="34" charset="0"/>
              </a:defRPr>
            </a:lvl4pPr>
            <a:lvl5pPr>
              <a:defRPr sz="1632">
                <a:latin typeface="Trebuchet MS" panose="020B0603020202020204" pitchFamily="34" charset="0"/>
              </a:defRPr>
            </a:lvl5pPr>
          </a:lstStyle>
          <a:p>
            <a:pPr lvl="0"/>
            <a:r>
              <a:rPr lang="en-US"/>
              <a:t>Click to edit Master text styles</a:t>
            </a:r>
          </a:p>
        </p:txBody>
      </p:sp>
    </p:spTree>
    <p:extLst>
      <p:ext uri="{BB962C8B-B14F-4D97-AF65-F5344CB8AC3E}">
        <p14:creationId xmlns:p14="http://schemas.microsoft.com/office/powerpoint/2010/main" val="14476414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Key findings and recommendations 1">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520291" y="1016798"/>
            <a:ext cx="1720866" cy="2566665"/>
          </a:xfrm>
          <a:solidFill>
            <a:schemeClr val="accent1"/>
          </a:solidFill>
        </p:spPr>
        <p:txBody>
          <a:bodyPr lIns="91440" tIns="91440" rIns="0" bIns="91440" anchor="t">
            <a:noAutofit/>
          </a:bodyPr>
          <a:lstStyle>
            <a:lvl1pPr marL="0" indent="0">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opic </a:t>
            </a:r>
            <a:br>
              <a:rPr lang="en-US"/>
            </a:br>
            <a:r>
              <a:rPr lang="en-US"/>
              <a:t>here</a:t>
            </a:r>
          </a:p>
        </p:txBody>
      </p:sp>
      <p:sp>
        <p:nvSpPr>
          <p:cNvPr id="16" name="Text Placeholder 2"/>
          <p:cNvSpPr>
            <a:spLocks noGrp="1"/>
          </p:cNvSpPr>
          <p:nvPr>
            <p:ph type="body" sz="quarter" idx="11" hasCustomPrompt="1"/>
          </p:nvPr>
        </p:nvSpPr>
        <p:spPr>
          <a:xfrm>
            <a:off x="520291" y="3728410"/>
            <a:ext cx="1720866" cy="2566665"/>
          </a:xfrm>
          <a:solidFill>
            <a:schemeClr val="accent1"/>
          </a:solidFill>
        </p:spPr>
        <p:txBody>
          <a:bodyPr lIns="91440" tIns="91440" rIns="0" bIns="91440" anchor="t">
            <a:noAutofit/>
          </a:bodyPr>
          <a:lstStyle>
            <a:lvl1pPr marL="0" indent="0">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opic </a:t>
            </a:r>
            <a:br>
              <a:rPr lang="en-US"/>
            </a:br>
            <a:r>
              <a:rPr lang="en-US"/>
              <a:t>here</a:t>
            </a:r>
          </a:p>
        </p:txBody>
      </p:sp>
      <p:sp>
        <p:nvSpPr>
          <p:cNvPr id="10"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5"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4" name="Text Placeholder 3"/>
          <p:cNvSpPr>
            <a:spLocks noGrp="1"/>
          </p:cNvSpPr>
          <p:nvPr>
            <p:ph type="body" sz="quarter" idx="12" hasCustomPrompt="1"/>
          </p:nvPr>
        </p:nvSpPr>
        <p:spPr>
          <a:xfrm>
            <a:off x="2331839" y="1010322"/>
            <a:ext cx="4741406" cy="2573295"/>
          </a:xfrm>
          <a:solidFill>
            <a:schemeClr val="bg2"/>
          </a:solidFill>
          <a:ln>
            <a:solidFill>
              <a:schemeClr val="bg2">
                <a:lumMod val="90000"/>
              </a:schemeClr>
            </a:solidFill>
          </a:ln>
        </p:spPr>
        <p:txBody>
          <a:bodyPr lIns="91440" tIns="91440" rIns="91440" bIns="91440">
            <a:noAutofit/>
          </a:bodyPr>
          <a:lstStyle>
            <a:lvl1pPr>
              <a:defRPr>
                <a:solidFill>
                  <a:schemeClr val="accent1"/>
                </a:solidFill>
              </a:defRPr>
            </a:lvl1pPr>
            <a:lvl2pPr marL="233098" indent="-233098">
              <a:buFont typeface="Arial" panose="020B0604020202020204" pitchFamily="34" charset="0"/>
              <a:buChar char="•"/>
              <a:defRPr sz="1632"/>
            </a:lvl2pPr>
            <a:lvl3pPr marL="233098" indent="-233098">
              <a:buFont typeface="Arial" panose="020B0604020202020204" pitchFamily="34" charset="0"/>
              <a:buChar char="•"/>
              <a:defRPr sz="1632"/>
            </a:lvl3pPr>
            <a:lvl4pPr marL="233098" indent="-233098">
              <a:buFont typeface="Arial" panose="020B0604020202020204" pitchFamily="34" charset="0"/>
              <a:buChar char="•"/>
              <a:defRPr sz="1632"/>
            </a:lvl4pPr>
            <a:lvl5pPr marL="233098" indent="-233098">
              <a:buFont typeface="Arial" panose="020B0604020202020204" pitchFamily="34" charset="0"/>
              <a:buChar char="•"/>
              <a:defRPr sz="1632"/>
            </a:lvl5pPr>
          </a:lstStyle>
          <a:p>
            <a:pPr lvl="0"/>
            <a:r>
              <a:rPr lang="en-US"/>
              <a:t>Finding</a:t>
            </a:r>
          </a:p>
        </p:txBody>
      </p:sp>
      <p:sp>
        <p:nvSpPr>
          <p:cNvPr id="37" name="Text Placeholder 3"/>
          <p:cNvSpPr>
            <a:spLocks noGrp="1"/>
          </p:cNvSpPr>
          <p:nvPr>
            <p:ph type="body" sz="quarter" idx="13" hasCustomPrompt="1"/>
          </p:nvPr>
        </p:nvSpPr>
        <p:spPr>
          <a:xfrm>
            <a:off x="7163930" y="1010322"/>
            <a:ext cx="4784587" cy="2573295"/>
          </a:xfrm>
          <a:solidFill>
            <a:schemeClr val="bg2"/>
          </a:solidFill>
          <a:ln>
            <a:solidFill>
              <a:schemeClr val="bg2">
                <a:lumMod val="90000"/>
              </a:schemeClr>
            </a:solidFill>
          </a:ln>
        </p:spPr>
        <p:txBody>
          <a:bodyPr lIns="91440" tIns="91440" rIns="91440" bIns="91440">
            <a:noAutofit/>
          </a:bodyPr>
          <a:lstStyle>
            <a:lvl1pPr>
              <a:defRPr>
                <a:solidFill>
                  <a:schemeClr val="accent1"/>
                </a:solidFill>
              </a:defRPr>
            </a:lvl1pPr>
            <a:lvl2pPr marL="233098" indent="-233098">
              <a:buFont typeface="Arial" panose="020B0604020202020204" pitchFamily="34" charset="0"/>
              <a:buChar char="•"/>
              <a:defRPr sz="1632"/>
            </a:lvl2pPr>
            <a:lvl3pPr marL="233098" indent="-233098">
              <a:buFont typeface="Arial" panose="020B0604020202020204" pitchFamily="34" charset="0"/>
              <a:buChar char="•"/>
              <a:defRPr sz="1632"/>
            </a:lvl3pPr>
            <a:lvl4pPr marL="233098" indent="-233098">
              <a:buFont typeface="Arial" panose="020B0604020202020204" pitchFamily="34" charset="0"/>
              <a:buChar char="•"/>
              <a:defRPr sz="1632"/>
            </a:lvl4pPr>
            <a:lvl5pPr marL="233098" indent="-233098">
              <a:buFont typeface="Arial" panose="020B0604020202020204" pitchFamily="34" charset="0"/>
              <a:buChar char="•"/>
              <a:defRPr sz="1632"/>
            </a:lvl5pPr>
          </a:lstStyle>
          <a:p>
            <a:pPr lvl="0"/>
            <a:r>
              <a:rPr lang="en-US"/>
              <a:t>Recommendation</a:t>
            </a:r>
          </a:p>
        </p:txBody>
      </p:sp>
      <p:sp>
        <p:nvSpPr>
          <p:cNvPr id="40" name="Text Placeholder 3"/>
          <p:cNvSpPr>
            <a:spLocks noGrp="1"/>
          </p:cNvSpPr>
          <p:nvPr>
            <p:ph type="body" sz="quarter" idx="14" hasCustomPrompt="1"/>
          </p:nvPr>
        </p:nvSpPr>
        <p:spPr>
          <a:xfrm>
            <a:off x="2331839" y="3717462"/>
            <a:ext cx="4741406" cy="2573295"/>
          </a:xfrm>
          <a:solidFill>
            <a:schemeClr val="bg2"/>
          </a:solidFill>
          <a:ln>
            <a:solidFill>
              <a:schemeClr val="bg2">
                <a:lumMod val="90000"/>
              </a:schemeClr>
            </a:solidFill>
          </a:ln>
        </p:spPr>
        <p:txBody>
          <a:bodyPr lIns="91440" tIns="91440" rIns="91440" bIns="91440">
            <a:noAutofit/>
          </a:bodyPr>
          <a:lstStyle>
            <a:lvl1pPr>
              <a:defRPr>
                <a:solidFill>
                  <a:schemeClr val="accent1"/>
                </a:solidFill>
              </a:defRPr>
            </a:lvl1pPr>
            <a:lvl2pPr marL="233098" indent="-233098">
              <a:buFont typeface="Arial" panose="020B0604020202020204" pitchFamily="34" charset="0"/>
              <a:buChar char="•"/>
              <a:defRPr sz="1632"/>
            </a:lvl2pPr>
            <a:lvl3pPr marL="233098" indent="-233098">
              <a:buFont typeface="Arial" panose="020B0604020202020204" pitchFamily="34" charset="0"/>
              <a:buChar char="•"/>
              <a:defRPr sz="1632"/>
            </a:lvl3pPr>
            <a:lvl4pPr marL="233098" indent="-233098">
              <a:buFont typeface="Arial" panose="020B0604020202020204" pitchFamily="34" charset="0"/>
              <a:buChar char="•"/>
              <a:defRPr sz="1632"/>
            </a:lvl4pPr>
            <a:lvl5pPr marL="233098" indent="-233098">
              <a:buFont typeface="Arial" panose="020B0604020202020204" pitchFamily="34" charset="0"/>
              <a:buChar char="•"/>
              <a:defRPr sz="1632"/>
            </a:lvl5pPr>
          </a:lstStyle>
          <a:p>
            <a:pPr lvl="0"/>
            <a:r>
              <a:rPr lang="en-US"/>
              <a:t>Finding</a:t>
            </a:r>
          </a:p>
        </p:txBody>
      </p:sp>
      <p:sp>
        <p:nvSpPr>
          <p:cNvPr id="41" name="Text Placeholder 3"/>
          <p:cNvSpPr>
            <a:spLocks noGrp="1"/>
          </p:cNvSpPr>
          <p:nvPr>
            <p:ph type="body" sz="quarter" idx="15" hasCustomPrompt="1"/>
          </p:nvPr>
        </p:nvSpPr>
        <p:spPr>
          <a:xfrm>
            <a:off x="7163930" y="3717462"/>
            <a:ext cx="4784587" cy="2573295"/>
          </a:xfrm>
          <a:solidFill>
            <a:schemeClr val="bg2"/>
          </a:solidFill>
          <a:ln>
            <a:solidFill>
              <a:schemeClr val="bg2">
                <a:lumMod val="90000"/>
              </a:schemeClr>
            </a:solidFill>
          </a:ln>
        </p:spPr>
        <p:txBody>
          <a:bodyPr lIns="91440" tIns="91440" rIns="91440" bIns="91440">
            <a:noAutofit/>
          </a:bodyPr>
          <a:lstStyle>
            <a:lvl1pPr>
              <a:defRPr>
                <a:solidFill>
                  <a:schemeClr val="accent1"/>
                </a:solidFill>
              </a:defRPr>
            </a:lvl1pPr>
            <a:lvl2pPr marL="233098" indent="-233098">
              <a:buFont typeface="Arial" panose="020B0604020202020204" pitchFamily="34" charset="0"/>
              <a:buChar char="•"/>
              <a:defRPr sz="1632"/>
            </a:lvl2pPr>
            <a:lvl3pPr marL="233098" indent="-233098">
              <a:buFont typeface="Arial" panose="020B0604020202020204" pitchFamily="34" charset="0"/>
              <a:buChar char="•"/>
              <a:defRPr sz="1632"/>
            </a:lvl3pPr>
            <a:lvl4pPr marL="233098" indent="-233098">
              <a:buFont typeface="Arial" panose="020B0604020202020204" pitchFamily="34" charset="0"/>
              <a:buChar char="•"/>
              <a:defRPr sz="1632"/>
            </a:lvl4pPr>
            <a:lvl5pPr marL="233098" indent="-233098">
              <a:buFont typeface="Arial" panose="020B0604020202020204" pitchFamily="34" charset="0"/>
              <a:buChar char="•"/>
              <a:defRPr sz="1632"/>
            </a:lvl5pPr>
          </a:lstStyle>
          <a:p>
            <a:pPr lvl="0"/>
            <a:r>
              <a:rPr lang="en-US"/>
              <a:t>Recommendation</a:t>
            </a:r>
          </a:p>
        </p:txBody>
      </p:sp>
      <p:sp>
        <p:nvSpPr>
          <p:cNvPr id="11" name="Text Placeholder 10"/>
          <p:cNvSpPr>
            <a:spLocks noGrp="1"/>
          </p:cNvSpPr>
          <p:nvPr>
            <p:ph type="body" sz="quarter" idx="17"/>
          </p:nvPr>
        </p:nvSpPr>
        <p:spPr>
          <a:xfrm>
            <a:off x="2487295" y="1657962"/>
            <a:ext cx="4585950" cy="1925500"/>
          </a:xfrm>
        </p:spPr>
        <p:txBody>
          <a:bodyPr>
            <a:noAutofit/>
          </a:bodyPr>
          <a:lstStyle>
            <a:lvl1pPr marL="233098" indent="-233098">
              <a:buFont typeface="Arial" panose="020B0604020202020204" pitchFamily="34" charset="0"/>
              <a:buChar char="•"/>
              <a:defRPr sz="1632" u="none" baseline="0">
                <a:solidFill>
                  <a:schemeClr val="tx1"/>
                </a:solidFill>
                <a:latin typeface="Calibri Light" panose="020F0302020204030204" pitchFamily="34" charset="0"/>
                <a:cs typeface="Calibri Light" panose="020F0302020204030204" pitchFamily="34" charset="0"/>
              </a:defRPr>
            </a:lvl1pPr>
            <a:lvl2pPr marL="699295" indent="-233098">
              <a:buFont typeface="Arial" panose="020B0604020202020204" pitchFamily="34" charset="0"/>
              <a:buChar char="•"/>
              <a:defRPr sz="1632">
                <a:latin typeface="Trebuchet MS" panose="020B0603020202020204" pitchFamily="34" charset="0"/>
              </a:defRPr>
            </a:lvl2pPr>
            <a:lvl3pPr marL="1165492" indent="-233098">
              <a:buFont typeface="Arial" panose="020B0604020202020204" pitchFamily="34" charset="0"/>
              <a:buChar char="•"/>
              <a:defRPr sz="1632">
                <a:latin typeface="Trebuchet MS" panose="020B0603020202020204" pitchFamily="34" charset="0"/>
              </a:defRPr>
            </a:lvl3pPr>
            <a:lvl4pPr marL="1631690" indent="-233098">
              <a:buFont typeface="Arial" panose="020B0604020202020204" pitchFamily="34" charset="0"/>
              <a:buChar char="•"/>
              <a:defRPr sz="1632">
                <a:latin typeface="Trebuchet MS" panose="020B0603020202020204" pitchFamily="34" charset="0"/>
              </a:defRPr>
            </a:lvl4pPr>
            <a:lvl5pPr marL="2097887" indent="-233098">
              <a:buFont typeface="Arial" panose="020B0604020202020204" pitchFamily="34" charset="0"/>
              <a:buChar char="•"/>
              <a:defRPr sz="1632">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2" name="Text Placeholder 10"/>
          <p:cNvSpPr>
            <a:spLocks noGrp="1"/>
          </p:cNvSpPr>
          <p:nvPr>
            <p:ph type="body" sz="quarter" idx="18"/>
          </p:nvPr>
        </p:nvSpPr>
        <p:spPr>
          <a:xfrm>
            <a:off x="7358248" y="1657962"/>
            <a:ext cx="4585950" cy="1925500"/>
          </a:xfrm>
        </p:spPr>
        <p:txBody>
          <a:bodyPr>
            <a:noAutofit/>
          </a:bodyPr>
          <a:lstStyle>
            <a:lvl1pPr marL="233098" indent="-233098">
              <a:buFont typeface="Arial" panose="020B0604020202020204" pitchFamily="34" charset="0"/>
              <a:buChar char="•"/>
              <a:defRPr sz="1632" u="none" baseline="0">
                <a:solidFill>
                  <a:schemeClr val="tx1"/>
                </a:solidFill>
                <a:latin typeface="Calibri Light" panose="020F0302020204030204" pitchFamily="34" charset="0"/>
                <a:cs typeface="Calibri Light" panose="020F0302020204030204" pitchFamily="34" charset="0"/>
              </a:defRPr>
            </a:lvl1pPr>
            <a:lvl2pPr marL="699295" indent="-233098">
              <a:buFont typeface="Arial" panose="020B0604020202020204" pitchFamily="34" charset="0"/>
              <a:buChar char="•"/>
              <a:defRPr sz="1632">
                <a:latin typeface="Trebuchet MS" panose="020B0603020202020204" pitchFamily="34" charset="0"/>
              </a:defRPr>
            </a:lvl2pPr>
            <a:lvl3pPr marL="1165492" indent="-233098">
              <a:buFont typeface="Arial" panose="020B0604020202020204" pitchFamily="34" charset="0"/>
              <a:buChar char="•"/>
              <a:defRPr sz="1632">
                <a:latin typeface="Trebuchet MS" panose="020B0603020202020204" pitchFamily="34" charset="0"/>
              </a:defRPr>
            </a:lvl3pPr>
            <a:lvl4pPr marL="1631690" indent="-233098">
              <a:buFont typeface="Arial" panose="020B0604020202020204" pitchFamily="34" charset="0"/>
              <a:buChar char="•"/>
              <a:defRPr sz="1632">
                <a:latin typeface="Trebuchet MS" panose="020B0603020202020204" pitchFamily="34" charset="0"/>
              </a:defRPr>
            </a:lvl4pPr>
            <a:lvl5pPr marL="2097887" indent="-233098">
              <a:buFont typeface="Arial" panose="020B0604020202020204" pitchFamily="34" charset="0"/>
              <a:buChar char="•"/>
              <a:defRPr sz="1632">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3" name="Text Placeholder 10"/>
          <p:cNvSpPr>
            <a:spLocks noGrp="1"/>
          </p:cNvSpPr>
          <p:nvPr>
            <p:ph type="body" sz="quarter" idx="19"/>
          </p:nvPr>
        </p:nvSpPr>
        <p:spPr>
          <a:xfrm>
            <a:off x="2487295" y="4365255"/>
            <a:ext cx="4585950" cy="1925500"/>
          </a:xfrm>
        </p:spPr>
        <p:txBody>
          <a:bodyPr>
            <a:noAutofit/>
          </a:bodyPr>
          <a:lstStyle>
            <a:lvl1pPr marL="233098" indent="-233098">
              <a:buFont typeface="Arial" panose="020B0604020202020204" pitchFamily="34" charset="0"/>
              <a:buChar char="•"/>
              <a:defRPr sz="1632" u="none" baseline="0">
                <a:solidFill>
                  <a:schemeClr val="tx1"/>
                </a:solidFill>
                <a:latin typeface="Calibri Light" panose="020F0302020204030204" pitchFamily="34" charset="0"/>
                <a:cs typeface="Calibri Light" panose="020F0302020204030204" pitchFamily="34" charset="0"/>
              </a:defRPr>
            </a:lvl1pPr>
            <a:lvl2pPr marL="699295" indent="-233098">
              <a:buFont typeface="Arial" panose="020B0604020202020204" pitchFamily="34" charset="0"/>
              <a:buChar char="•"/>
              <a:defRPr sz="1632">
                <a:latin typeface="Trebuchet MS" panose="020B0603020202020204" pitchFamily="34" charset="0"/>
              </a:defRPr>
            </a:lvl2pPr>
            <a:lvl3pPr marL="1165492" indent="-233098">
              <a:buFont typeface="Arial" panose="020B0604020202020204" pitchFamily="34" charset="0"/>
              <a:buChar char="•"/>
              <a:defRPr sz="1632">
                <a:latin typeface="Trebuchet MS" panose="020B0603020202020204" pitchFamily="34" charset="0"/>
              </a:defRPr>
            </a:lvl3pPr>
            <a:lvl4pPr marL="1631690" indent="-233098">
              <a:buFont typeface="Arial" panose="020B0604020202020204" pitchFamily="34" charset="0"/>
              <a:buChar char="•"/>
              <a:defRPr sz="1632">
                <a:latin typeface="Trebuchet MS" panose="020B0603020202020204" pitchFamily="34" charset="0"/>
              </a:defRPr>
            </a:lvl4pPr>
            <a:lvl5pPr marL="2097887" indent="-233098">
              <a:buFont typeface="Arial" panose="020B0604020202020204" pitchFamily="34" charset="0"/>
              <a:buChar char="•"/>
              <a:defRPr sz="1632">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4" name="Text Placeholder 10"/>
          <p:cNvSpPr>
            <a:spLocks noGrp="1"/>
          </p:cNvSpPr>
          <p:nvPr>
            <p:ph type="body" sz="quarter" idx="20"/>
          </p:nvPr>
        </p:nvSpPr>
        <p:spPr>
          <a:xfrm>
            <a:off x="7358248" y="4365255"/>
            <a:ext cx="4585950" cy="1925500"/>
          </a:xfrm>
        </p:spPr>
        <p:txBody>
          <a:bodyPr>
            <a:noAutofit/>
          </a:bodyPr>
          <a:lstStyle>
            <a:lvl1pPr marL="233098" indent="-233098">
              <a:buFont typeface="Arial" panose="020B0604020202020204" pitchFamily="34" charset="0"/>
              <a:buChar char="•"/>
              <a:defRPr sz="1632" u="none" baseline="0">
                <a:solidFill>
                  <a:schemeClr val="tx1"/>
                </a:solidFill>
                <a:latin typeface="Calibri Light" panose="020F0302020204030204" pitchFamily="34" charset="0"/>
                <a:cs typeface="Calibri Light" panose="020F0302020204030204" pitchFamily="34" charset="0"/>
              </a:defRPr>
            </a:lvl1pPr>
            <a:lvl2pPr marL="699295" indent="-233098">
              <a:buFont typeface="Arial" panose="020B0604020202020204" pitchFamily="34" charset="0"/>
              <a:buChar char="•"/>
              <a:defRPr sz="1632">
                <a:latin typeface="Trebuchet MS" panose="020B0603020202020204" pitchFamily="34" charset="0"/>
              </a:defRPr>
            </a:lvl2pPr>
            <a:lvl3pPr marL="1165492" indent="-233098">
              <a:buFont typeface="Arial" panose="020B0604020202020204" pitchFamily="34" charset="0"/>
              <a:buChar char="•"/>
              <a:defRPr sz="1632">
                <a:latin typeface="Trebuchet MS" panose="020B0603020202020204" pitchFamily="34" charset="0"/>
              </a:defRPr>
            </a:lvl3pPr>
            <a:lvl4pPr marL="1631690" indent="-233098">
              <a:buFont typeface="Arial" panose="020B0604020202020204" pitchFamily="34" charset="0"/>
              <a:buChar char="•"/>
              <a:defRPr sz="1632">
                <a:latin typeface="Trebuchet MS" panose="020B0603020202020204" pitchFamily="34" charset="0"/>
              </a:defRPr>
            </a:lvl4pPr>
            <a:lvl5pPr marL="2097887" indent="-233098">
              <a:buFont typeface="Arial" panose="020B0604020202020204" pitchFamily="34" charset="0"/>
              <a:buChar char="•"/>
              <a:defRPr sz="1632">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462111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Four section with icon - tinted layout">
    <p:spTree>
      <p:nvGrpSpPr>
        <p:cNvPr id="1" name=""/>
        <p:cNvGrpSpPr/>
        <p:nvPr/>
      </p:nvGrpSpPr>
      <p:grpSpPr>
        <a:xfrm>
          <a:off x="0" y="0"/>
          <a:ext cx="0" cy="0"/>
          <a:chOff x="0" y="0"/>
          <a:chExt cx="0" cy="0"/>
        </a:xfrm>
      </p:grpSpPr>
      <p:sp>
        <p:nvSpPr>
          <p:cNvPr id="2" name="Rectangle 1"/>
          <p:cNvSpPr/>
          <p:nvPr/>
        </p:nvSpPr>
        <p:spPr>
          <a:xfrm>
            <a:off x="487959" y="1024203"/>
            <a:ext cx="5677928" cy="2516847"/>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4" name="Text Placeholder 3"/>
          <p:cNvSpPr>
            <a:spLocks noGrp="1"/>
          </p:cNvSpPr>
          <p:nvPr>
            <p:ph type="body" sz="half" idx="2" hasCustomPrompt="1"/>
          </p:nvPr>
        </p:nvSpPr>
        <p:spPr>
          <a:xfrm>
            <a:off x="1673939" y="1115448"/>
            <a:ext cx="4491949" cy="295855"/>
          </a:xfrm>
        </p:spPr>
        <p:txBody>
          <a:bodyPr>
            <a:noAutofit/>
          </a:bodyPr>
          <a:lstStyle>
            <a:lvl1pPr marL="0" indent="0">
              <a:buNone/>
              <a:defRPr sz="2448">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sp>
        <p:nvSpPr>
          <p:cNvPr id="8" name="Picture Placeholder 7"/>
          <p:cNvSpPr>
            <a:spLocks noGrp="1"/>
          </p:cNvSpPr>
          <p:nvPr>
            <p:ph type="pic" sz="quarter" idx="13" hasCustomPrompt="1"/>
          </p:nvPr>
        </p:nvSpPr>
        <p:spPr>
          <a:xfrm>
            <a:off x="613900" y="1110050"/>
            <a:ext cx="928973" cy="1007853"/>
          </a:xfrm>
        </p:spPr>
        <p:txBody>
          <a:bodyPr/>
          <a:lstStyle>
            <a:lvl1pPr>
              <a:defRPr/>
            </a:lvl1pPr>
          </a:lstStyle>
          <a:p>
            <a:r>
              <a:rPr lang="en-US"/>
              <a:t>Icon</a:t>
            </a:r>
          </a:p>
        </p:txBody>
      </p:sp>
      <p:pic>
        <p:nvPicPr>
          <p:cNvPr id="25" name="Picture 2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5" name="Text Placeholder 4"/>
          <p:cNvSpPr>
            <a:spLocks noGrp="1"/>
          </p:cNvSpPr>
          <p:nvPr>
            <p:ph type="body" sz="quarter" idx="17"/>
          </p:nvPr>
        </p:nvSpPr>
        <p:spPr>
          <a:xfrm>
            <a:off x="1673312" y="1502529"/>
            <a:ext cx="4346288" cy="1876001"/>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Rectangle 28"/>
          <p:cNvSpPr/>
          <p:nvPr/>
        </p:nvSpPr>
        <p:spPr>
          <a:xfrm>
            <a:off x="487959" y="3614768"/>
            <a:ext cx="5677928" cy="2516847"/>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0" name="Text Placeholder 3"/>
          <p:cNvSpPr>
            <a:spLocks noGrp="1"/>
          </p:cNvSpPr>
          <p:nvPr>
            <p:ph type="body" sz="half" idx="18" hasCustomPrompt="1"/>
          </p:nvPr>
        </p:nvSpPr>
        <p:spPr>
          <a:xfrm>
            <a:off x="1673939" y="3706014"/>
            <a:ext cx="4491949" cy="295855"/>
          </a:xfrm>
        </p:spPr>
        <p:txBody>
          <a:bodyPr>
            <a:noAutofit/>
          </a:bodyPr>
          <a:lstStyle>
            <a:lvl1pPr marL="0" indent="0">
              <a:buNone/>
              <a:defRPr sz="2448">
                <a:solidFill>
                  <a:schemeClr val="accent2"/>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1" name="Picture Placeholder 7"/>
          <p:cNvSpPr>
            <a:spLocks noGrp="1"/>
          </p:cNvSpPr>
          <p:nvPr>
            <p:ph type="pic" sz="quarter" idx="19" hasCustomPrompt="1"/>
          </p:nvPr>
        </p:nvSpPr>
        <p:spPr>
          <a:xfrm>
            <a:off x="613900" y="3700615"/>
            <a:ext cx="928973" cy="1007853"/>
          </a:xfrm>
        </p:spPr>
        <p:txBody>
          <a:bodyPr/>
          <a:lstStyle>
            <a:lvl1pPr>
              <a:defRPr/>
            </a:lvl1pPr>
          </a:lstStyle>
          <a:p>
            <a:r>
              <a:rPr lang="en-US"/>
              <a:t>Icon</a:t>
            </a:r>
          </a:p>
        </p:txBody>
      </p:sp>
      <p:sp>
        <p:nvSpPr>
          <p:cNvPr id="32" name="Text Placeholder 4"/>
          <p:cNvSpPr>
            <a:spLocks noGrp="1"/>
          </p:cNvSpPr>
          <p:nvPr>
            <p:ph type="body" sz="quarter" idx="20"/>
          </p:nvPr>
        </p:nvSpPr>
        <p:spPr>
          <a:xfrm>
            <a:off x="1673312" y="4093094"/>
            <a:ext cx="4346288" cy="1876001"/>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Rectangle 32"/>
          <p:cNvSpPr/>
          <p:nvPr/>
        </p:nvSpPr>
        <p:spPr>
          <a:xfrm>
            <a:off x="6231192" y="1024203"/>
            <a:ext cx="5677928" cy="2516847"/>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4" name="Text Placeholder 3"/>
          <p:cNvSpPr>
            <a:spLocks noGrp="1"/>
          </p:cNvSpPr>
          <p:nvPr>
            <p:ph type="body" sz="half" idx="21" hasCustomPrompt="1"/>
          </p:nvPr>
        </p:nvSpPr>
        <p:spPr>
          <a:xfrm>
            <a:off x="7417173" y="1115448"/>
            <a:ext cx="4491949" cy="295855"/>
          </a:xfrm>
        </p:spPr>
        <p:txBody>
          <a:bodyPr>
            <a:noAutofit/>
          </a:bodyPr>
          <a:lstStyle>
            <a:lvl1pPr marL="0" indent="0">
              <a:buNone/>
              <a:defRPr sz="2448">
                <a:solidFill>
                  <a:schemeClr val="accent3"/>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5" name="Picture Placeholder 7"/>
          <p:cNvSpPr>
            <a:spLocks noGrp="1"/>
          </p:cNvSpPr>
          <p:nvPr>
            <p:ph type="pic" sz="quarter" idx="22" hasCustomPrompt="1"/>
          </p:nvPr>
        </p:nvSpPr>
        <p:spPr>
          <a:xfrm>
            <a:off x="6357134" y="1110050"/>
            <a:ext cx="928973" cy="1007853"/>
          </a:xfrm>
        </p:spPr>
        <p:txBody>
          <a:bodyPr/>
          <a:lstStyle>
            <a:lvl1pPr>
              <a:defRPr/>
            </a:lvl1pPr>
          </a:lstStyle>
          <a:p>
            <a:r>
              <a:rPr lang="en-US"/>
              <a:t>Icon</a:t>
            </a:r>
          </a:p>
        </p:txBody>
      </p:sp>
      <p:sp>
        <p:nvSpPr>
          <p:cNvPr id="36" name="Text Placeholder 4"/>
          <p:cNvSpPr>
            <a:spLocks noGrp="1"/>
          </p:cNvSpPr>
          <p:nvPr>
            <p:ph type="body" sz="quarter" idx="23"/>
          </p:nvPr>
        </p:nvSpPr>
        <p:spPr>
          <a:xfrm>
            <a:off x="7416546" y="1502529"/>
            <a:ext cx="4346288" cy="1876001"/>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Rectangle 36"/>
          <p:cNvSpPr/>
          <p:nvPr/>
        </p:nvSpPr>
        <p:spPr>
          <a:xfrm>
            <a:off x="6231192" y="3614768"/>
            <a:ext cx="5677928" cy="2516847"/>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8" name="Text Placeholder 3"/>
          <p:cNvSpPr>
            <a:spLocks noGrp="1"/>
          </p:cNvSpPr>
          <p:nvPr>
            <p:ph type="body" sz="half" idx="24" hasCustomPrompt="1"/>
          </p:nvPr>
        </p:nvSpPr>
        <p:spPr>
          <a:xfrm>
            <a:off x="7417173" y="3706014"/>
            <a:ext cx="4491949" cy="295855"/>
          </a:xfrm>
        </p:spPr>
        <p:txBody>
          <a:bodyPr>
            <a:noAutofit/>
          </a:bodyPr>
          <a:lstStyle>
            <a:lvl1pPr marL="0" indent="0">
              <a:buNone/>
              <a:defRPr sz="2448">
                <a:solidFill>
                  <a:schemeClr val="accent5"/>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9" name="Picture Placeholder 7"/>
          <p:cNvSpPr>
            <a:spLocks noGrp="1"/>
          </p:cNvSpPr>
          <p:nvPr>
            <p:ph type="pic" sz="quarter" idx="25" hasCustomPrompt="1"/>
          </p:nvPr>
        </p:nvSpPr>
        <p:spPr>
          <a:xfrm>
            <a:off x="6357134" y="3700615"/>
            <a:ext cx="928973" cy="1007853"/>
          </a:xfrm>
        </p:spPr>
        <p:txBody>
          <a:bodyPr/>
          <a:lstStyle>
            <a:lvl1pPr>
              <a:defRPr/>
            </a:lvl1pPr>
          </a:lstStyle>
          <a:p>
            <a:r>
              <a:rPr lang="en-US"/>
              <a:t>Icon</a:t>
            </a:r>
          </a:p>
        </p:txBody>
      </p:sp>
      <p:sp>
        <p:nvSpPr>
          <p:cNvPr id="40" name="Text Placeholder 4"/>
          <p:cNvSpPr>
            <a:spLocks noGrp="1"/>
          </p:cNvSpPr>
          <p:nvPr>
            <p:ph type="body" sz="quarter" idx="26"/>
          </p:nvPr>
        </p:nvSpPr>
        <p:spPr>
          <a:xfrm>
            <a:off x="7416546" y="4093094"/>
            <a:ext cx="4346288" cy="1876001"/>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29729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36124" y="1678138"/>
            <a:ext cx="717009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35649" y="2185093"/>
            <a:ext cx="7168896" cy="2660904"/>
          </a:xfrm>
        </p:spPr>
        <p:txBody>
          <a:bodyPr lIns="0" tIns="0" rIns="0" bIns="0">
            <a:noAutofit/>
          </a:bodyPr>
          <a:lstStyle>
            <a:lvl1pPr marL="0" marR="0" indent="0" algn="l" defTabSz="508623" rtl="0" eaLnBrk="1" fontAlgn="auto" latinLnBrk="0" hangingPunct="1">
              <a:lnSpc>
                <a:spcPct val="114000"/>
              </a:lnSpc>
              <a:spcBef>
                <a:spcPts val="1200"/>
              </a:spcBef>
              <a:spcAft>
                <a:spcPts val="0"/>
              </a:spcAft>
              <a:buClr>
                <a:schemeClr val="accent4"/>
              </a:buClr>
              <a:buSzTx/>
              <a:buFontTx/>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6688" indent="0" algn="l" defTabSz="508623" rtl="0" eaLnBrk="1" latinLnBrk="0" hangingPunct="1">
              <a:lnSpc>
                <a:spcPct val="114000"/>
              </a:lnSpc>
              <a:spcBef>
                <a:spcPts val="1200"/>
              </a:spcBef>
              <a:spcAft>
                <a:spcPts val="0"/>
              </a:spcAft>
              <a:buFontTx/>
              <a:buNone/>
              <a:defRPr lang="en-US" sz="2000" kern="1200" dirty="0" smtClean="0">
                <a:solidFill>
                  <a:schemeClr val="tx1"/>
                </a:solidFill>
                <a:latin typeface="Segoe UI" panose="020B0502040204020203" pitchFamily="34" charset="0"/>
                <a:ea typeface="+mn-ea"/>
                <a:cs typeface="Segoe UI" panose="020B0502040204020203" pitchFamily="34" charset="0"/>
              </a:defRPr>
            </a:lvl2pPr>
            <a:lvl3pPr marL="333372" indent="0" algn="l" defTabSz="508623" rtl="0" eaLnBrk="1" latinLnBrk="0" hangingPunct="1">
              <a:lnSpc>
                <a:spcPct val="114000"/>
              </a:lnSpc>
              <a:spcBef>
                <a:spcPts val="1200"/>
              </a:spcBef>
              <a:spcAft>
                <a:spcPts val="0"/>
              </a:spcAft>
              <a:buClr>
                <a:schemeClr val="accent4"/>
              </a:buClr>
              <a:buFontTx/>
              <a:buNone/>
              <a:defRPr lang="en-US" sz="2000" kern="1200" baseline="0" dirty="0" smtClean="0">
                <a:solidFill>
                  <a:schemeClr val="tx1"/>
                </a:solidFill>
                <a:latin typeface="Segoe UI" panose="020B0502040204020203" pitchFamily="34" charset="0"/>
                <a:ea typeface="+mn-ea"/>
                <a:cs typeface="Segoe UI" panose="020B0502040204020203" pitchFamily="34" charset="0"/>
              </a:defRPr>
            </a:lvl3pPr>
            <a:lvl4pPr marL="501644" indent="0" algn="l" defTabSz="508623" rtl="0" eaLnBrk="1" latinLnBrk="0" hangingPunct="1">
              <a:lnSpc>
                <a:spcPct val="114000"/>
              </a:lnSpc>
              <a:spcBef>
                <a:spcPts val="1200"/>
              </a:spcBef>
              <a:spcAft>
                <a:spcPts val="0"/>
              </a:spcAft>
              <a:buFontTx/>
              <a:buNone/>
              <a:defRPr lang="en-US" sz="2000" kern="1200" dirty="0">
                <a:solidFill>
                  <a:schemeClr val="tx1"/>
                </a:soli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60" lvl="0" indent="-169860" algn="l" defTabSz="50862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310" lvl="1" indent="-174622" algn="l" defTabSz="508623" rtl="0" eaLnBrk="1" latinLnBrk="0" hangingPunct="1">
              <a:spcBef>
                <a:spcPct val="20000"/>
              </a:spcBef>
              <a:buClr>
                <a:schemeClr val="accent4"/>
              </a:buClr>
              <a:buFont typeface="Arial" panose="020B0604020202020204" pitchFamily="34" charset="0"/>
              <a:buChar char="•"/>
            </a:pPr>
            <a:r>
              <a:rPr lang="en-US"/>
              <a:t>Level 2</a:t>
            </a:r>
          </a:p>
          <a:p>
            <a:pPr marL="511169" lvl="2" indent="-177797" algn="l" defTabSz="508623" rtl="0" eaLnBrk="1" latinLnBrk="0" hangingPunct="1">
              <a:spcBef>
                <a:spcPct val="20000"/>
              </a:spcBef>
              <a:buClr>
                <a:schemeClr val="accent4"/>
              </a:buClr>
              <a:buFont typeface="Arial" panose="020B0604020202020204" pitchFamily="34" charset="0"/>
              <a:buChar char="•"/>
            </a:pPr>
            <a:r>
              <a:rPr lang="en-US"/>
              <a:t>Level 3</a:t>
            </a:r>
          </a:p>
          <a:p>
            <a:pPr marL="634992" lvl="3" indent="-133348" algn="l" defTabSz="50862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31472364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_Four section with icon - light layout">
    <p:spTree>
      <p:nvGrpSpPr>
        <p:cNvPr id="1" name=""/>
        <p:cNvGrpSpPr/>
        <p:nvPr/>
      </p:nvGrpSpPr>
      <p:grpSpPr>
        <a:xfrm>
          <a:off x="0" y="0"/>
          <a:ext cx="0" cy="0"/>
          <a:chOff x="0" y="0"/>
          <a:chExt cx="0" cy="0"/>
        </a:xfrm>
      </p:grpSpPr>
      <p:sp>
        <p:nvSpPr>
          <p:cNvPr id="2" name="Rectangle 1"/>
          <p:cNvSpPr/>
          <p:nvPr/>
        </p:nvSpPr>
        <p:spPr>
          <a:xfrm>
            <a:off x="487959" y="1024203"/>
            <a:ext cx="5677928" cy="2516847"/>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4" name="Text Placeholder 3"/>
          <p:cNvSpPr>
            <a:spLocks noGrp="1"/>
          </p:cNvSpPr>
          <p:nvPr>
            <p:ph type="body" sz="half" idx="2" hasCustomPrompt="1"/>
          </p:nvPr>
        </p:nvSpPr>
        <p:spPr>
          <a:xfrm>
            <a:off x="1673939" y="1115448"/>
            <a:ext cx="4491949" cy="295855"/>
          </a:xfrm>
        </p:spPr>
        <p:txBody>
          <a:bodyPr>
            <a:noAutofit/>
          </a:bodyPr>
          <a:lstStyle>
            <a:lvl1pPr marL="0" indent="0">
              <a:buNone/>
              <a:defRPr sz="2448">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sp>
        <p:nvSpPr>
          <p:cNvPr id="8" name="Picture Placeholder 7"/>
          <p:cNvSpPr>
            <a:spLocks noGrp="1"/>
          </p:cNvSpPr>
          <p:nvPr>
            <p:ph type="pic" sz="quarter" idx="13" hasCustomPrompt="1"/>
          </p:nvPr>
        </p:nvSpPr>
        <p:spPr>
          <a:xfrm>
            <a:off x="613900" y="1110050"/>
            <a:ext cx="928973" cy="1007853"/>
          </a:xfrm>
        </p:spPr>
        <p:txBody>
          <a:bodyPr/>
          <a:lstStyle>
            <a:lvl1pPr>
              <a:defRPr/>
            </a:lvl1pPr>
          </a:lstStyle>
          <a:p>
            <a:r>
              <a:rPr lang="en-US"/>
              <a:t>Icon</a:t>
            </a:r>
          </a:p>
        </p:txBody>
      </p:sp>
      <p:pic>
        <p:nvPicPr>
          <p:cNvPr id="25" name="Picture 2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5" name="Text Placeholder 4"/>
          <p:cNvSpPr>
            <a:spLocks noGrp="1"/>
          </p:cNvSpPr>
          <p:nvPr>
            <p:ph type="body" sz="quarter" idx="17"/>
          </p:nvPr>
        </p:nvSpPr>
        <p:spPr>
          <a:xfrm>
            <a:off x="1673312" y="1502529"/>
            <a:ext cx="4346288" cy="1876001"/>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Rectangle 28"/>
          <p:cNvSpPr/>
          <p:nvPr/>
        </p:nvSpPr>
        <p:spPr>
          <a:xfrm>
            <a:off x="487959" y="3614768"/>
            <a:ext cx="5677928" cy="2516847"/>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0" name="Text Placeholder 3"/>
          <p:cNvSpPr>
            <a:spLocks noGrp="1"/>
          </p:cNvSpPr>
          <p:nvPr>
            <p:ph type="body" sz="half" idx="18" hasCustomPrompt="1"/>
          </p:nvPr>
        </p:nvSpPr>
        <p:spPr>
          <a:xfrm>
            <a:off x="1673939" y="3706014"/>
            <a:ext cx="4491949" cy="295855"/>
          </a:xfrm>
        </p:spPr>
        <p:txBody>
          <a:bodyPr>
            <a:noAutofit/>
          </a:bodyPr>
          <a:lstStyle>
            <a:lvl1pPr marL="0" indent="0">
              <a:buNone/>
              <a:defRPr sz="2448">
                <a:solidFill>
                  <a:schemeClr val="accent2"/>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1" name="Picture Placeholder 7"/>
          <p:cNvSpPr>
            <a:spLocks noGrp="1"/>
          </p:cNvSpPr>
          <p:nvPr>
            <p:ph type="pic" sz="quarter" idx="19" hasCustomPrompt="1"/>
          </p:nvPr>
        </p:nvSpPr>
        <p:spPr>
          <a:xfrm>
            <a:off x="613900" y="3700615"/>
            <a:ext cx="928973" cy="1007853"/>
          </a:xfrm>
        </p:spPr>
        <p:txBody>
          <a:bodyPr/>
          <a:lstStyle>
            <a:lvl1pPr>
              <a:defRPr/>
            </a:lvl1pPr>
          </a:lstStyle>
          <a:p>
            <a:r>
              <a:rPr lang="en-US"/>
              <a:t>Icon</a:t>
            </a:r>
          </a:p>
        </p:txBody>
      </p:sp>
      <p:sp>
        <p:nvSpPr>
          <p:cNvPr id="32" name="Text Placeholder 4"/>
          <p:cNvSpPr>
            <a:spLocks noGrp="1"/>
          </p:cNvSpPr>
          <p:nvPr>
            <p:ph type="body" sz="quarter" idx="20"/>
          </p:nvPr>
        </p:nvSpPr>
        <p:spPr>
          <a:xfrm>
            <a:off x="1673312" y="4093094"/>
            <a:ext cx="4346288" cy="1876001"/>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Rectangle 32"/>
          <p:cNvSpPr/>
          <p:nvPr/>
        </p:nvSpPr>
        <p:spPr>
          <a:xfrm>
            <a:off x="6231192" y="1024203"/>
            <a:ext cx="5677928" cy="2516847"/>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4" name="Text Placeholder 3"/>
          <p:cNvSpPr>
            <a:spLocks noGrp="1"/>
          </p:cNvSpPr>
          <p:nvPr>
            <p:ph type="body" sz="half" idx="21" hasCustomPrompt="1"/>
          </p:nvPr>
        </p:nvSpPr>
        <p:spPr>
          <a:xfrm>
            <a:off x="7417173" y="1115448"/>
            <a:ext cx="4491949" cy="295855"/>
          </a:xfrm>
        </p:spPr>
        <p:txBody>
          <a:bodyPr>
            <a:noAutofit/>
          </a:bodyPr>
          <a:lstStyle>
            <a:lvl1pPr marL="0" indent="0">
              <a:buNone/>
              <a:defRPr sz="2448">
                <a:solidFill>
                  <a:schemeClr val="accent3"/>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5" name="Picture Placeholder 7"/>
          <p:cNvSpPr>
            <a:spLocks noGrp="1"/>
          </p:cNvSpPr>
          <p:nvPr>
            <p:ph type="pic" sz="quarter" idx="22" hasCustomPrompt="1"/>
          </p:nvPr>
        </p:nvSpPr>
        <p:spPr>
          <a:xfrm>
            <a:off x="6357134" y="1110050"/>
            <a:ext cx="928973" cy="1007853"/>
          </a:xfrm>
        </p:spPr>
        <p:txBody>
          <a:bodyPr/>
          <a:lstStyle>
            <a:lvl1pPr>
              <a:defRPr/>
            </a:lvl1pPr>
          </a:lstStyle>
          <a:p>
            <a:r>
              <a:rPr lang="en-US"/>
              <a:t>Icon</a:t>
            </a:r>
          </a:p>
        </p:txBody>
      </p:sp>
      <p:sp>
        <p:nvSpPr>
          <p:cNvPr id="36" name="Text Placeholder 4"/>
          <p:cNvSpPr>
            <a:spLocks noGrp="1"/>
          </p:cNvSpPr>
          <p:nvPr>
            <p:ph type="body" sz="quarter" idx="23"/>
          </p:nvPr>
        </p:nvSpPr>
        <p:spPr>
          <a:xfrm>
            <a:off x="7416546" y="1502529"/>
            <a:ext cx="4346288" cy="1876001"/>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Rectangle 36"/>
          <p:cNvSpPr/>
          <p:nvPr/>
        </p:nvSpPr>
        <p:spPr>
          <a:xfrm>
            <a:off x="6231192" y="3614768"/>
            <a:ext cx="5677928" cy="2516847"/>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8" name="Text Placeholder 3"/>
          <p:cNvSpPr>
            <a:spLocks noGrp="1"/>
          </p:cNvSpPr>
          <p:nvPr>
            <p:ph type="body" sz="half" idx="24" hasCustomPrompt="1"/>
          </p:nvPr>
        </p:nvSpPr>
        <p:spPr>
          <a:xfrm>
            <a:off x="7417173" y="3706014"/>
            <a:ext cx="4491949" cy="295855"/>
          </a:xfrm>
        </p:spPr>
        <p:txBody>
          <a:bodyPr>
            <a:noAutofit/>
          </a:bodyPr>
          <a:lstStyle>
            <a:lvl1pPr marL="0" indent="0">
              <a:buNone/>
              <a:defRPr sz="2448">
                <a:solidFill>
                  <a:schemeClr val="accent5"/>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9" name="Picture Placeholder 7"/>
          <p:cNvSpPr>
            <a:spLocks noGrp="1"/>
          </p:cNvSpPr>
          <p:nvPr>
            <p:ph type="pic" sz="quarter" idx="25" hasCustomPrompt="1"/>
          </p:nvPr>
        </p:nvSpPr>
        <p:spPr>
          <a:xfrm>
            <a:off x="6357134" y="3700615"/>
            <a:ext cx="928973" cy="1007853"/>
          </a:xfrm>
        </p:spPr>
        <p:txBody>
          <a:bodyPr/>
          <a:lstStyle>
            <a:lvl1pPr>
              <a:defRPr/>
            </a:lvl1pPr>
          </a:lstStyle>
          <a:p>
            <a:r>
              <a:rPr lang="en-US"/>
              <a:t>Icon</a:t>
            </a:r>
          </a:p>
        </p:txBody>
      </p:sp>
      <p:sp>
        <p:nvSpPr>
          <p:cNvPr id="40" name="Text Placeholder 4"/>
          <p:cNvSpPr>
            <a:spLocks noGrp="1"/>
          </p:cNvSpPr>
          <p:nvPr>
            <p:ph type="body" sz="quarter" idx="26"/>
          </p:nvPr>
        </p:nvSpPr>
        <p:spPr>
          <a:xfrm>
            <a:off x="7416546" y="4093094"/>
            <a:ext cx="4346288" cy="1876001"/>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47145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_Four section with dense text - tinted layout">
    <p:spTree>
      <p:nvGrpSpPr>
        <p:cNvPr id="1" name=""/>
        <p:cNvGrpSpPr/>
        <p:nvPr/>
      </p:nvGrpSpPr>
      <p:grpSpPr>
        <a:xfrm>
          <a:off x="0" y="0"/>
          <a:ext cx="0" cy="0"/>
          <a:chOff x="0" y="0"/>
          <a:chExt cx="0" cy="0"/>
        </a:xfrm>
      </p:grpSpPr>
      <p:sp>
        <p:nvSpPr>
          <p:cNvPr id="2" name="Rectangle 1"/>
          <p:cNvSpPr/>
          <p:nvPr/>
        </p:nvSpPr>
        <p:spPr>
          <a:xfrm>
            <a:off x="487959" y="1024203"/>
            <a:ext cx="5677928" cy="2516847"/>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4" name="Text Placeholder 3"/>
          <p:cNvSpPr>
            <a:spLocks noGrp="1"/>
          </p:cNvSpPr>
          <p:nvPr>
            <p:ph type="body" sz="half" idx="2" hasCustomPrompt="1"/>
          </p:nvPr>
        </p:nvSpPr>
        <p:spPr>
          <a:xfrm>
            <a:off x="578285" y="1115448"/>
            <a:ext cx="5587602" cy="295855"/>
          </a:xfrm>
        </p:spPr>
        <p:txBody>
          <a:bodyPr>
            <a:noAutofit/>
          </a:bodyPr>
          <a:lstStyle>
            <a:lvl1pPr marL="0" indent="0">
              <a:buNone/>
              <a:defRPr sz="1632">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25" name="Picture 2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5" name="Text Placeholder 4"/>
          <p:cNvSpPr>
            <a:spLocks noGrp="1"/>
          </p:cNvSpPr>
          <p:nvPr>
            <p:ph type="body" sz="quarter" idx="17"/>
          </p:nvPr>
        </p:nvSpPr>
        <p:spPr>
          <a:xfrm>
            <a:off x="613189" y="1502529"/>
            <a:ext cx="5406412" cy="1876001"/>
          </a:xfrm>
        </p:spPr>
        <p:txBody>
          <a:bodyPr>
            <a:noAutofit/>
          </a:bodyPr>
          <a:lstStyle>
            <a:lvl1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Rectangle 28"/>
          <p:cNvSpPr/>
          <p:nvPr/>
        </p:nvSpPr>
        <p:spPr>
          <a:xfrm>
            <a:off x="487959" y="3614768"/>
            <a:ext cx="5677928" cy="2516847"/>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0" name="Text Placeholder 3"/>
          <p:cNvSpPr>
            <a:spLocks noGrp="1"/>
          </p:cNvSpPr>
          <p:nvPr>
            <p:ph type="body" sz="half" idx="18" hasCustomPrompt="1"/>
          </p:nvPr>
        </p:nvSpPr>
        <p:spPr>
          <a:xfrm>
            <a:off x="578285" y="3706014"/>
            <a:ext cx="5587602" cy="295855"/>
          </a:xfrm>
        </p:spPr>
        <p:txBody>
          <a:bodyPr>
            <a:noAutofit/>
          </a:bodyPr>
          <a:lstStyle>
            <a:lvl1pPr marL="0" indent="0">
              <a:buNone/>
              <a:defRPr sz="1632">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2" name="Text Placeholder 4"/>
          <p:cNvSpPr>
            <a:spLocks noGrp="1"/>
          </p:cNvSpPr>
          <p:nvPr>
            <p:ph type="body" sz="quarter" idx="20"/>
          </p:nvPr>
        </p:nvSpPr>
        <p:spPr>
          <a:xfrm>
            <a:off x="613189" y="4093094"/>
            <a:ext cx="5406412" cy="1876001"/>
          </a:xfrm>
        </p:spPr>
        <p:txBody>
          <a:bodyPr>
            <a:noAutofit/>
          </a:bodyPr>
          <a:lstStyle>
            <a:lvl1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Rectangle 32"/>
          <p:cNvSpPr/>
          <p:nvPr/>
        </p:nvSpPr>
        <p:spPr>
          <a:xfrm>
            <a:off x="6231192" y="1024203"/>
            <a:ext cx="5677928" cy="2516847"/>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4" name="Text Placeholder 3"/>
          <p:cNvSpPr>
            <a:spLocks noGrp="1"/>
          </p:cNvSpPr>
          <p:nvPr>
            <p:ph type="body" sz="half" idx="21" hasCustomPrompt="1"/>
          </p:nvPr>
        </p:nvSpPr>
        <p:spPr>
          <a:xfrm>
            <a:off x="6321518" y="1115448"/>
            <a:ext cx="5587602" cy="295855"/>
          </a:xfrm>
        </p:spPr>
        <p:txBody>
          <a:bodyPr>
            <a:noAutofit/>
          </a:bodyPr>
          <a:lstStyle>
            <a:lvl1pPr marL="0" indent="0">
              <a:buNone/>
              <a:defRPr sz="1632">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6" name="Text Placeholder 4"/>
          <p:cNvSpPr>
            <a:spLocks noGrp="1"/>
          </p:cNvSpPr>
          <p:nvPr>
            <p:ph type="body" sz="quarter" idx="23"/>
          </p:nvPr>
        </p:nvSpPr>
        <p:spPr>
          <a:xfrm>
            <a:off x="6356422" y="1502529"/>
            <a:ext cx="5406412" cy="1876001"/>
          </a:xfrm>
        </p:spPr>
        <p:txBody>
          <a:bodyPr>
            <a:noAutofit/>
          </a:bodyPr>
          <a:lstStyle>
            <a:lvl1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Rectangle 36"/>
          <p:cNvSpPr/>
          <p:nvPr/>
        </p:nvSpPr>
        <p:spPr>
          <a:xfrm>
            <a:off x="6231192" y="3614768"/>
            <a:ext cx="5677928" cy="2516847"/>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8" name="Text Placeholder 3"/>
          <p:cNvSpPr>
            <a:spLocks noGrp="1"/>
          </p:cNvSpPr>
          <p:nvPr>
            <p:ph type="body" sz="half" idx="24" hasCustomPrompt="1"/>
          </p:nvPr>
        </p:nvSpPr>
        <p:spPr>
          <a:xfrm>
            <a:off x="6321518" y="3706014"/>
            <a:ext cx="5587602" cy="295855"/>
          </a:xfrm>
        </p:spPr>
        <p:txBody>
          <a:bodyPr>
            <a:noAutofit/>
          </a:bodyPr>
          <a:lstStyle>
            <a:lvl1pPr marL="0" indent="0">
              <a:buNone/>
              <a:defRPr sz="1632">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40" name="Text Placeholder 4"/>
          <p:cNvSpPr>
            <a:spLocks noGrp="1"/>
          </p:cNvSpPr>
          <p:nvPr>
            <p:ph type="body" sz="quarter" idx="26"/>
          </p:nvPr>
        </p:nvSpPr>
        <p:spPr>
          <a:xfrm>
            <a:off x="6356422" y="4093094"/>
            <a:ext cx="5406412" cy="1876001"/>
          </a:xfrm>
        </p:spPr>
        <p:txBody>
          <a:bodyPr>
            <a:noAutofit/>
          </a:bodyPr>
          <a:lstStyle>
            <a:lvl1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675808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_Four section with dense text - light layout">
    <p:spTree>
      <p:nvGrpSpPr>
        <p:cNvPr id="1" name=""/>
        <p:cNvGrpSpPr/>
        <p:nvPr/>
      </p:nvGrpSpPr>
      <p:grpSpPr>
        <a:xfrm>
          <a:off x="0" y="0"/>
          <a:ext cx="0" cy="0"/>
          <a:chOff x="0" y="0"/>
          <a:chExt cx="0" cy="0"/>
        </a:xfrm>
      </p:grpSpPr>
      <p:sp>
        <p:nvSpPr>
          <p:cNvPr id="2" name="Rectangle 1"/>
          <p:cNvSpPr/>
          <p:nvPr/>
        </p:nvSpPr>
        <p:spPr>
          <a:xfrm>
            <a:off x="487959" y="1024203"/>
            <a:ext cx="5677928" cy="2516847"/>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4" name="Text Placeholder 3"/>
          <p:cNvSpPr>
            <a:spLocks noGrp="1"/>
          </p:cNvSpPr>
          <p:nvPr>
            <p:ph type="body" sz="half" idx="2" hasCustomPrompt="1"/>
          </p:nvPr>
        </p:nvSpPr>
        <p:spPr>
          <a:xfrm>
            <a:off x="578285" y="1115448"/>
            <a:ext cx="5587602" cy="295855"/>
          </a:xfrm>
        </p:spPr>
        <p:txBody>
          <a:bodyPr>
            <a:noAutofit/>
          </a:bodyPr>
          <a:lstStyle>
            <a:lvl1pPr marL="0" indent="0">
              <a:buNone/>
              <a:defRPr sz="1632">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25" name="Picture 2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5" name="Text Placeholder 4"/>
          <p:cNvSpPr>
            <a:spLocks noGrp="1"/>
          </p:cNvSpPr>
          <p:nvPr>
            <p:ph type="body" sz="quarter" idx="17"/>
          </p:nvPr>
        </p:nvSpPr>
        <p:spPr>
          <a:xfrm>
            <a:off x="613189" y="1502529"/>
            <a:ext cx="5406412" cy="1876001"/>
          </a:xfrm>
        </p:spPr>
        <p:txBody>
          <a:bodyPr>
            <a:noAutofit/>
          </a:bodyPr>
          <a:lstStyle>
            <a:lvl1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Rectangle 28"/>
          <p:cNvSpPr/>
          <p:nvPr/>
        </p:nvSpPr>
        <p:spPr>
          <a:xfrm>
            <a:off x="487959" y="3614768"/>
            <a:ext cx="5677928" cy="2516847"/>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0" name="Text Placeholder 3"/>
          <p:cNvSpPr>
            <a:spLocks noGrp="1"/>
          </p:cNvSpPr>
          <p:nvPr>
            <p:ph type="body" sz="half" idx="18" hasCustomPrompt="1"/>
          </p:nvPr>
        </p:nvSpPr>
        <p:spPr>
          <a:xfrm>
            <a:off x="578285" y="3706014"/>
            <a:ext cx="5587602" cy="295855"/>
          </a:xfrm>
        </p:spPr>
        <p:txBody>
          <a:bodyPr>
            <a:noAutofit/>
          </a:bodyPr>
          <a:lstStyle>
            <a:lvl1pPr marL="0" indent="0">
              <a:buNone/>
              <a:defRPr sz="1632">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2" name="Text Placeholder 4"/>
          <p:cNvSpPr>
            <a:spLocks noGrp="1"/>
          </p:cNvSpPr>
          <p:nvPr>
            <p:ph type="body" sz="quarter" idx="20"/>
          </p:nvPr>
        </p:nvSpPr>
        <p:spPr>
          <a:xfrm>
            <a:off x="613189" y="4093094"/>
            <a:ext cx="5406412" cy="1876001"/>
          </a:xfrm>
        </p:spPr>
        <p:txBody>
          <a:bodyPr>
            <a:noAutofit/>
          </a:bodyPr>
          <a:lstStyle>
            <a:lvl1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Rectangle 32"/>
          <p:cNvSpPr/>
          <p:nvPr/>
        </p:nvSpPr>
        <p:spPr>
          <a:xfrm>
            <a:off x="6231192" y="1024203"/>
            <a:ext cx="5677928" cy="2516847"/>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4" name="Text Placeholder 3"/>
          <p:cNvSpPr>
            <a:spLocks noGrp="1"/>
          </p:cNvSpPr>
          <p:nvPr>
            <p:ph type="body" sz="half" idx="21" hasCustomPrompt="1"/>
          </p:nvPr>
        </p:nvSpPr>
        <p:spPr>
          <a:xfrm>
            <a:off x="6321518" y="1115448"/>
            <a:ext cx="5587602" cy="295855"/>
          </a:xfrm>
        </p:spPr>
        <p:txBody>
          <a:bodyPr>
            <a:noAutofit/>
          </a:bodyPr>
          <a:lstStyle>
            <a:lvl1pPr marL="0" indent="0">
              <a:buNone/>
              <a:defRPr sz="1632">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6" name="Text Placeholder 4"/>
          <p:cNvSpPr>
            <a:spLocks noGrp="1"/>
          </p:cNvSpPr>
          <p:nvPr>
            <p:ph type="body" sz="quarter" idx="23"/>
          </p:nvPr>
        </p:nvSpPr>
        <p:spPr>
          <a:xfrm>
            <a:off x="6356422" y="1502529"/>
            <a:ext cx="5406412" cy="1876001"/>
          </a:xfrm>
        </p:spPr>
        <p:txBody>
          <a:bodyPr>
            <a:noAutofit/>
          </a:bodyPr>
          <a:lstStyle>
            <a:lvl1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Rectangle 36"/>
          <p:cNvSpPr/>
          <p:nvPr/>
        </p:nvSpPr>
        <p:spPr>
          <a:xfrm>
            <a:off x="6231192" y="3614768"/>
            <a:ext cx="5677928" cy="2516847"/>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8" name="Text Placeholder 3"/>
          <p:cNvSpPr>
            <a:spLocks noGrp="1"/>
          </p:cNvSpPr>
          <p:nvPr>
            <p:ph type="body" sz="half" idx="24" hasCustomPrompt="1"/>
          </p:nvPr>
        </p:nvSpPr>
        <p:spPr>
          <a:xfrm>
            <a:off x="6321518" y="3706014"/>
            <a:ext cx="5587602" cy="295855"/>
          </a:xfrm>
        </p:spPr>
        <p:txBody>
          <a:bodyPr>
            <a:noAutofit/>
          </a:bodyPr>
          <a:lstStyle>
            <a:lvl1pPr marL="0" indent="0">
              <a:buNone/>
              <a:defRPr sz="1632">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40" name="Text Placeholder 4"/>
          <p:cNvSpPr>
            <a:spLocks noGrp="1"/>
          </p:cNvSpPr>
          <p:nvPr>
            <p:ph type="body" sz="quarter" idx="26"/>
          </p:nvPr>
        </p:nvSpPr>
        <p:spPr>
          <a:xfrm>
            <a:off x="6356422" y="4093094"/>
            <a:ext cx="5406412" cy="1876001"/>
          </a:xfrm>
        </p:spPr>
        <p:txBody>
          <a:bodyPr>
            <a:noAutofit/>
          </a:bodyPr>
          <a:lstStyle>
            <a:lvl1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224">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5751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_Two column with dense text - tinted layout">
    <p:spTree>
      <p:nvGrpSpPr>
        <p:cNvPr id="1" name=""/>
        <p:cNvGrpSpPr/>
        <p:nvPr/>
      </p:nvGrpSpPr>
      <p:grpSpPr>
        <a:xfrm>
          <a:off x="0" y="0"/>
          <a:ext cx="0" cy="0"/>
          <a:chOff x="0" y="0"/>
          <a:chExt cx="0" cy="0"/>
        </a:xfrm>
      </p:grpSpPr>
      <p:sp>
        <p:nvSpPr>
          <p:cNvPr id="2" name="Rectangle 1"/>
          <p:cNvSpPr/>
          <p:nvPr/>
        </p:nvSpPr>
        <p:spPr>
          <a:xfrm>
            <a:off x="487959" y="1024204"/>
            <a:ext cx="5677928" cy="5398242"/>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4" name="Text Placeholder 3"/>
          <p:cNvSpPr>
            <a:spLocks noGrp="1"/>
          </p:cNvSpPr>
          <p:nvPr>
            <p:ph type="body" sz="half" idx="2" hasCustomPrompt="1"/>
          </p:nvPr>
        </p:nvSpPr>
        <p:spPr>
          <a:xfrm>
            <a:off x="630105" y="1115448"/>
            <a:ext cx="5535785" cy="295855"/>
          </a:xfrm>
        </p:spPr>
        <p:txBody>
          <a:bodyPr>
            <a:noAutofit/>
          </a:bodyPr>
          <a:lstStyle>
            <a:lvl1pPr marL="0" indent="0">
              <a:buNone/>
              <a:defRPr sz="2174">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25" name="Picture 2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5" name="Text Placeholder 4"/>
          <p:cNvSpPr>
            <a:spLocks noGrp="1"/>
          </p:cNvSpPr>
          <p:nvPr>
            <p:ph type="body" sz="quarter" idx="17"/>
          </p:nvPr>
        </p:nvSpPr>
        <p:spPr>
          <a:xfrm>
            <a:off x="665008" y="1554340"/>
            <a:ext cx="5471717" cy="4868105"/>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Rectangle 32"/>
          <p:cNvSpPr/>
          <p:nvPr/>
        </p:nvSpPr>
        <p:spPr>
          <a:xfrm>
            <a:off x="6231192" y="1024204"/>
            <a:ext cx="5677928" cy="5398242"/>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4" name="Text Placeholder 3"/>
          <p:cNvSpPr>
            <a:spLocks noGrp="1"/>
          </p:cNvSpPr>
          <p:nvPr>
            <p:ph type="body" sz="half" idx="21" hasCustomPrompt="1"/>
          </p:nvPr>
        </p:nvSpPr>
        <p:spPr>
          <a:xfrm>
            <a:off x="6373339" y="1115448"/>
            <a:ext cx="5535785" cy="295855"/>
          </a:xfrm>
        </p:spPr>
        <p:txBody>
          <a:bodyPr>
            <a:noAutofit/>
          </a:bodyPr>
          <a:lstStyle>
            <a:lvl1pPr marL="0" indent="0">
              <a:buNone/>
              <a:defRPr sz="2174">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6" name="Text Placeholder 4"/>
          <p:cNvSpPr>
            <a:spLocks noGrp="1"/>
          </p:cNvSpPr>
          <p:nvPr>
            <p:ph type="body" sz="quarter" idx="23"/>
          </p:nvPr>
        </p:nvSpPr>
        <p:spPr>
          <a:xfrm>
            <a:off x="6408240" y="1554340"/>
            <a:ext cx="5500880" cy="4868105"/>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430526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3_Two column with dense text - light layout">
    <p:spTree>
      <p:nvGrpSpPr>
        <p:cNvPr id="1" name=""/>
        <p:cNvGrpSpPr/>
        <p:nvPr/>
      </p:nvGrpSpPr>
      <p:grpSpPr>
        <a:xfrm>
          <a:off x="0" y="0"/>
          <a:ext cx="0" cy="0"/>
          <a:chOff x="0" y="0"/>
          <a:chExt cx="0" cy="0"/>
        </a:xfrm>
      </p:grpSpPr>
      <p:sp>
        <p:nvSpPr>
          <p:cNvPr id="2" name="Rectangle 1"/>
          <p:cNvSpPr/>
          <p:nvPr/>
        </p:nvSpPr>
        <p:spPr>
          <a:xfrm>
            <a:off x="487959" y="1024204"/>
            <a:ext cx="5677928" cy="5398242"/>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4" name="Text Placeholder 3"/>
          <p:cNvSpPr>
            <a:spLocks noGrp="1"/>
          </p:cNvSpPr>
          <p:nvPr>
            <p:ph type="body" sz="half" idx="2" hasCustomPrompt="1"/>
          </p:nvPr>
        </p:nvSpPr>
        <p:spPr>
          <a:xfrm>
            <a:off x="630105" y="1115448"/>
            <a:ext cx="5535785" cy="295855"/>
          </a:xfrm>
        </p:spPr>
        <p:txBody>
          <a:bodyPr>
            <a:noAutofit/>
          </a:bodyPr>
          <a:lstStyle>
            <a:lvl1pPr marL="0" indent="0">
              <a:buNone/>
              <a:defRPr sz="2174">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25" name="Picture 2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5" name="Text Placeholder 4"/>
          <p:cNvSpPr>
            <a:spLocks noGrp="1"/>
          </p:cNvSpPr>
          <p:nvPr>
            <p:ph type="body" sz="quarter" idx="17"/>
          </p:nvPr>
        </p:nvSpPr>
        <p:spPr>
          <a:xfrm>
            <a:off x="665008" y="1554340"/>
            <a:ext cx="5471717" cy="4768397"/>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Rectangle 32"/>
          <p:cNvSpPr/>
          <p:nvPr/>
        </p:nvSpPr>
        <p:spPr>
          <a:xfrm>
            <a:off x="6231192" y="1024204"/>
            <a:ext cx="5677928" cy="5398242"/>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4" name="Text Placeholder 3"/>
          <p:cNvSpPr>
            <a:spLocks noGrp="1"/>
          </p:cNvSpPr>
          <p:nvPr>
            <p:ph type="body" sz="half" idx="21" hasCustomPrompt="1"/>
          </p:nvPr>
        </p:nvSpPr>
        <p:spPr>
          <a:xfrm>
            <a:off x="6373339" y="1115448"/>
            <a:ext cx="5535785" cy="295855"/>
          </a:xfrm>
        </p:spPr>
        <p:txBody>
          <a:bodyPr>
            <a:noAutofit/>
          </a:bodyPr>
          <a:lstStyle>
            <a:lvl1pPr marL="0" indent="0">
              <a:buNone/>
              <a:defRPr sz="2174">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6" name="Text Placeholder 4"/>
          <p:cNvSpPr>
            <a:spLocks noGrp="1"/>
          </p:cNvSpPr>
          <p:nvPr>
            <p:ph type="body" sz="quarter" idx="23"/>
          </p:nvPr>
        </p:nvSpPr>
        <p:spPr>
          <a:xfrm>
            <a:off x="6408240" y="1554340"/>
            <a:ext cx="5500880" cy="4768397"/>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6856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Image with text samples">
    <p:spTree>
      <p:nvGrpSpPr>
        <p:cNvPr id="1" name=""/>
        <p:cNvGrpSpPr/>
        <p:nvPr/>
      </p:nvGrpSpPr>
      <p:grpSpPr>
        <a:xfrm>
          <a:off x="0" y="0"/>
          <a:ext cx="0" cy="0"/>
          <a:chOff x="0" y="0"/>
          <a:chExt cx="0" cy="0"/>
        </a:xfrm>
      </p:grpSpPr>
      <p:sp>
        <p:nvSpPr>
          <p:cNvPr id="7" name="Picture Placeholder 6"/>
          <p:cNvSpPr>
            <a:spLocks noGrp="1"/>
          </p:cNvSpPr>
          <p:nvPr>
            <p:ph type="pic" sz="quarter" idx="24"/>
          </p:nvPr>
        </p:nvSpPr>
        <p:spPr>
          <a:xfrm>
            <a:off x="492277" y="1023273"/>
            <a:ext cx="5648232" cy="5399170"/>
          </a:xfrm>
        </p:spPr>
        <p:txBody>
          <a:bodyPr/>
          <a:lstStyle/>
          <a:p>
            <a:r>
              <a:rPr lang="en-US"/>
              <a:t>Click icon to add picture</a:t>
            </a:r>
          </a:p>
        </p:txBody>
      </p:sp>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25" name="Picture 2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33" name="Rectangle 32"/>
          <p:cNvSpPr/>
          <p:nvPr/>
        </p:nvSpPr>
        <p:spPr>
          <a:xfrm>
            <a:off x="6231192" y="1024204"/>
            <a:ext cx="5677928" cy="5398242"/>
          </a:xfrm>
          <a:prstGeom prst="rect">
            <a:avLst/>
          </a:prstGeom>
          <a:solidFill>
            <a:schemeClr val="bg2"/>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4" name="Text Placeholder 3"/>
          <p:cNvSpPr>
            <a:spLocks noGrp="1"/>
          </p:cNvSpPr>
          <p:nvPr>
            <p:ph type="body" sz="half" idx="21" hasCustomPrompt="1"/>
          </p:nvPr>
        </p:nvSpPr>
        <p:spPr>
          <a:xfrm>
            <a:off x="6373339" y="1115448"/>
            <a:ext cx="5535785" cy="295855"/>
          </a:xfrm>
        </p:spPr>
        <p:txBody>
          <a:bodyPr>
            <a:noAutofit/>
          </a:bodyPr>
          <a:lstStyle>
            <a:lvl1pPr marL="0" indent="0">
              <a:buNone/>
              <a:defRPr sz="2448">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6" name="Text Placeholder 4"/>
          <p:cNvSpPr>
            <a:spLocks noGrp="1"/>
          </p:cNvSpPr>
          <p:nvPr>
            <p:ph type="body" sz="quarter" idx="23"/>
          </p:nvPr>
        </p:nvSpPr>
        <p:spPr>
          <a:xfrm>
            <a:off x="6408240" y="1554339"/>
            <a:ext cx="5500880" cy="4726244"/>
          </a:xfrm>
        </p:spPr>
        <p:txBody>
          <a:bodyPr>
            <a:noAutofit/>
          </a:bodyPr>
          <a:lstStyle>
            <a:lvl1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tx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92579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Image with text samples">
    <p:spTree>
      <p:nvGrpSpPr>
        <p:cNvPr id="1" name=""/>
        <p:cNvGrpSpPr/>
        <p:nvPr/>
      </p:nvGrpSpPr>
      <p:grpSpPr>
        <a:xfrm>
          <a:off x="0" y="0"/>
          <a:ext cx="0" cy="0"/>
          <a:chOff x="0" y="0"/>
          <a:chExt cx="0" cy="0"/>
        </a:xfrm>
      </p:grpSpPr>
      <p:sp>
        <p:nvSpPr>
          <p:cNvPr id="33" name="Rectangle 32"/>
          <p:cNvSpPr/>
          <p:nvPr/>
        </p:nvSpPr>
        <p:spPr>
          <a:xfrm>
            <a:off x="496595" y="1024204"/>
            <a:ext cx="5677928" cy="5398242"/>
          </a:xfrm>
          <a:prstGeom prst="rect">
            <a:avLst/>
          </a:prstGeom>
          <a:solidFill>
            <a:schemeClr val="accent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48"/>
          </a:p>
        </p:txBody>
      </p:sp>
      <p:sp>
        <p:nvSpPr>
          <p:cNvPr id="34" name="Text Placeholder 3"/>
          <p:cNvSpPr>
            <a:spLocks noGrp="1"/>
          </p:cNvSpPr>
          <p:nvPr>
            <p:ph type="body" sz="half" idx="21" hasCustomPrompt="1"/>
          </p:nvPr>
        </p:nvSpPr>
        <p:spPr>
          <a:xfrm>
            <a:off x="638742" y="1115448"/>
            <a:ext cx="5535785" cy="295855"/>
          </a:xfrm>
        </p:spPr>
        <p:txBody>
          <a:bodyPr>
            <a:noAutofit/>
          </a:bodyPr>
          <a:lstStyle>
            <a:lvl1pPr marL="0" indent="0">
              <a:buNone/>
              <a:defRPr sz="2448">
                <a:solidFill>
                  <a:schemeClr val="bg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Optional Subtitle Here</a:t>
            </a:r>
          </a:p>
        </p:txBody>
      </p:sp>
      <p:sp>
        <p:nvSpPr>
          <p:cNvPr id="36" name="Text Placeholder 4"/>
          <p:cNvSpPr>
            <a:spLocks noGrp="1"/>
          </p:cNvSpPr>
          <p:nvPr>
            <p:ph type="body" sz="quarter" idx="23"/>
          </p:nvPr>
        </p:nvSpPr>
        <p:spPr>
          <a:xfrm>
            <a:off x="673643" y="1554339"/>
            <a:ext cx="5500880" cy="4715706"/>
          </a:xfrm>
        </p:spPr>
        <p:txBody>
          <a:bodyPr>
            <a:noAutofit/>
          </a:bodyPr>
          <a:lstStyle>
            <a:lvl1pPr marL="153242" indent="-153242">
              <a:buFont typeface="Arial" panose="020B0604020202020204" pitchFamily="34" charset="0"/>
              <a:buChar char="•"/>
              <a:defRPr sz="1632">
                <a:solidFill>
                  <a:schemeClr val="bg1"/>
                </a:solidFill>
                <a:latin typeface="Calibri Light" panose="020F0302020204030204" pitchFamily="34" charset="0"/>
                <a:cs typeface="Calibri Light" panose="020F0302020204030204" pitchFamily="34" charset="0"/>
              </a:defRPr>
            </a:lvl1pPr>
            <a:lvl2pPr marL="153242" indent="-153242">
              <a:buFont typeface="Arial" panose="020B0604020202020204" pitchFamily="34" charset="0"/>
              <a:buChar char="•"/>
              <a:defRPr sz="1632">
                <a:solidFill>
                  <a:schemeClr val="bg1"/>
                </a:solidFill>
                <a:latin typeface="Calibri Light" panose="020F0302020204030204" pitchFamily="34" charset="0"/>
                <a:cs typeface="Calibri Light" panose="020F0302020204030204" pitchFamily="34" charset="0"/>
              </a:defRPr>
            </a:lvl2pPr>
            <a:lvl3pPr marL="153242" indent="-153242">
              <a:buFont typeface="Arial" panose="020B0604020202020204" pitchFamily="34" charset="0"/>
              <a:buChar char="•"/>
              <a:defRPr sz="1632">
                <a:solidFill>
                  <a:schemeClr val="bg1"/>
                </a:solidFill>
                <a:latin typeface="Calibri Light" panose="020F0302020204030204" pitchFamily="34" charset="0"/>
                <a:cs typeface="Calibri Light" panose="020F0302020204030204" pitchFamily="34" charset="0"/>
              </a:defRPr>
            </a:lvl3pPr>
            <a:lvl4pPr marL="153242" indent="-153242">
              <a:buFont typeface="Arial" panose="020B0604020202020204" pitchFamily="34" charset="0"/>
              <a:buChar char="•"/>
              <a:defRPr sz="1632">
                <a:solidFill>
                  <a:schemeClr val="bg1"/>
                </a:solidFill>
                <a:latin typeface="Calibri Light" panose="020F0302020204030204" pitchFamily="34" charset="0"/>
                <a:cs typeface="Calibri Light" panose="020F0302020204030204" pitchFamily="34" charset="0"/>
              </a:defRPr>
            </a:lvl4pPr>
            <a:lvl5pPr marL="153242" indent="-153242">
              <a:buFont typeface="Arial" panose="020B0604020202020204" pitchFamily="34" charset="0"/>
              <a:buChar char="•"/>
              <a:defRPr sz="1632">
                <a:solidFill>
                  <a:schemeClr val="bg1"/>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24"/>
          </p:nvPr>
        </p:nvSpPr>
        <p:spPr>
          <a:xfrm>
            <a:off x="6300283" y="1023273"/>
            <a:ext cx="5648232" cy="5399170"/>
          </a:xfrm>
        </p:spPr>
        <p:txBody>
          <a:bodyPr/>
          <a:lstStyle/>
          <a:p>
            <a:r>
              <a:rPr lang="en-US"/>
              <a:t>Click icon to add picture</a:t>
            </a:r>
          </a:p>
        </p:txBody>
      </p:sp>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pic>
        <p:nvPicPr>
          <p:cNvPr id="25" name="Picture 2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Tree>
    <p:extLst>
      <p:ext uri="{BB962C8B-B14F-4D97-AF65-F5344CB8AC3E}">
        <p14:creationId xmlns:p14="http://schemas.microsoft.com/office/powerpoint/2010/main" val="21136078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Image with text samples">
    <p:spTree>
      <p:nvGrpSpPr>
        <p:cNvPr id="1" name=""/>
        <p:cNvGrpSpPr/>
        <p:nvPr/>
      </p:nvGrpSpPr>
      <p:grpSpPr>
        <a:xfrm>
          <a:off x="0" y="0"/>
          <a:ext cx="0" cy="0"/>
          <a:chOff x="0" y="0"/>
          <a:chExt cx="0" cy="0"/>
        </a:xfrm>
      </p:grpSpPr>
      <p:sp>
        <p:nvSpPr>
          <p:cNvPr id="13" name="Rectangle 12"/>
          <p:cNvSpPr/>
          <p:nvPr/>
        </p:nvSpPr>
        <p:spPr>
          <a:xfrm>
            <a:off x="0" y="5815818"/>
            <a:ext cx="12436475" cy="1188734"/>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12" name="Picture 11"/>
          <p:cNvPicPr>
            <a:picLocks noChangeAspect="1"/>
          </p:cNvPicPr>
          <p:nvPr/>
        </p:nvPicPr>
        <p:blipFill rotWithShape="1">
          <a:blip r:embed="rId2" cstate="screen">
            <a:extLst>
              <a:ext uri="{28A0092B-C50C-407E-A947-70E740481C1C}">
                <a14:useLocalDpi xmlns:a14="http://schemas.microsoft.com/office/drawing/2010/main" val="0"/>
              </a:ext>
            </a:extLst>
          </a:blip>
          <a:srcRect l="8228" t="12760" r="8032" b="14164"/>
          <a:stretch/>
        </p:blipFill>
        <p:spPr>
          <a:xfrm>
            <a:off x="3901444" y="1267705"/>
            <a:ext cx="8217757" cy="4869888"/>
          </a:xfrm>
          <a:prstGeom prst="rect">
            <a:avLst/>
          </a:prstGeom>
        </p:spPr>
      </p:pic>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bg1"/>
                </a:solidFill>
              </a:defRPr>
            </a:lvl1pPr>
          </a:lstStyle>
          <a:p>
            <a:fld id="{D39F9299-0081-478D-A79D-D6B610522A73}" type="slidenum">
              <a:rPr lang="en-US" smtClean="0"/>
              <a:t>‹#›</a:t>
            </a:fld>
            <a:endParaRPr lang="en-US"/>
          </a:p>
        </p:txBody>
      </p:sp>
      <p:pic>
        <p:nvPicPr>
          <p:cNvPr id="25" name="Picture 2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
        <p:nvSpPr>
          <p:cNvPr id="34" name="Text Placeholder 3"/>
          <p:cNvSpPr>
            <a:spLocks noGrp="1"/>
          </p:cNvSpPr>
          <p:nvPr>
            <p:ph type="body" sz="half" idx="21" hasCustomPrompt="1"/>
          </p:nvPr>
        </p:nvSpPr>
        <p:spPr>
          <a:xfrm>
            <a:off x="496596" y="1710335"/>
            <a:ext cx="2690252" cy="698891"/>
          </a:xfrm>
        </p:spPr>
        <p:txBody>
          <a:bodyPr>
            <a:noAutofit/>
          </a:bodyPr>
          <a:lstStyle>
            <a:lvl1pPr marL="0" indent="0">
              <a:buNone/>
              <a:defRPr sz="2448">
                <a:solidFill>
                  <a:schemeClr val="accent1"/>
                </a:solidFill>
              </a:defRPr>
            </a:lvl1pPr>
            <a:lvl2pPr marL="466197" indent="0">
              <a:buNone/>
              <a:defRPr sz="1224"/>
            </a:lvl2pPr>
            <a:lvl3pPr marL="932394" indent="0">
              <a:buNone/>
              <a:defRPr sz="1088"/>
            </a:lvl3pPr>
            <a:lvl4pPr marL="1398591" indent="0">
              <a:buNone/>
              <a:defRPr sz="952"/>
            </a:lvl4pPr>
            <a:lvl5pPr marL="1864788" indent="0">
              <a:buNone/>
              <a:defRPr sz="952"/>
            </a:lvl5pPr>
            <a:lvl6pPr marL="2330986" indent="0">
              <a:buNone/>
              <a:defRPr sz="952"/>
            </a:lvl6pPr>
            <a:lvl7pPr marL="2797182" indent="0">
              <a:buNone/>
              <a:defRPr sz="952"/>
            </a:lvl7pPr>
            <a:lvl8pPr marL="3263379" indent="0">
              <a:buNone/>
              <a:defRPr sz="952"/>
            </a:lvl8pPr>
            <a:lvl9pPr marL="3729576" indent="0">
              <a:buNone/>
              <a:defRPr sz="952"/>
            </a:lvl9pPr>
          </a:lstStyle>
          <a:p>
            <a:pPr lvl="0"/>
            <a:r>
              <a:rPr lang="en-US"/>
              <a:t>Headlines goes here</a:t>
            </a:r>
          </a:p>
        </p:txBody>
      </p:sp>
      <p:sp>
        <p:nvSpPr>
          <p:cNvPr id="36" name="Text Placeholder 4"/>
          <p:cNvSpPr>
            <a:spLocks noGrp="1"/>
          </p:cNvSpPr>
          <p:nvPr>
            <p:ph type="body" sz="quarter" idx="23"/>
          </p:nvPr>
        </p:nvSpPr>
        <p:spPr>
          <a:xfrm>
            <a:off x="505590" y="2558427"/>
            <a:ext cx="2996733" cy="1876001"/>
          </a:xfrm>
        </p:spPr>
        <p:txBody>
          <a:bodyPr>
            <a:normAutofit/>
          </a:bodyPr>
          <a:lstStyle>
            <a:lvl1pPr marL="0" indent="0">
              <a:buFont typeface="Arial" panose="020B0604020202020204" pitchFamily="34" charset="0"/>
              <a:buNone/>
              <a:defRPr sz="1632">
                <a:solidFill>
                  <a:schemeClr val="tx1"/>
                </a:solidFill>
                <a:latin typeface="Calibri Light" panose="020F0302020204030204" pitchFamily="34" charset="0"/>
                <a:cs typeface="Calibri Light" panose="020F0302020204030204" pitchFamily="34" charset="0"/>
              </a:defRPr>
            </a:lvl1pPr>
            <a:lvl2pPr marL="0" indent="0">
              <a:buFont typeface="Arial" panose="020B0604020202020204" pitchFamily="34" charset="0"/>
              <a:buNone/>
              <a:defRPr sz="1632">
                <a:latin typeface="Trebuchet MS" panose="020B0603020202020204" pitchFamily="34" charset="0"/>
              </a:defRPr>
            </a:lvl2pPr>
            <a:lvl3pPr marL="0" indent="0">
              <a:buFont typeface="Arial" panose="020B0604020202020204" pitchFamily="34" charset="0"/>
              <a:buNone/>
              <a:defRPr sz="1632">
                <a:latin typeface="Trebuchet MS" panose="020B0603020202020204" pitchFamily="34" charset="0"/>
              </a:defRPr>
            </a:lvl3pPr>
            <a:lvl4pPr marL="0" indent="0">
              <a:buFont typeface="Arial" panose="020B0604020202020204" pitchFamily="34" charset="0"/>
              <a:buNone/>
              <a:defRPr sz="1632">
                <a:latin typeface="Trebuchet MS" panose="020B0603020202020204" pitchFamily="34" charset="0"/>
              </a:defRPr>
            </a:lvl4pPr>
            <a:lvl5pPr marL="0" indent="0">
              <a:buFont typeface="Arial" panose="020B0604020202020204" pitchFamily="34" charset="0"/>
              <a:buNone/>
              <a:defRPr sz="1632">
                <a:latin typeface="Trebuchet MS" panose="020B0603020202020204" pitchFamily="34" charset="0"/>
              </a:defRPr>
            </a:lvl5pPr>
          </a:lstStyle>
          <a:p>
            <a:pPr lvl="0"/>
            <a:r>
              <a:rPr lang="en-US"/>
              <a:t>Click to edit Master text styles</a:t>
            </a:r>
          </a:p>
        </p:txBody>
      </p:sp>
    </p:spTree>
    <p:extLst>
      <p:ext uri="{BB962C8B-B14F-4D97-AF65-F5344CB8AC3E}">
        <p14:creationId xmlns:p14="http://schemas.microsoft.com/office/powerpoint/2010/main" val="1872585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_Image with no text samples">
    <p:spTree>
      <p:nvGrpSpPr>
        <p:cNvPr id="1" name=""/>
        <p:cNvGrpSpPr/>
        <p:nvPr/>
      </p:nvGrpSpPr>
      <p:grpSpPr>
        <a:xfrm>
          <a:off x="0" y="0"/>
          <a:ext cx="0" cy="0"/>
          <a:chOff x="0" y="0"/>
          <a:chExt cx="0" cy="0"/>
        </a:xfrm>
      </p:grpSpPr>
      <p:sp>
        <p:nvSpPr>
          <p:cNvPr id="9" name="Rectangle 8"/>
          <p:cNvSpPr/>
          <p:nvPr/>
        </p:nvSpPr>
        <p:spPr>
          <a:xfrm>
            <a:off x="0" y="5725151"/>
            <a:ext cx="12436475" cy="1279403"/>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13" name="Rectangle 12"/>
          <p:cNvSpPr/>
          <p:nvPr/>
        </p:nvSpPr>
        <p:spPr>
          <a:xfrm>
            <a:off x="0" y="5725151"/>
            <a:ext cx="12436475" cy="1279403"/>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pic>
        <p:nvPicPr>
          <p:cNvPr id="16" name="Picture 15"/>
          <p:cNvPicPr>
            <a:picLocks noChangeAspect="1"/>
          </p:cNvPicPr>
          <p:nvPr/>
        </p:nvPicPr>
        <p:blipFill rotWithShape="1">
          <a:blip r:embed="rId2" cstate="screen">
            <a:extLst>
              <a:ext uri="{28A0092B-C50C-407E-A947-70E740481C1C}">
                <a14:useLocalDpi xmlns:a14="http://schemas.microsoft.com/office/drawing/2010/main" val="0"/>
              </a:ext>
            </a:extLst>
          </a:blip>
          <a:srcRect l="8228" t="12760" r="8032" b="14164"/>
          <a:stretch/>
        </p:blipFill>
        <p:spPr>
          <a:xfrm>
            <a:off x="1740193" y="1267704"/>
            <a:ext cx="8833219" cy="5234614"/>
          </a:xfrm>
          <a:prstGeom prst="rect">
            <a:avLst/>
          </a:prstGeom>
        </p:spPr>
      </p:pic>
      <p:sp>
        <p:nvSpPr>
          <p:cNvPr id="6"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bg1"/>
                </a:solidFill>
              </a:defRPr>
            </a:lvl1pPr>
          </a:lstStyle>
          <a:p>
            <a:fld id="{D39F9299-0081-478D-A79D-D6B610522A73}" type="slidenum">
              <a:rPr lang="en-US" smtClean="0"/>
              <a:t>‹#›</a:t>
            </a:fld>
            <a:endParaRPr lang="en-US"/>
          </a:p>
        </p:txBody>
      </p:sp>
      <p:pic>
        <p:nvPicPr>
          <p:cNvPr id="25" name="Picture 2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657587" y="6626867"/>
            <a:ext cx="1406318" cy="340544"/>
          </a:xfrm>
          <a:prstGeom prst="rect">
            <a:avLst/>
          </a:prstGeom>
        </p:spPr>
      </p:pic>
      <p:sp>
        <p:nvSpPr>
          <p:cNvPr id="26" name="Title Placeholder 1"/>
          <p:cNvSpPr>
            <a:spLocks noGrp="1"/>
          </p:cNvSpPr>
          <p:nvPr>
            <p:ph type="title" hasCustomPrompt="1"/>
          </p:nvPr>
        </p:nvSpPr>
        <p:spPr>
          <a:xfrm>
            <a:off x="365094" y="164702"/>
            <a:ext cx="11583422" cy="723495"/>
          </a:xfrm>
          <a:prstGeom prst="rect">
            <a:avLst/>
          </a:prstGeom>
          <a:ln>
            <a:noFill/>
          </a:ln>
        </p:spPr>
        <p:txBody>
          <a:bodyPr vert="horz" lIns="68580" tIns="34290" rIns="68580" bIns="0" rtlCol="0" anchor="b">
            <a:noAutofit/>
          </a:bodyPr>
          <a:lstStyle>
            <a:lvl1pPr>
              <a:defRPr/>
            </a:lvl1pPr>
          </a:lstStyle>
          <a:p>
            <a:r>
              <a:rPr lang="en-US"/>
              <a:t>Click to edit master</a:t>
            </a:r>
          </a:p>
        </p:txBody>
      </p:sp>
    </p:spTree>
    <p:extLst>
      <p:ext uri="{BB962C8B-B14F-4D97-AF65-F5344CB8AC3E}">
        <p14:creationId xmlns:p14="http://schemas.microsoft.com/office/powerpoint/2010/main" val="20899605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defRPr>
            </a:lvl1pPr>
          </a:lstStyle>
          <a:p>
            <a:fld id="{D39F9299-0081-478D-A79D-D6B610522A73}" type="slidenum">
              <a:rPr lang="en-US" smtClean="0"/>
              <a:t>‹#›</a:t>
            </a:fld>
            <a:endParaRPr lang="en-US"/>
          </a:p>
        </p:txBody>
      </p:sp>
    </p:spTree>
    <p:extLst>
      <p:ext uri="{BB962C8B-B14F-4D97-AF65-F5344CB8AC3E}">
        <p14:creationId xmlns:p14="http://schemas.microsoft.com/office/powerpoint/2010/main" val="1705391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image" Target="../media/image12.png"/><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theme" Target="../theme/theme2.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image" Target="../media/image26.emf"/><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theme" Target="../theme/theme4.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8"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slideLayout" Target="../slideLayouts/slideLayout111.xml"/><Relationship Id="rId7" Type="http://schemas.openxmlformats.org/officeDocument/2006/relationships/theme" Target="../theme/theme5.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5" Type="http://schemas.openxmlformats.org/officeDocument/2006/relationships/slideLayout" Target="../slideLayouts/slideLayout113.xml"/><Relationship Id="rId4"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oleObject" Target="../embeddings/oleObject2.bin"/><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tags" Target="../tags/tag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theme" Target="../theme/theme6.xml"/><Relationship Id="rId30" Type="http://schemas.openxmlformats.org/officeDocument/2006/relationships/image" Target="../media/image4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theme" Target="../theme/theme7.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8" Type="http://schemas.openxmlformats.org/officeDocument/2006/relationships/slideLayout" Target="../slideLayouts/slideLayout148.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slideLayout" Target="../slideLayouts/slideLayout212.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theme" Target="../theme/theme8.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slideLayout" Target="../slideLayouts/slideLayout214.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image" Target="../media/image98.png"/><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5299" y="294444"/>
            <a:ext cx="10757074" cy="1165754"/>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8063" y="1655442"/>
            <a:ext cx="10723677" cy="2633031"/>
          </a:xfrm>
          <a:prstGeom prst="rect">
            <a:avLst/>
          </a:prstGeom>
        </p:spPr>
        <p:txBody>
          <a:bodyPr vert="horz" lIns="146288" tIns="73144" rIns="146288" bIns="73144" rtlCol="0">
            <a:normAutofit/>
          </a:bodyPr>
          <a:lstStyle/>
          <a:p>
            <a:pPr marL="169860" lvl="0" indent="-169860" algn="l" defTabSz="50862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310" lvl="1" indent="-174622" algn="l" defTabSz="508623" rtl="0" eaLnBrk="1" latinLnBrk="0" hangingPunct="1">
              <a:spcBef>
                <a:spcPct val="20000"/>
              </a:spcBef>
              <a:buClr>
                <a:schemeClr val="accent4"/>
              </a:buClr>
              <a:buFont typeface="Arial" panose="020B0604020202020204" pitchFamily="34" charset="0"/>
              <a:buChar char="•"/>
            </a:pPr>
            <a:r>
              <a:rPr lang="en-US"/>
              <a:t>Level 2</a:t>
            </a:r>
          </a:p>
          <a:p>
            <a:pPr marL="511169" lvl="2" indent="-177797" algn="l" defTabSz="508623" rtl="0" eaLnBrk="1" latinLnBrk="0" hangingPunct="1">
              <a:spcBef>
                <a:spcPct val="20000"/>
              </a:spcBef>
              <a:buClr>
                <a:schemeClr val="accent4"/>
              </a:buClr>
              <a:buFont typeface="Arial" panose="020B0604020202020204" pitchFamily="34" charset="0"/>
              <a:buChar char="•"/>
            </a:pPr>
            <a:r>
              <a:rPr lang="en-US"/>
              <a:t>Level 3</a:t>
            </a:r>
          </a:p>
          <a:p>
            <a:pPr marL="634992" lvl="3" indent="-133348" algn="l" defTabSz="50862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556569" y="6483350"/>
            <a:ext cx="695837" cy="371475"/>
          </a:xfrm>
          <a:prstGeom prst="rect">
            <a:avLst/>
          </a:prstGeom>
        </p:spPr>
        <p:txBody>
          <a:bodyPr vert="horz" lIns="91440" tIns="45720" rIns="91440" bIns="45720" rtlCol="0" anchor="ctr"/>
          <a:lstStyle>
            <a:lvl1pPr algn="r">
              <a:defRPr sz="700">
                <a:solidFill>
                  <a:schemeClr val="accent2"/>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622132825"/>
      </p:ext>
    </p:extLst>
  </p:cSld>
  <p:clrMap bg1="lt1" tx1="dk1" bg2="lt2" tx2="dk2" accent1="accent1" accent2="accent2" accent3="accent3" accent4="accent4" accent5="accent5" accent6="accent6" hlink="hlink" folHlink="folHlink"/>
  <p:sldLayoutIdLst>
    <p:sldLayoutId id="2147483796" r:id="rId1"/>
    <p:sldLayoutId id="2147483795" r:id="rId2"/>
    <p:sldLayoutId id="2147483798" r:id="rId3"/>
    <p:sldLayoutId id="2147483799" r:id="rId4"/>
    <p:sldLayoutId id="2147483809" r:id="rId5"/>
    <p:sldLayoutId id="2147483805" r:id="rId6"/>
    <p:sldLayoutId id="2147483766" r:id="rId7"/>
    <p:sldLayoutId id="2147483765" r:id="rId8"/>
    <p:sldLayoutId id="2147483726" r:id="rId9"/>
    <p:sldLayoutId id="2147483751" r:id="rId10"/>
    <p:sldLayoutId id="2147483761" r:id="rId11"/>
    <p:sldLayoutId id="2147483762" r:id="rId12"/>
    <p:sldLayoutId id="2147483763" r:id="rId13"/>
    <p:sldLayoutId id="2147483769" r:id="rId14"/>
    <p:sldLayoutId id="2147483747" r:id="rId15"/>
    <p:sldLayoutId id="2147483791" r:id="rId16"/>
    <p:sldLayoutId id="2147483760" r:id="rId17"/>
    <p:sldLayoutId id="2147483779" r:id="rId18"/>
    <p:sldLayoutId id="2147483786" r:id="rId19"/>
    <p:sldLayoutId id="2147483797" r:id="rId20"/>
    <p:sldLayoutId id="2147483803" r:id="rId21"/>
    <p:sldLayoutId id="2147483806" r:id="rId22"/>
    <p:sldLayoutId id="2147483755" r:id="rId23"/>
    <p:sldLayoutId id="2147483764" r:id="rId24"/>
    <p:sldLayoutId id="2147483801" r:id="rId25"/>
    <p:sldLayoutId id="2147483752" r:id="rId26"/>
    <p:sldLayoutId id="2147483754" r:id="rId27"/>
    <p:sldLayoutId id="2147483802" r:id="rId28"/>
    <p:sldLayoutId id="2147483770" r:id="rId29"/>
    <p:sldLayoutId id="2147483759" r:id="rId30"/>
    <p:sldLayoutId id="2147483785" r:id="rId31"/>
    <p:sldLayoutId id="2147483800" r:id="rId32"/>
    <p:sldLayoutId id="2147483804" r:id="rId33"/>
    <p:sldLayoutId id="2147483807" r:id="rId34"/>
    <p:sldLayoutId id="2147483789" r:id="rId35"/>
    <p:sldLayoutId id="2147483808" r:id="rId36"/>
    <p:sldLayoutId id="2147484030" r:id="rId37"/>
    <p:sldLayoutId id="2147484216" r:id="rId38"/>
    <p:sldLayoutId id="2147484321" r:id="rId39"/>
    <p:sldLayoutId id="2147484383" r:id="rId40"/>
    <p:sldLayoutId id="2147484386" r:id="rId41"/>
  </p:sldLayoutIdLst>
  <p:transition>
    <p:fade/>
  </p:transition>
  <p:hf sldNum="0" hdr="0" dt="0"/>
  <p:txStyles>
    <p:titleStyle>
      <a:lvl1pPr marL="0" indent="0" algn="l" defTabSz="508623" rtl="0" eaLnBrk="1" latinLnBrk="0" hangingPunct="1">
        <a:lnSpc>
          <a:spcPct val="90000"/>
        </a:lnSpc>
        <a:spcBef>
          <a:spcPts val="0"/>
        </a:spcBef>
        <a:spcAft>
          <a:spcPts val="0"/>
        </a:spcAft>
        <a:buFont typeface="Arial"/>
        <a:buNone/>
        <a:defRPr lang="en-US" sz="3600" b="1"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p:bodyStyle>
    <p:otherStyle>
      <a:defPPr>
        <a:defRPr lang="en-US"/>
      </a:defPPr>
      <a:lvl1pPr marL="0" algn="l" defTabSz="508623" rtl="0" eaLnBrk="1" latinLnBrk="0" hangingPunct="1">
        <a:defRPr sz="2017" kern="1200">
          <a:solidFill>
            <a:schemeClr val="tx1"/>
          </a:solidFill>
          <a:latin typeface="+mn-lt"/>
          <a:ea typeface="+mn-ea"/>
          <a:cs typeface="+mn-cs"/>
        </a:defRPr>
      </a:lvl1pPr>
      <a:lvl2pPr marL="508623" algn="l" defTabSz="508623" rtl="0" eaLnBrk="1" latinLnBrk="0" hangingPunct="1">
        <a:defRPr sz="2017" kern="1200">
          <a:solidFill>
            <a:schemeClr val="tx1"/>
          </a:solidFill>
          <a:latin typeface="+mn-lt"/>
          <a:ea typeface="+mn-ea"/>
          <a:cs typeface="+mn-cs"/>
        </a:defRPr>
      </a:lvl2pPr>
      <a:lvl3pPr marL="1017245" algn="l" defTabSz="508623" rtl="0" eaLnBrk="1" latinLnBrk="0" hangingPunct="1">
        <a:defRPr sz="2017" kern="1200">
          <a:solidFill>
            <a:schemeClr val="tx1"/>
          </a:solidFill>
          <a:latin typeface="+mn-lt"/>
          <a:ea typeface="+mn-ea"/>
          <a:cs typeface="+mn-cs"/>
        </a:defRPr>
      </a:lvl3pPr>
      <a:lvl4pPr marL="1525867" algn="l" defTabSz="508623" rtl="0" eaLnBrk="1" latinLnBrk="0" hangingPunct="1">
        <a:defRPr sz="2017" kern="1200">
          <a:solidFill>
            <a:schemeClr val="tx1"/>
          </a:solidFill>
          <a:latin typeface="+mn-lt"/>
          <a:ea typeface="+mn-ea"/>
          <a:cs typeface="+mn-cs"/>
        </a:defRPr>
      </a:lvl4pPr>
      <a:lvl5pPr marL="2034489" algn="l" defTabSz="508623" rtl="0" eaLnBrk="1" latinLnBrk="0" hangingPunct="1">
        <a:defRPr sz="2017" kern="1200">
          <a:solidFill>
            <a:schemeClr val="tx1"/>
          </a:solidFill>
          <a:latin typeface="+mn-lt"/>
          <a:ea typeface="+mn-ea"/>
          <a:cs typeface="+mn-cs"/>
        </a:defRPr>
      </a:lvl5pPr>
      <a:lvl6pPr marL="2543112" algn="l" defTabSz="508623" rtl="0" eaLnBrk="1" latinLnBrk="0" hangingPunct="1">
        <a:defRPr sz="2017" kern="1200">
          <a:solidFill>
            <a:schemeClr val="tx1"/>
          </a:solidFill>
          <a:latin typeface="+mn-lt"/>
          <a:ea typeface="+mn-ea"/>
          <a:cs typeface="+mn-cs"/>
        </a:defRPr>
      </a:lvl6pPr>
      <a:lvl7pPr marL="3051735" algn="l" defTabSz="508623" rtl="0" eaLnBrk="1" latinLnBrk="0" hangingPunct="1">
        <a:defRPr sz="2017" kern="1200">
          <a:solidFill>
            <a:schemeClr val="tx1"/>
          </a:solidFill>
          <a:latin typeface="+mn-lt"/>
          <a:ea typeface="+mn-ea"/>
          <a:cs typeface="+mn-cs"/>
        </a:defRPr>
      </a:lvl7pPr>
      <a:lvl8pPr marL="3560359" algn="l" defTabSz="508623" rtl="0" eaLnBrk="1" latinLnBrk="0" hangingPunct="1">
        <a:defRPr sz="2017" kern="1200">
          <a:solidFill>
            <a:schemeClr val="tx1"/>
          </a:solidFill>
          <a:latin typeface="+mn-lt"/>
          <a:ea typeface="+mn-ea"/>
          <a:cs typeface="+mn-cs"/>
        </a:defRPr>
      </a:lvl8pPr>
      <a:lvl9pPr marL="4068980" algn="l" defTabSz="508623" rtl="0" eaLnBrk="1" latinLnBrk="0" hangingPunct="1">
        <a:defRPr sz="201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userDrawn="1">
          <p15:clr>
            <a:srgbClr val="F26B43"/>
          </p15:clr>
        </p15:guide>
        <p15:guide id="5" pos="3917" userDrawn="1">
          <p15:clr>
            <a:srgbClr val="F26B43"/>
          </p15:clr>
        </p15:guide>
        <p15:guide id="7" orient="horz" pos="283" userDrawn="1">
          <p15:clr>
            <a:srgbClr val="F26B43"/>
          </p15:clr>
        </p15:guide>
        <p15:guide id="8" pos="7541" userDrawn="1">
          <p15:clr>
            <a:srgbClr val="F26B43"/>
          </p15:clr>
        </p15:guide>
        <p15:guide id="9" pos="288" userDrawn="1">
          <p15:clr>
            <a:srgbClr val="F26B43"/>
          </p15:clr>
        </p15:guide>
        <p15:guide id="10" orient="horz" pos="4112" userDrawn="1">
          <p15:clr>
            <a:srgbClr val="F26B43"/>
          </p15:clr>
        </p15:guide>
        <p15:guide id="11" orient="horz" pos="1147" userDrawn="1">
          <p15:clr>
            <a:srgbClr val="F26B43"/>
          </p15:clr>
        </p15:guide>
        <p15:guide id="12" pos="4064" userDrawn="1">
          <p15:clr>
            <a:srgbClr val="F26B43"/>
          </p15:clr>
        </p15:guide>
        <p15:guide id="13" pos="377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Copyright Microsoft 2020</a:t>
            </a:r>
          </a:p>
        </p:txBody>
      </p:sp>
      <p:pic>
        <p:nvPicPr>
          <p:cNvPr id="7" name="Picture 6"/>
          <p:cNvPicPr>
            <a:picLocks noChangeAspect="1"/>
          </p:cNvPicPr>
          <p:nvPr userDrawn="1"/>
        </p:nvPicPr>
        <p:blipFill>
          <a:blip r:embed="rId24" cstate="screen">
            <a:extLst>
              <a:ext uri="{28A0092B-C50C-407E-A947-70E740481C1C}">
                <a14:useLocalDpi xmlns:a14="http://schemas.microsoft.com/office/drawing/2010/main" val="0"/>
              </a:ext>
            </a:extLst>
          </a:blip>
          <a:stretch>
            <a:fillRect/>
          </a:stretch>
        </p:blipFill>
        <p:spPr>
          <a:xfrm rot="5400000">
            <a:off x="9621909" y="2898553"/>
            <a:ext cx="6979503" cy="1188133"/>
          </a:xfrm>
          <a:prstGeom prst="rect">
            <a:avLst/>
          </a:prstGeom>
        </p:spPr>
      </p:pic>
    </p:spTree>
    <p:extLst>
      <p:ext uri="{BB962C8B-B14F-4D97-AF65-F5344CB8AC3E}">
        <p14:creationId xmlns:p14="http://schemas.microsoft.com/office/powerpoint/2010/main" val="3301616219"/>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5" cstate="screen">
            <a:extLst>
              <a:ext uri="{28A0092B-C50C-407E-A947-70E740481C1C}">
                <a14:useLocalDpi xmlns:a14="http://schemas.microsoft.com/office/drawing/2010/main" val="0"/>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08420461"/>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Lst>
  <p:transition>
    <p:fade/>
  </p:transition>
  <p:hf sldNum="0" hd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6239" y="261785"/>
            <a:ext cx="11462276" cy="635760"/>
          </a:xfrm>
          <a:prstGeom prst="rect">
            <a:avLst/>
          </a:prstGeom>
          <a:ln>
            <a:noFill/>
          </a:ln>
        </p:spPr>
        <p:txBody>
          <a:bodyPr vert="horz" lIns="0" tIns="0" rIns="0" bIns="0" rtlCol="0" anchor="b">
            <a:noAutofit/>
          </a:bodyPr>
          <a:lstStyle/>
          <a:p>
            <a:r>
              <a:rPr lang="en-US"/>
              <a:t>Click to edit master title</a:t>
            </a:r>
          </a:p>
        </p:txBody>
      </p:sp>
      <p:sp>
        <p:nvSpPr>
          <p:cNvPr id="3" name="Text Placeholder 2"/>
          <p:cNvSpPr>
            <a:spLocks noGrp="1"/>
          </p:cNvSpPr>
          <p:nvPr>
            <p:ph type="body" idx="1"/>
          </p:nvPr>
        </p:nvSpPr>
        <p:spPr>
          <a:xfrm>
            <a:off x="496595" y="1029752"/>
            <a:ext cx="11451920" cy="5393292"/>
          </a:xfrm>
          <a:prstGeom prst="rect">
            <a:avLst/>
          </a:prstGeom>
        </p:spPr>
        <p:txBody>
          <a:bodyPr vert="horz" lIns="0" tIns="0" rIns="68580" bIns="34290" rtlCol="0">
            <a:noAutofit/>
          </a:bodyPr>
          <a:lstStyle/>
          <a:p>
            <a:pPr lvl="0"/>
            <a:r>
              <a:rPr lang="en-US"/>
              <a:t>Click to edit Master text styles</a:t>
            </a:r>
          </a:p>
          <a:p>
            <a:pPr lvl="1"/>
            <a:r>
              <a:rPr lang="en-US"/>
              <a:t>Second level</a:t>
            </a:r>
          </a:p>
          <a:p>
            <a:pPr lvl="2"/>
            <a:r>
              <a:rPr lang="en-US"/>
              <a:t>Third level</a:t>
            </a:r>
          </a:p>
        </p:txBody>
      </p:sp>
      <p:sp>
        <p:nvSpPr>
          <p:cNvPr id="9" name="Slide Number Placeholder 8"/>
          <p:cNvSpPr>
            <a:spLocks noGrp="1"/>
          </p:cNvSpPr>
          <p:nvPr>
            <p:ph type="sldNum" sz="quarter" idx="4"/>
          </p:nvPr>
        </p:nvSpPr>
        <p:spPr>
          <a:xfrm>
            <a:off x="350182" y="6597869"/>
            <a:ext cx="987920" cy="396657"/>
          </a:xfrm>
          <a:prstGeom prst="rect">
            <a:avLst/>
          </a:prstGeom>
        </p:spPr>
        <p:txBody>
          <a:bodyPr vert="horz" lIns="68580" tIns="34290" rIns="68580" bIns="34290" rtlCol="0" anchor="ctr"/>
          <a:lstStyle>
            <a:lvl1pPr algn="l">
              <a:defRPr sz="1224">
                <a:solidFill>
                  <a:schemeClr val="tx1">
                    <a:tint val="75000"/>
                  </a:schemeClr>
                </a:solidFill>
                <a:latin typeface="Calibri Light" panose="020F0302020204030204" pitchFamily="34" charset="0"/>
                <a:cs typeface="Calibri Light" panose="020F0302020204030204" pitchFamily="34" charset="0"/>
              </a:defRPr>
            </a:lvl1pPr>
          </a:lstStyle>
          <a:p>
            <a:fld id="{D39F9299-0081-478D-A79D-D6B610522A73}" type="slidenum">
              <a:rPr lang="en-US" smtClean="0"/>
              <a:t>‹#›</a:t>
            </a:fld>
            <a:endParaRPr lang="en-US"/>
          </a:p>
        </p:txBody>
      </p:sp>
    </p:spTree>
    <p:extLst>
      <p:ext uri="{BB962C8B-B14F-4D97-AF65-F5344CB8AC3E}">
        <p14:creationId xmlns:p14="http://schemas.microsoft.com/office/powerpoint/2010/main" val="2690114084"/>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 id="2147484100" r:id="rId13"/>
    <p:sldLayoutId id="2147484101" r:id="rId14"/>
    <p:sldLayoutId id="2147484102" r:id="rId15"/>
    <p:sldLayoutId id="2147484103" r:id="rId16"/>
    <p:sldLayoutId id="2147484104" r:id="rId17"/>
    <p:sldLayoutId id="2147484105" r:id="rId18"/>
    <p:sldLayoutId id="2147484106" r:id="rId19"/>
    <p:sldLayoutId id="2147484107" r:id="rId20"/>
    <p:sldLayoutId id="2147484108" r:id="rId21"/>
    <p:sldLayoutId id="2147484109" r:id="rId22"/>
    <p:sldLayoutId id="2147484110" r:id="rId23"/>
    <p:sldLayoutId id="2147484111" r:id="rId24"/>
    <p:sldLayoutId id="2147484112" r:id="rId25"/>
    <p:sldLayoutId id="2147484113" r:id="rId26"/>
    <p:sldLayoutId id="2147484114" r:id="rId27"/>
    <p:sldLayoutId id="2147484115" r:id="rId28"/>
    <p:sldLayoutId id="2147484116" r:id="rId29"/>
    <p:sldLayoutId id="2147484117" r:id="rId30"/>
    <p:sldLayoutId id="2147484118" r:id="rId31"/>
    <p:sldLayoutId id="2147484119" r:id="rId32"/>
  </p:sldLayoutIdLst>
  <p:hf sldNum="0" hdr="0" dt="0"/>
  <p:txStyles>
    <p:titleStyle>
      <a:lvl1pPr algn="l" defTabSz="466197" rtl="0" eaLnBrk="1" latinLnBrk="0" hangingPunct="1">
        <a:spcBef>
          <a:spcPct val="0"/>
        </a:spcBef>
        <a:buNone/>
        <a:defRPr sz="3264" b="0" i="0" kern="1200">
          <a:solidFill>
            <a:schemeClr val="tx2"/>
          </a:solidFill>
          <a:latin typeface="+mj-lt"/>
          <a:ea typeface="Hiragino Sans GB W3"/>
          <a:cs typeface="Corbel"/>
        </a:defRPr>
      </a:lvl1pPr>
    </p:titleStyle>
    <p:bodyStyle>
      <a:lvl1pPr marL="0" indent="0" algn="l" defTabSz="466197" rtl="0" eaLnBrk="1" latinLnBrk="0" hangingPunct="1">
        <a:spcBef>
          <a:spcPct val="20000"/>
        </a:spcBef>
        <a:buFont typeface="Arial"/>
        <a:buNone/>
        <a:defRPr sz="2448" kern="1200">
          <a:solidFill>
            <a:schemeClr val="accent1"/>
          </a:solidFill>
          <a:latin typeface="+mj-lt"/>
          <a:ea typeface="+mn-ea"/>
          <a:cs typeface="+mn-cs"/>
        </a:defRPr>
      </a:lvl1pPr>
      <a:lvl2pPr marL="621596" indent="-155399" algn="l" defTabSz="466197" rtl="0" eaLnBrk="1" latinLnBrk="0" hangingPunct="1">
        <a:spcBef>
          <a:spcPct val="20000"/>
        </a:spcBef>
        <a:buFont typeface="Arial" panose="020B0604020202020204" pitchFamily="34" charset="0"/>
        <a:buChar char="•"/>
        <a:defRPr sz="1632" kern="1200">
          <a:solidFill>
            <a:schemeClr val="tx1"/>
          </a:solidFill>
          <a:latin typeface="Calibri Light" panose="020F0302020204030204" pitchFamily="34" charset="0"/>
          <a:ea typeface="+mn-ea"/>
          <a:cs typeface="Calibri Light" panose="020F0302020204030204" pitchFamily="34" charset="0"/>
        </a:defRPr>
      </a:lvl2pPr>
      <a:lvl3pPr marL="1087793" indent="-155399" algn="l" defTabSz="466197" rtl="0" eaLnBrk="1" latinLnBrk="0" hangingPunct="1">
        <a:spcBef>
          <a:spcPct val="20000"/>
        </a:spcBef>
        <a:buFont typeface="Arial" panose="020B0604020202020204" pitchFamily="34" charset="0"/>
        <a:buChar char="•"/>
        <a:defRPr sz="1632" kern="1200">
          <a:solidFill>
            <a:schemeClr val="tx1"/>
          </a:solidFill>
          <a:latin typeface="Calibri Light" panose="020F0302020204030204" pitchFamily="34" charset="0"/>
          <a:ea typeface="+mn-ea"/>
          <a:cs typeface="Calibri Light" panose="020F0302020204030204" pitchFamily="34" charset="0"/>
        </a:defRPr>
      </a:lvl3pPr>
      <a:lvl4pPr marL="1631690" indent="-233098" algn="l" defTabSz="466197" rtl="0" eaLnBrk="1" latinLnBrk="0" hangingPunct="1">
        <a:spcBef>
          <a:spcPct val="20000"/>
        </a:spcBef>
        <a:buFont typeface="Arial"/>
        <a:buChar char="–"/>
        <a:defRPr sz="2040" kern="1200">
          <a:solidFill>
            <a:schemeClr val="tx1"/>
          </a:solidFill>
          <a:latin typeface="+mn-lt"/>
          <a:ea typeface="+mn-ea"/>
          <a:cs typeface="+mn-cs"/>
        </a:defRPr>
      </a:lvl4pPr>
      <a:lvl5pPr marL="2097887" indent="-233098" algn="l" defTabSz="466197" rtl="0" eaLnBrk="1" latinLnBrk="0" hangingPunct="1">
        <a:spcBef>
          <a:spcPct val="20000"/>
        </a:spcBef>
        <a:buFont typeface="Arial"/>
        <a:buChar char="»"/>
        <a:defRPr sz="2040" kern="1200">
          <a:solidFill>
            <a:schemeClr val="tx1"/>
          </a:solidFill>
          <a:latin typeface="+mn-lt"/>
          <a:ea typeface="+mn-ea"/>
          <a:cs typeface="+mn-cs"/>
        </a:defRPr>
      </a:lvl5pPr>
      <a:lvl6pPr marL="2564084" indent="-233098" algn="l" defTabSz="466197" rtl="0" eaLnBrk="1" latinLnBrk="0" hangingPunct="1">
        <a:spcBef>
          <a:spcPct val="20000"/>
        </a:spcBef>
        <a:buFont typeface="Arial"/>
        <a:buChar char="•"/>
        <a:defRPr sz="2040" kern="1200">
          <a:solidFill>
            <a:schemeClr val="tx1"/>
          </a:solidFill>
          <a:latin typeface="+mn-lt"/>
          <a:ea typeface="+mn-ea"/>
          <a:cs typeface="+mn-cs"/>
        </a:defRPr>
      </a:lvl6pPr>
      <a:lvl7pPr marL="3030281" indent="-233098" algn="l" defTabSz="466197" rtl="0" eaLnBrk="1" latinLnBrk="0" hangingPunct="1">
        <a:spcBef>
          <a:spcPct val="20000"/>
        </a:spcBef>
        <a:buFont typeface="Arial"/>
        <a:buChar char="•"/>
        <a:defRPr sz="2040" kern="1200">
          <a:solidFill>
            <a:schemeClr val="tx1"/>
          </a:solidFill>
          <a:latin typeface="+mn-lt"/>
          <a:ea typeface="+mn-ea"/>
          <a:cs typeface="+mn-cs"/>
        </a:defRPr>
      </a:lvl7pPr>
      <a:lvl8pPr marL="3496477" indent="-233098" algn="l" defTabSz="466197" rtl="0" eaLnBrk="1" latinLnBrk="0" hangingPunct="1">
        <a:spcBef>
          <a:spcPct val="20000"/>
        </a:spcBef>
        <a:buFont typeface="Arial"/>
        <a:buChar char="•"/>
        <a:defRPr sz="2040" kern="1200">
          <a:solidFill>
            <a:schemeClr val="tx1"/>
          </a:solidFill>
          <a:latin typeface="+mn-lt"/>
          <a:ea typeface="+mn-ea"/>
          <a:cs typeface="+mn-cs"/>
        </a:defRPr>
      </a:lvl8pPr>
      <a:lvl9pPr marL="3962675" indent="-233098" algn="l" defTabSz="466197"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66197" rtl="0" eaLnBrk="1" latinLnBrk="0" hangingPunct="1">
        <a:defRPr sz="1903" kern="1200">
          <a:solidFill>
            <a:schemeClr val="tx1"/>
          </a:solidFill>
          <a:latin typeface="+mn-lt"/>
          <a:ea typeface="+mn-ea"/>
          <a:cs typeface="+mn-cs"/>
        </a:defRPr>
      </a:lvl1pPr>
      <a:lvl2pPr marL="466197" algn="l" defTabSz="466197" rtl="0" eaLnBrk="1" latinLnBrk="0" hangingPunct="1">
        <a:defRPr sz="1903" kern="1200">
          <a:solidFill>
            <a:schemeClr val="tx1"/>
          </a:solidFill>
          <a:latin typeface="+mn-lt"/>
          <a:ea typeface="+mn-ea"/>
          <a:cs typeface="+mn-cs"/>
        </a:defRPr>
      </a:lvl2pPr>
      <a:lvl3pPr marL="932394" algn="l" defTabSz="466197" rtl="0" eaLnBrk="1" latinLnBrk="0" hangingPunct="1">
        <a:defRPr sz="1903" kern="1200">
          <a:solidFill>
            <a:schemeClr val="tx1"/>
          </a:solidFill>
          <a:latin typeface="+mn-lt"/>
          <a:ea typeface="+mn-ea"/>
          <a:cs typeface="+mn-cs"/>
        </a:defRPr>
      </a:lvl3pPr>
      <a:lvl4pPr marL="1398591" algn="l" defTabSz="466197" rtl="0" eaLnBrk="1" latinLnBrk="0" hangingPunct="1">
        <a:defRPr sz="1903" kern="1200">
          <a:solidFill>
            <a:schemeClr val="tx1"/>
          </a:solidFill>
          <a:latin typeface="+mn-lt"/>
          <a:ea typeface="+mn-ea"/>
          <a:cs typeface="+mn-cs"/>
        </a:defRPr>
      </a:lvl4pPr>
      <a:lvl5pPr marL="1864788" algn="l" defTabSz="466197" rtl="0" eaLnBrk="1" latinLnBrk="0" hangingPunct="1">
        <a:defRPr sz="1903" kern="1200">
          <a:solidFill>
            <a:schemeClr val="tx1"/>
          </a:solidFill>
          <a:latin typeface="+mn-lt"/>
          <a:ea typeface="+mn-ea"/>
          <a:cs typeface="+mn-cs"/>
        </a:defRPr>
      </a:lvl5pPr>
      <a:lvl6pPr marL="2330986" algn="l" defTabSz="466197" rtl="0" eaLnBrk="1" latinLnBrk="0" hangingPunct="1">
        <a:defRPr sz="1903" kern="1200">
          <a:solidFill>
            <a:schemeClr val="tx1"/>
          </a:solidFill>
          <a:latin typeface="+mn-lt"/>
          <a:ea typeface="+mn-ea"/>
          <a:cs typeface="+mn-cs"/>
        </a:defRPr>
      </a:lvl6pPr>
      <a:lvl7pPr marL="2797182" algn="l" defTabSz="466197" rtl="0" eaLnBrk="1" latinLnBrk="0" hangingPunct="1">
        <a:defRPr sz="1903" kern="1200">
          <a:solidFill>
            <a:schemeClr val="tx1"/>
          </a:solidFill>
          <a:latin typeface="+mn-lt"/>
          <a:ea typeface="+mn-ea"/>
          <a:cs typeface="+mn-cs"/>
        </a:defRPr>
      </a:lvl7pPr>
      <a:lvl8pPr marL="3263379" algn="l" defTabSz="466197" rtl="0" eaLnBrk="1" latinLnBrk="0" hangingPunct="1">
        <a:defRPr sz="1903" kern="1200">
          <a:solidFill>
            <a:schemeClr val="tx1"/>
          </a:solidFill>
          <a:latin typeface="+mn-lt"/>
          <a:ea typeface="+mn-ea"/>
          <a:cs typeface="+mn-cs"/>
        </a:defRPr>
      </a:lvl8pPr>
      <a:lvl9pPr marL="3729576" algn="l" defTabSz="466197" rtl="0" eaLnBrk="1" latinLnBrk="0" hangingPunct="1">
        <a:defRPr sz="190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75">
          <p15:clr>
            <a:srgbClr val="F26B43"/>
          </p15:clr>
        </p15:guide>
        <p15:guide id="2" pos="230">
          <p15:clr>
            <a:srgbClr val="F26B43"/>
          </p15:clr>
        </p15:guide>
        <p15:guide id="3" orient="horz" pos="468">
          <p15:clr>
            <a:srgbClr val="F26B43"/>
          </p15:clr>
        </p15:guide>
        <p15:guide id="4" orient="horz" pos="612">
          <p15:clr>
            <a:srgbClr val="F26B43"/>
          </p15:clr>
        </p15:guide>
        <p15:guide id="5" orient="horz" pos="377">
          <p15:clr>
            <a:srgbClr val="F26B43"/>
          </p15:clr>
        </p15:guide>
        <p15:guide id="6" pos="553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 cstate="screen">
            <a:extLst>
              <a:ext uri="{28A0092B-C50C-407E-A947-70E740481C1C}">
                <a14:useLocalDpi xmlns:a14="http://schemas.microsoft.com/office/drawing/2010/main" val="0"/>
              </a:ext>
            </a:extLst>
          </a:blip>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724219854"/>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Lst>
  <p:transition>
    <p:fade/>
  </p:transition>
  <p:hf sldNum="0" hd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8"/>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29" imgW="378" imgH="377" progId="TCLayout.ActiveDocument.1">
                  <p:embed/>
                </p:oleObj>
              </mc:Choice>
              <mc:Fallback>
                <p:oleObj name="think-cell Slide" r:id="rId29" imgW="378" imgH="377" progId="TCLayout.ActiveDocument.1">
                  <p:embed/>
                  <p:pic>
                    <p:nvPicPr>
                      <p:cNvPr id="3" name="Object 2" hidden="1"/>
                      <p:cNvPicPr/>
                      <p:nvPr/>
                    </p:nvPicPr>
                    <p:blipFill>
                      <a:blip r:embed="rId30"/>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58764"/>
            <a:ext cx="11889564" cy="954086"/>
          </a:xfrm>
          <a:prstGeom prst="rect">
            <a:avLst/>
          </a:prstGeom>
        </p:spPr>
        <p:txBody>
          <a:bodyPr vert="horz" wrap="square" lIns="146304" tIns="91440" rIns="146304" bIns="91440" rtlCol="0" anchor="t">
            <a:noAutofit/>
          </a:bodyPr>
          <a:lstStyle/>
          <a:p>
            <a:pPr lvl="0"/>
            <a:r>
              <a:rPr lang="en-US"/>
              <a:t>Click to edit Master title style</a:t>
            </a:r>
          </a:p>
        </p:txBody>
      </p:sp>
      <p:sp>
        <p:nvSpPr>
          <p:cNvPr id="4" name="Text Placeholder 3"/>
          <p:cNvSpPr>
            <a:spLocks noGrp="1"/>
          </p:cNvSpPr>
          <p:nvPr>
            <p:ph type="body" idx="1"/>
          </p:nvPr>
        </p:nvSpPr>
        <p:spPr>
          <a:xfrm>
            <a:off x="274641" y="137567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530519"/>
      </p:ext>
    </p:extLst>
  </p:cSld>
  <p:clrMap bg1="dk1" tx1="lt1" bg2="dk2" tx2="lt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bg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546">
          <p15:clr>
            <a:srgbClr val="C35EA4"/>
          </p15:clr>
        </p15:guide>
        <p15:guide id="3" orient="horz" pos="763">
          <p15:clr>
            <a:srgbClr val="C35EA4"/>
          </p15:clr>
        </p15:guide>
        <p15:guide id="4" orient="horz" pos="163">
          <p15:clr>
            <a:srgbClr val="C35EA4"/>
          </p15:clr>
        </p15:guide>
        <p15:guide id="5" orient="horz" pos="4104">
          <p15:clr>
            <a:srgbClr val="C35EA4"/>
          </p15:clr>
        </p15:guide>
        <p15:guide id="6" orient="horz" pos="859">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8288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117673"/>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1329994"/>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384" r:id="rId3"/>
    <p:sldLayoutId id="2147484220" r:id="rId4"/>
    <p:sldLayoutId id="2147484221" r:id="rId5"/>
    <p:sldLayoutId id="2147484222" r:id="rId6"/>
    <p:sldLayoutId id="2147484223" r:id="rId7"/>
    <p:sldLayoutId id="2147484224" r:id="rId8"/>
    <p:sldLayoutId id="2147484225" r:id="rId9"/>
    <p:sldLayoutId id="2147484226" r:id="rId10"/>
    <p:sldLayoutId id="2147484227" r:id="rId11"/>
    <p:sldLayoutId id="2147484228" r:id="rId12"/>
    <p:sldLayoutId id="2147484229" r:id="rId13"/>
    <p:sldLayoutId id="2147484232" r:id="rId14"/>
    <p:sldLayoutId id="2147484234" r:id="rId15"/>
    <p:sldLayoutId id="2147484236" r:id="rId16"/>
    <p:sldLayoutId id="2147484238" r:id="rId17"/>
    <p:sldLayoutId id="2147484239" r:id="rId18"/>
    <p:sldLayoutId id="2147484241" r:id="rId19"/>
    <p:sldLayoutId id="2147484243" r:id="rId20"/>
    <p:sldLayoutId id="2147484245" r:id="rId21"/>
    <p:sldLayoutId id="2147484246" r:id="rId22"/>
    <p:sldLayoutId id="2147484248" r:id="rId23"/>
    <p:sldLayoutId id="2147484251" r:id="rId24"/>
    <p:sldLayoutId id="2147484252" r:id="rId25"/>
    <p:sldLayoutId id="2147484253" r:id="rId26"/>
    <p:sldLayoutId id="2147484254" r:id="rId27"/>
    <p:sldLayoutId id="2147484255" r:id="rId28"/>
    <p:sldLayoutId id="2147484256" r:id="rId29"/>
    <p:sldLayoutId id="2147484257" r:id="rId30"/>
    <p:sldLayoutId id="2147484385"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319" r:id="rId42"/>
    <p:sldLayoutId id="2147484322" r:id="rId43"/>
  </p:sldLayoutIdLst>
  <p:transition>
    <p:fade/>
  </p:transition>
  <p:hf sldNum="0" hdr="0" dt="0"/>
  <p:txStyles>
    <p:titleStyle>
      <a:lvl1pPr algn="l" defTabSz="932384" rtl="0" eaLnBrk="1" latinLnBrk="0" hangingPunct="1">
        <a:lnSpc>
          <a:spcPct val="90000"/>
        </a:lnSpc>
        <a:spcBef>
          <a:spcPct val="0"/>
        </a:spcBef>
        <a:buNone/>
        <a:defRPr lang="en-US" sz="387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3"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64" kern="1200" spc="0" baseline="0">
          <a:gradFill>
            <a:gsLst>
              <a:gs pos="1250">
                <a:schemeClr val="tx1"/>
              </a:gs>
              <a:gs pos="100000">
                <a:schemeClr val="tx1"/>
              </a:gs>
            </a:gsLst>
            <a:lin ang="5400000" scaled="0"/>
          </a:gradFill>
          <a:latin typeface="+mj-lt"/>
          <a:ea typeface="+mn-ea"/>
          <a:cs typeface="+mn-cs"/>
        </a:defRPr>
      </a:lvl1pPr>
      <a:lvl2pPr marL="457024"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48" kern="1200" spc="0" baseline="0">
          <a:gradFill>
            <a:gsLst>
              <a:gs pos="1250">
                <a:schemeClr val="tx1"/>
              </a:gs>
              <a:gs pos="100000">
                <a:schemeClr val="tx1"/>
              </a:gs>
            </a:gsLst>
            <a:lin ang="5400000" scaled="0"/>
          </a:gradFill>
          <a:latin typeface="+mn-lt"/>
          <a:ea typeface="+mn-ea"/>
          <a:cs typeface="+mn-cs"/>
        </a:defRPr>
      </a:lvl2pPr>
      <a:lvl3pPr marL="685537"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3pPr>
      <a:lvl4pPr marL="914049"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4pPr>
      <a:lvl5pPr marL="1142561"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8288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117673"/>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703639"/>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4" r:id="rId5"/>
    <p:sldLayoutId id="2147484329" r:id="rId6"/>
    <p:sldLayoutId id="2147484330" r:id="rId7"/>
    <p:sldLayoutId id="2147484331" r:id="rId8"/>
    <p:sldLayoutId id="2147484332" r:id="rId9"/>
    <p:sldLayoutId id="2147484333" r:id="rId10"/>
    <p:sldLayoutId id="2147484335" r:id="rId11"/>
    <p:sldLayoutId id="2147484334" r:id="rId12"/>
    <p:sldLayoutId id="2147484336" r:id="rId13"/>
    <p:sldLayoutId id="2147484337" r:id="rId14"/>
    <p:sldLayoutId id="2147484340" r:id="rId15"/>
    <p:sldLayoutId id="2147484339"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2" r:id="rId27"/>
    <p:sldLayoutId id="2147484353" r:id="rId28"/>
    <p:sldLayoutId id="2147484354" r:id="rId29"/>
    <p:sldLayoutId id="2147484351" r:id="rId30"/>
    <p:sldLayoutId id="2147484355" r:id="rId31"/>
  </p:sldLayoutIdLst>
  <p:transition>
    <p:fade/>
  </p:transition>
  <p:txStyles>
    <p:titleStyle>
      <a:lvl1pPr algn="l" defTabSz="932384" rtl="0" eaLnBrk="1" latinLnBrk="0" hangingPunct="1">
        <a:lnSpc>
          <a:spcPct val="90000"/>
        </a:lnSpc>
        <a:spcBef>
          <a:spcPct val="0"/>
        </a:spcBef>
        <a:buNone/>
        <a:defRPr lang="en-US" sz="387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3"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64" kern="1200" spc="0" baseline="0">
          <a:gradFill>
            <a:gsLst>
              <a:gs pos="1250">
                <a:schemeClr val="tx1"/>
              </a:gs>
              <a:gs pos="100000">
                <a:schemeClr val="tx1"/>
              </a:gs>
            </a:gsLst>
            <a:lin ang="5400000" scaled="0"/>
          </a:gradFill>
          <a:latin typeface="+mj-lt"/>
          <a:ea typeface="+mn-ea"/>
          <a:cs typeface="+mn-cs"/>
        </a:defRPr>
      </a:lvl1pPr>
      <a:lvl2pPr marL="457024"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48" kern="1200" spc="0" baseline="0">
          <a:gradFill>
            <a:gsLst>
              <a:gs pos="1250">
                <a:schemeClr val="tx1"/>
              </a:gs>
              <a:gs pos="100000">
                <a:schemeClr val="tx1"/>
              </a:gs>
            </a:gsLst>
            <a:lin ang="5400000" scaled="0"/>
          </a:gradFill>
          <a:latin typeface="+mn-lt"/>
          <a:ea typeface="+mn-ea"/>
          <a:cs typeface="+mn-cs"/>
        </a:defRPr>
      </a:lvl2pPr>
      <a:lvl3pPr marL="685537"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3pPr>
      <a:lvl4pPr marL="914049"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4pPr>
      <a:lvl5pPr marL="1142561"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704320" cy="914400"/>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65760" y="1280160"/>
            <a:ext cx="11704320" cy="1828800"/>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8" cstate="screen">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508269225"/>
      </p:ext>
    </p:extLst>
  </p:cSld>
  <p:clrMap bg1="lt1" tx1="dk1" bg2="lt2" tx2="dk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 id="2147484368" r:id="rId12"/>
    <p:sldLayoutId id="2147484369" r:id="rId13"/>
    <p:sldLayoutId id="2147484370" r:id="rId14"/>
    <p:sldLayoutId id="2147484371" r:id="rId15"/>
    <p:sldLayoutId id="2147484372" r:id="rId16"/>
    <p:sldLayoutId id="2147484373" r:id="rId17"/>
    <p:sldLayoutId id="2147484374" r:id="rId18"/>
    <p:sldLayoutId id="2147484375" r:id="rId19"/>
    <p:sldLayoutId id="2147484376" r:id="rId20"/>
    <p:sldLayoutId id="2147484377" r:id="rId21"/>
    <p:sldLayoutId id="2147484378" r:id="rId22"/>
    <p:sldLayoutId id="2147484379" r:id="rId23"/>
    <p:sldLayoutId id="2147484380" r:id="rId24"/>
    <p:sldLayoutId id="2147484381" r:id="rId25"/>
    <p:sldLayoutId id="2147484382" r:id="rId26"/>
  </p:sldLayoutIdLst>
  <p:transition>
    <p:fade/>
  </p:transition>
  <p:txStyles>
    <p:titleStyle>
      <a:lvl1pPr algn="l" defTabSz="932563" rtl="0" eaLnBrk="1" latinLnBrk="0" hangingPunct="1">
        <a:lnSpc>
          <a:spcPct val="90000"/>
        </a:lnSpc>
        <a:spcBef>
          <a:spcPct val="0"/>
        </a:spcBef>
        <a:buNone/>
        <a:defRPr lang="en-US" sz="4799" b="0" kern="1200" cap="none" spc="-70" baseline="0" dirty="0" smtClean="0">
          <a:ln w="3175">
            <a:noFill/>
          </a:ln>
          <a:solidFill>
            <a:schemeClr val="tx2"/>
          </a:soli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112" marR="0" indent="-228557" algn="l" defTabSz="932563"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0.xml.rels><?xml version="1.0" encoding="UTF-8" standalone="yes"?>
<Relationships xmlns="http://schemas.openxmlformats.org/package/2006/relationships"><Relationship Id="rId3" Type="http://schemas.openxmlformats.org/officeDocument/2006/relationships/hyperlink" Target="http://aka.ms/LDC" TargetMode="External"/><Relationship Id="rId7" Type="http://schemas.openxmlformats.org/officeDocument/2006/relationships/image" Target="../media/image123.svg"/><Relationship Id="rId2" Type="http://schemas.openxmlformats.org/officeDocument/2006/relationships/notesSlide" Target="../notesSlides/notesSlide7.xml"/><Relationship Id="rId1" Type="http://schemas.openxmlformats.org/officeDocument/2006/relationships/slideLayout" Target="../slideLayouts/slideLayout163.xml"/><Relationship Id="rId6" Type="http://schemas.openxmlformats.org/officeDocument/2006/relationships/image" Target="../media/image67.png"/><Relationship Id="rId5" Type="http://schemas.openxmlformats.org/officeDocument/2006/relationships/image" Target="../media/image86.svg"/><Relationship Id="rId4" Type="http://schemas.openxmlformats.org/officeDocument/2006/relationships/image" Target="../media/image85.png"/></Relationships>
</file>

<file path=ppt/slides/_rels/slide11.xml.rels><?xml version="1.0" encoding="UTF-8" standalone="yes"?>
<Relationships xmlns="http://schemas.openxmlformats.org/package/2006/relationships"><Relationship Id="rId8" Type="http://schemas.openxmlformats.org/officeDocument/2006/relationships/hyperlink" Target="http://aka.ms/azlabs" TargetMode="External"/><Relationship Id="rId13" Type="http://schemas.openxmlformats.org/officeDocument/2006/relationships/hyperlink" Target="https://azure.microsoft.com/free/students/" TargetMode="External"/><Relationship Id="rId18" Type="http://schemas.openxmlformats.org/officeDocument/2006/relationships/hyperlink" Target="https://azure.microsoft.com/en-us/free/" TargetMode="External"/><Relationship Id="rId3" Type="http://schemas.openxmlformats.org/officeDocument/2006/relationships/image" Target="../media/image124.png"/><Relationship Id="rId7" Type="http://schemas.openxmlformats.org/officeDocument/2006/relationships/image" Target="../media/image126.svg"/><Relationship Id="rId12" Type="http://schemas.openxmlformats.org/officeDocument/2006/relationships/image" Target="../media/image130.svg"/><Relationship Id="rId17" Type="http://schemas.openxmlformats.org/officeDocument/2006/relationships/hyperlink" Target="https://azure.microsoft.com/en-us/free/students/" TargetMode="External"/><Relationship Id="rId2" Type="http://schemas.openxmlformats.org/officeDocument/2006/relationships/notesSlide" Target="../notesSlides/notesSlide8.xml"/><Relationship Id="rId16" Type="http://schemas.openxmlformats.org/officeDocument/2006/relationships/hyperlink" Target="http://aka.ms/ADT4T" TargetMode="External"/><Relationship Id="rId20" Type="http://schemas.openxmlformats.org/officeDocument/2006/relationships/image" Target="../media/image122.svg"/><Relationship Id="rId1" Type="http://schemas.openxmlformats.org/officeDocument/2006/relationships/slideLayout" Target="../slideLayouts/slideLayout183.xml"/><Relationship Id="rId6" Type="http://schemas.openxmlformats.org/officeDocument/2006/relationships/image" Target="../media/image125.png"/><Relationship Id="rId11" Type="http://schemas.openxmlformats.org/officeDocument/2006/relationships/image" Target="../media/image129.png"/><Relationship Id="rId5" Type="http://schemas.openxmlformats.org/officeDocument/2006/relationships/hyperlink" Target="http://aka.ms/freeazure" TargetMode="External"/><Relationship Id="rId15" Type="http://schemas.openxmlformats.org/officeDocument/2006/relationships/image" Target="../media/image132.svg"/><Relationship Id="rId10" Type="http://schemas.openxmlformats.org/officeDocument/2006/relationships/image" Target="../media/image128.svg"/><Relationship Id="rId19" Type="http://schemas.openxmlformats.org/officeDocument/2006/relationships/image" Target="../media/image121.png"/><Relationship Id="rId4" Type="http://schemas.openxmlformats.org/officeDocument/2006/relationships/image" Target="../media/image86.svg"/><Relationship Id="rId9" Type="http://schemas.openxmlformats.org/officeDocument/2006/relationships/image" Target="../media/image127.png"/><Relationship Id="rId14" Type="http://schemas.openxmlformats.org/officeDocument/2006/relationships/image" Target="../media/image13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1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xml"/><Relationship Id="rId1" Type="http://schemas.openxmlformats.org/officeDocument/2006/relationships/slideLayout" Target="../slideLayouts/slideLayout163.xml"/><Relationship Id="rId6" Type="http://schemas.openxmlformats.org/officeDocument/2006/relationships/image" Target="../media/image123.svg"/><Relationship Id="rId5" Type="http://schemas.openxmlformats.org/officeDocument/2006/relationships/image" Target="../media/image67.png"/><Relationship Id="rId4" Type="http://schemas.openxmlformats.org/officeDocument/2006/relationships/image" Target="../media/image86.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15.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38.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16.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11.xml"/><Relationship Id="rId1" Type="http://schemas.openxmlformats.org/officeDocument/2006/relationships/slideLayout" Target="../slideLayouts/slideLayout163.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svg"/></Relationships>
</file>

<file path=ppt/slides/_rels/slide17.xml.rels><?xml version="1.0" encoding="UTF-8" standalone="yes"?>
<Relationships xmlns="http://schemas.openxmlformats.org/package/2006/relationships"><Relationship Id="rId8" Type="http://schemas.openxmlformats.org/officeDocument/2006/relationships/image" Target="../media/image148.jpeg"/><Relationship Id="rId3" Type="http://schemas.openxmlformats.org/officeDocument/2006/relationships/image" Target="../media/image85.png"/><Relationship Id="rId7" Type="http://schemas.openxmlformats.org/officeDocument/2006/relationships/image" Target="../media/image147.jpeg"/><Relationship Id="rId2" Type="http://schemas.openxmlformats.org/officeDocument/2006/relationships/notesSlide" Target="../notesSlides/notesSlide12.xml"/><Relationship Id="rId1" Type="http://schemas.openxmlformats.org/officeDocument/2006/relationships/slideLayout" Target="../slideLayouts/slideLayout38.xml"/><Relationship Id="rId6" Type="http://schemas.openxmlformats.org/officeDocument/2006/relationships/image" Target="../media/image146.svg"/><Relationship Id="rId5" Type="http://schemas.openxmlformats.org/officeDocument/2006/relationships/image" Target="../media/image145.png"/><Relationship Id="rId10" Type="http://schemas.openxmlformats.org/officeDocument/2006/relationships/image" Target="../media/image150.jpeg"/><Relationship Id="rId4" Type="http://schemas.openxmlformats.org/officeDocument/2006/relationships/image" Target="../media/image86.svg"/><Relationship Id="rId9" Type="http://schemas.openxmlformats.org/officeDocument/2006/relationships/image" Target="../media/image149.jpeg"/></Relationships>
</file>

<file path=ppt/slides/_rels/slide18.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123.svg"/><Relationship Id="rId2" Type="http://schemas.openxmlformats.org/officeDocument/2006/relationships/notesSlide" Target="../notesSlides/notesSlide13.xml"/><Relationship Id="rId1" Type="http://schemas.openxmlformats.org/officeDocument/2006/relationships/slideLayout" Target="../slideLayouts/slideLayout41.xml"/><Relationship Id="rId6" Type="http://schemas.openxmlformats.org/officeDocument/2006/relationships/image" Target="../media/image67.png"/><Relationship Id="rId5" Type="http://schemas.openxmlformats.org/officeDocument/2006/relationships/image" Target="../media/image86.svg"/><Relationship Id="rId4" Type="http://schemas.openxmlformats.org/officeDocument/2006/relationships/image" Target="../media/image8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0.xml"/></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163.xml"/><Relationship Id="rId6" Type="http://schemas.openxmlformats.org/officeDocument/2006/relationships/image" Target="../media/image152.svg"/><Relationship Id="rId5" Type="http://schemas.openxmlformats.org/officeDocument/2006/relationships/image" Target="../media/image67.png"/><Relationship Id="rId4" Type="http://schemas.openxmlformats.org/officeDocument/2006/relationships/image" Target="../media/image66.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22.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15.xml"/><Relationship Id="rId1" Type="http://schemas.openxmlformats.org/officeDocument/2006/relationships/slideLayout" Target="../slideLayouts/slideLayout163.xml"/><Relationship Id="rId5" Type="http://schemas.openxmlformats.org/officeDocument/2006/relationships/image" Target="../media/image86.svg"/><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24.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56.png"/><Relationship Id="rId2" Type="http://schemas.openxmlformats.org/officeDocument/2006/relationships/notesSlide" Target="../notesSlides/notesSlide16.xml"/><Relationship Id="rId1" Type="http://schemas.openxmlformats.org/officeDocument/2006/relationships/slideLayout" Target="../slideLayouts/slideLayout163.xml"/><Relationship Id="rId6" Type="http://schemas.openxmlformats.org/officeDocument/2006/relationships/image" Target="../media/image155.svg"/><Relationship Id="rId5" Type="http://schemas.openxmlformats.org/officeDocument/2006/relationships/image" Target="../media/image154.png"/><Relationship Id="rId4" Type="http://schemas.openxmlformats.org/officeDocument/2006/relationships/image" Target="../media/image86.svg"/></Relationships>
</file>

<file path=ppt/slides/_rels/slide2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7.xml"/><Relationship Id="rId1" Type="http://schemas.openxmlformats.org/officeDocument/2006/relationships/slideLayout" Target="../slideLayouts/slideLayout165.xml"/></Relationships>
</file>

<file path=ppt/slides/_rels/slide26.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58.png"/><Relationship Id="rId2" Type="http://schemas.openxmlformats.org/officeDocument/2006/relationships/notesSlide" Target="../notesSlides/notesSlide18.xml"/><Relationship Id="rId1" Type="http://schemas.openxmlformats.org/officeDocument/2006/relationships/slideLayout" Target="../slideLayouts/slideLayout163.xml"/><Relationship Id="rId6" Type="http://schemas.openxmlformats.org/officeDocument/2006/relationships/image" Target="../media/image155.svg"/><Relationship Id="rId5" Type="http://schemas.openxmlformats.org/officeDocument/2006/relationships/image" Target="../media/image154.png"/><Relationship Id="rId4" Type="http://schemas.openxmlformats.org/officeDocument/2006/relationships/image" Target="../media/image86.svg"/></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159.png"/><Relationship Id="rId2" Type="http://schemas.openxmlformats.org/officeDocument/2006/relationships/notesSlide" Target="../notesSlides/notesSlide19.xml"/><Relationship Id="rId1" Type="http://schemas.openxmlformats.org/officeDocument/2006/relationships/slideLayout" Target="../slideLayouts/slideLayout163.xml"/><Relationship Id="rId6" Type="http://schemas.openxmlformats.org/officeDocument/2006/relationships/image" Target="../media/image152.svg"/><Relationship Id="rId5" Type="http://schemas.openxmlformats.org/officeDocument/2006/relationships/image" Target="../media/image67.png"/><Relationship Id="rId4" Type="http://schemas.openxmlformats.org/officeDocument/2006/relationships/image" Target="../media/image66.svg"/></Relationships>
</file>

<file path=ppt/slides/_rels/slide28.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24.png"/><Relationship Id="rId7" Type="http://schemas.openxmlformats.org/officeDocument/2006/relationships/hyperlink" Target="https://www.microsoft.com/en-us/trust-center/" TargetMode="External"/><Relationship Id="rId2" Type="http://schemas.openxmlformats.org/officeDocument/2006/relationships/notesSlide" Target="../notesSlides/notesSlide20.xml"/><Relationship Id="rId1" Type="http://schemas.openxmlformats.org/officeDocument/2006/relationships/slideLayout" Target="../slideLayouts/slideLayout163.xml"/><Relationship Id="rId6" Type="http://schemas.openxmlformats.org/officeDocument/2006/relationships/image" Target="../media/image155.svg"/><Relationship Id="rId5" Type="http://schemas.openxmlformats.org/officeDocument/2006/relationships/image" Target="../media/image154.png"/><Relationship Id="rId4" Type="http://schemas.openxmlformats.org/officeDocument/2006/relationships/image" Target="../media/image86.svg"/></Relationships>
</file>

<file path=ppt/slides/_rels/slide29.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163.svg"/><Relationship Id="rId2" Type="http://schemas.openxmlformats.org/officeDocument/2006/relationships/notesSlide" Target="../notesSlides/notesSlide21.xml"/><Relationship Id="rId1" Type="http://schemas.openxmlformats.org/officeDocument/2006/relationships/slideLayout" Target="../slideLayouts/slideLayout163.xml"/><Relationship Id="rId6" Type="http://schemas.openxmlformats.org/officeDocument/2006/relationships/image" Target="../media/image162.png"/><Relationship Id="rId5" Type="http://schemas.openxmlformats.org/officeDocument/2006/relationships/image" Target="../media/image86.svg"/><Relationship Id="rId4"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xml"/><Relationship Id="rId1" Type="http://schemas.openxmlformats.org/officeDocument/2006/relationships/slideLayout" Target="../slideLayouts/slideLayout163.xml"/><Relationship Id="rId6" Type="http://schemas.openxmlformats.org/officeDocument/2006/relationships/hyperlink" Target="https://www.linkedin.com/in/mahlah-murray-28a051a9/" TargetMode="External"/><Relationship Id="rId5" Type="http://schemas.openxmlformats.org/officeDocument/2006/relationships/image" Target="../media/image109.png"/><Relationship Id="rId4" Type="http://schemas.openxmlformats.org/officeDocument/2006/relationships/image" Target="../media/image86.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163.xml"/><Relationship Id="rId4" Type="http://schemas.openxmlformats.org/officeDocument/2006/relationships/image" Target="../media/image164.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33.xml.rels><?xml version="1.0" encoding="UTF-8" standalone="yes"?>
<Relationships xmlns="http://schemas.openxmlformats.org/package/2006/relationships"><Relationship Id="rId8" Type="http://schemas.openxmlformats.org/officeDocument/2006/relationships/image" Target="../media/image170.svg"/><Relationship Id="rId13" Type="http://schemas.openxmlformats.org/officeDocument/2006/relationships/image" Target="../media/image175.png"/><Relationship Id="rId18" Type="http://schemas.openxmlformats.org/officeDocument/2006/relationships/hyperlink" Target="https://aka.ms/AZ-900Update" TargetMode="External"/><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svg"/><Relationship Id="rId17" Type="http://schemas.openxmlformats.org/officeDocument/2006/relationships/hyperlink" Target="https://aka.ms/TrainCertPoster" TargetMode="External"/><Relationship Id="rId2" Type="http://schemas.openxmlformats.org/officeDocument/2006/relationships/notesSlide" Target="../notesSlides/notesSlide23.xml"/><Relationship Id="rId16" Type="http://schemas.openxmlformats.org/officeDocument/2006/relationships/hyperlink" Target="http://www.microsoft.com/learn" TargetMode="External"/><Relationship Id="rId1" Type="http://schemas.openxmlformats.org/officeDocument/2006/relationships/slideLayout" Target="../slideLayouts/slideLayout38.xml"/><Relationship Id="rId6" Type="http://schemas.openxmlformats.org/officeDocument/2006/relationships/image" Target="../media/image168.svg"/><Relationship Id="rId11" Type="http://schemas.openxmlformats.org/officeDocument/2006/relationships/image" Target="../media/image173.png"/><Relationship Id="rId5" Type="http://schemas.openxmlformats.org/officeDocument/2006/relationships/image" Target="../media/image167.png"/><Relationship Id="rId15" Type="http://schemas.openxmlformats.org/officeDocument/2006/relationships/hyperlink" Target="http://docs.microsoft.com/" TargetMode="External"/><Relationship Id="rId10" Type="http://schemas.openxmlformats.org/officeDocument/2006/relationships/image" Target="../media/image172.svg"/><Relationship Id="rId4" Type="http://schemas.openxmlformats.org/officeDocument/2006/relationships/image" Target="../media/image166.svg"/><Relationship Id="rId9" Type="http://schemas.openxmlformats.org/officeDocument/2006/relationships/image" Target="../media/image171.png"/><Relationship Id="rId14" Type="http://schemas.openxmlformats.org/officeDocument/2006/relationships/image" Target="../media/image176.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35.xml.rels><?xml version="1.0" encoding="UTF-8" standalone="yes"?>
<Relationships xmlns="http://schemas.openxmlformats.org/package/2006/relationships"><Relationship Id="rId8" Type="http://schemas.openxmlformats.org/officeDocument/2006/relationships/image" Target="../media/image180.svg"/><Relationship Id="rId3" Type="http://schemas.openxmlformats.org/officeDocument/2006/relationships/image" Target="../media/image167.png"/><Relationship Id="rId7" Type="http://schemas.openxmlformats.org/officeDocument/2006/relationships/image" Target="../media/image179.png"/><Relationship Id="rId2" Type="http://schemas.openxmlformats.org/officeDocument/2006/relationships/notesSlide" Target="../notesSlides/notesSlide24.xml"/><Relationship Id="rId1" Type="http://schemas.openxmlformats.org/officeDocument/2006/relationships/slideLayout" Target="../slideLayouts/slideLayout38.xml"/><Relationship Id="rId6" Type="http://schemas.openxmlformats.org/officeDocument/2006/relationships/image" Target="../media/image178.svg"/><Relationship Id="rId5" Type="http://schemas.openxmlformats.org/officeDocument/2006/relationships/image" Target="../media/image177.png"/><Relationship Id="rId10" Type="http://schemas.openxmlformats.org/officeDocument/2006/relationships/image" Target="../media/image86.svg"/><Relationship Id="rId4" Type="http://schemas.openxmlformats.org/officeDocument/2006/relationships/image" Target="../media/image168.svg"/><Relationship Id="rId9" Type="http://schemas.openxmlformats.org/officeDocument/2006/relationships/image" Target="../media/image85.png"/></Relationships>
</file>

<file path=ppt/slides/_rels/slide36.xml.rels><?xml version="1.0" encoding="UTF-8" standalone="yes"?>
<Relationships xmlns="http://schemas.openxmlformats.org/package/2006/relationships"><Relationship Id="rId3" Type="http://schemas.openxmlformats.org/officeDocument/2006/relationships/hyperlink" Target="http://aka.ms/MSLEVEPSSurvey" TargetMode="External"/><Relationship Id="rId7" Type="http://schemas.openxmlformats.org/officeDocument/2006/relationships/image" Target="../media/image182.png"/><Relationship Id="rId2" Type="http://schemas.openxmlformats.org/officeDocument/2006/relationships/notesSlide" Target="../notesSlides/notesSlide25.xml"/><Relationship Id="rId1" Type="http://schemas.openxmlformats.org/officeDocument/2006/relationships/slideLayout" Target="../slideLayouts/slideLayout163.xml"/><Relationship Id="rId6" Type="http://schemas.openxmlformats.org/officeDocument/2006/relationships/image" Target="../media/image181.png"/><Relationship Id="rId5" Type="http://schemas.openxmlformats.org/officeDocument/2006/relationships/image" Target="../media/image122.svg"/><Relationship Id="rId4" Type="http://schemas.openxmlformats.org/officeDocument/2006/relationships/image" Target="../media/image12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4.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hyperlink" Target="https://www.linkedin.com/in/mahlah-murray-28a051a9/" TargetMode="External"/><Relationship Id="rId2" Type="http://schemas.openxmlformats.org/officeDocument/2006/relationships/notesSlide" Target="../notesSlides/notesSlide3.xml"/><Relationship Id="rId1" Type="http://schemas.openxmlformats.org/officeDocument/2006/relationships/slideLayout" Target="../slideLayouts/slideLayout163.xml"/><Relationship Id="rId6" Type="http://schemas.openxmlformats.org/officeDocument/2006/relationships/image" Target="../media/image109.png"/><Relationship Id="rId5" Type="http://schemas.openxmlformats.org/officeDocument/2006/relationships/image" Target="../media/image110.jpeg"/><Relationship Id="rId4" Type="http://schemas.openxmlformats.org/officeDocument/2006/relationships/image" Target="../media/image86.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0.xml"/></Relationships>
</file>

<file path=ppt/slides/_rels/slide6.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image" Target="../media/image111.png"/><Relationship Id="rId1" Type="http://schemas.openxmlformats.org/officeDocument/2006/relationships/slideLayout" Target="../slideLayouts/slideLayout165.xml"/><Relationship Id="rId6" Type="http://schemas.openxmlformats.org/officeDocument/2006/relationships/image" Target="../media/image115.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png"/><Relationship Id="rId9" Type="http://schemas.openxmlformats.org/officeDocument/2006/relationships/image" Target="../media/image118.png"/></Relationships>
</file>

<file path=ppt/slides/_rels/slide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6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0.xml"/></Relationships>
</file>

<file path=ppt/slides/_rels/slide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xml"/><Relationship Id="rId1" Type="http://schemas.openxmlformats.org/officeDocument/2006/relationships/slideLayout" Target="../slideLayouts/slideLayout165.xml"/><Relationship Id="rId5" Type="http://schemas.openxmlformats.org/officeDocument/2006/relationships/hyperlink" Target="http://events.microsoft.com/" TargetMode="External"/><Relationship Id="rId4" Type="http://schemas.openxmlformats.org/officeDocument/2006/relationships/image" Target="../media/image122.sv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B3AFCE-2432-440F-AFE6-B1C8898E479D}"/>
              </a:ext>
            </a:extLst>
          </p:cNvPr>
          <p:cNvSpPr>
            <a:spLocks noGrp="1"/>
          </p:cNvSpPr>
          <p:nvPr>
            <p:ph type="title"/>
          </p:nvPr>
        </p:nvSpPr>
        <p:spPr/>
        <p:txBody>
          <a:bodyPr/>
          <a:lstStyle/>
          <a:p>
            <a:r>
              <a:rPr lang="en-US" dirty="0">
                <a:latin typeface="+mj-lt"/>
              </a:rPr>
              <a:t>Note to Educators</a:t>
            </a:r>
          </a:p>
        </p:txBody>
      </p:sp>
      <p:sp>
        <p:nvSpPr>
          <p:cNvPr id="5" name="Text Placeholder 4">
            <a:extLst>
              <a:ext uri="{FF2B5EF4-FFF2-40B4-BE49-F238E27FC236}">
                <a16:creationId xmlns:a16="http://schemas.microsoft.com/office/drawing/2014/main" id="{577C9423-E64B-4C7C-89EC-8E34F4BE7D32}"/>
              </a:ext>
            </a:extLst>
          </p:cNvPr>
          <p:cNvSpPr>
            <a:spLocks noGrp="1"/>
          </p:cNvSpPr>
          <p:nvPr>
            <p:ph type="body" sz="quarter" idx="10"/>
          </p:nvPr>
        </p:nvSpPr>
        <p:spPr>
          <a:xfrm>
            <a:off x="155456" y="930899"/>
            <a:ext cx="12125563" cy="2194062"/>
          </a:xfrm>
        </p:spPr>
        <p:txBody>
          <a:bodyPr/>
          <a:lstStyle/>
          <a:p>
            <a:pPr marL="457200" indent="-457200">
              <a:buFont typeface="Arial" panose="020B0604020202020204" pitchFamily="34" charset="0"/>
              <a:buChar char="•"/>
            </a:pPr>
            <a:r>
              <a:rPr lang="en-US" dirty="0">
                <a:latin typeface="+mn-lt"/>
              </a:rPr>
              <a:t>This is the deck for the Azure Fundamentals (AZ-900) Virtual Educator Prep Session</a:t>
            </a:r>
          </a:p>
          <a:p>
            <a:pPr marL="457200" indent="-457200">
              <a:buFont typeface="Arial" panose="020B0604020202020204" pitchFamily="34" charset="0"/>
              <a:buChar char="•"/>
            </a:pPr>
            <a:r>
              <a:rPr lang="en-US" dirty="0">
                <a:latin typeface="+mn-lt"/>
              </a:rPr>
              <a:t>It is not intended to be Student facing</a:t>
            </a:r>
          </a:p>
          <a:p>
            <a:pPr marL="457200" indent="-457200">
              <a:buFont typeface="Arial" panose="020B0604020202020204" pitchFamily="34" charset="0"/>
              <a:buChar char="•"/>
            </a:pPr>
            <a:r>
              <a:rPr lang="en-US" dirty="0">
                <a:latin typeface="+mn-lt"/>
              </a:rPr>
              <a:t>Please do not share</a:t>
            </a:r>
          </a:p>
        </p:txBody>
      </p:sp>
    </p:spTree>
    <p:extLst>
      <p:ext uri="{BB962C8B-B14F-4D97-AF65-F5344CB8AC3E}">
        <p14:creationId xmlns:p14="http://schemas.microsoft.com/office/powerpoint/2010/main" val="145401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dirty="0">
                <a:solidFill>
                  <a:srgbClr val="002060"/>
                </a:solidFill>
                <a:cs typeface="Segoe UI"/>
              </a:rPr>
              <a:t>Overview of teaching materials on Learning Download Center</a:t>
            </a:r>
          </a:p>
        </p:txBody>
      </p:sp>
      <p:graphicFrame>
        <p:nvGraphicFramePr>
          <p:cNvPr id="3" name="Table 2">
            <a:extLst>
              <a:ext uri="{FF2B5EF4-FFF2-40B4-BE49-F238E27FC236}">
                <a16:creationId xmlns:a16="http://schemas.microsoft.com/office/drawing/2014/main" id="{B4BA7804-42A6-40A5-8918-AC7F0E13F469}"/>
              </a:ext>
            </a:extLst>
          </p:cNvPr>
          <p:cNvGraphicFramePr>
            <a:graphicFrameLocks noGrp="1"/>
          </p:cNvGraphicFramePr>
          <p:nvPr>
            <p:extLst>
              <p:ext uri="{D42A27DB-BD31-4B8C-83A1-F6EECF244321}">
                <p14:modId xmlns:p14="http://schemas.microsoft.com/office/powerpoint/2010/main" val="97801961"/>
              </p:ext>
            </p:extLst>
          </p:nvPr>
        </p:nvGraphicFramePr>
        <p:xfrm>
          <a:off x="472825" y="1692766"/>
          <a:ext cx="11691378" cy="2772471"/>
        </p:xfrm>
        <a:graphic>
          <a:graphicData uri="http://schemas.openxmlformats.org/drawingml/2006/table">
            <a:tbl>
              <a:tblPr firstRow="1" bandRow="1">
                <a:tableStyleId>{5C22544A-7EE6-4342-B048-85BDC9FD1C3A}</a:tableStyleId>
              </a:tblPr>
              <a:tblGrid>
                <a:gridCol w="2207043">
                  <a:extLst>
                    <a:ext uri="{9D8B030D-6E8A-4147-A177-3AD203B41FA5}">
                      <a16:colId xmlns:a16="http://schemas.microsoft.com/office/drawing/2014/main" val="3433352960"/>
                    </a:ext>
                  </a:extLst>
                </a:gridCol>
                <a:gridCol w="1920991">
                  <a:extLst>
                    <a:ext uri="{9D8B030D-6E8A-4147-A177-3AD203B41FA5}">
                      <a16:colId xmlns:a16="http://schemas.microsoft.com/office/drawing/2014/main" val="3123948312"/>
                    </a:ext>
                  </a:extLst>
                </a:gridCol>
                <a:gridCol w="2353397">
                  <a:extLst>
                    <a:ext uri="{9D8B030D-6E8A-4147-A177-3AD203B41FA5}">
                      <a16:colId xmlns:a16="http://schemas.microsoft.com/office/drawing/2014/main" val="2488504431"/>
                    </a:ext>
                  </a:extLst>
                </a:gridCol>
                <a:gridCol w="1502044">
                  <a:extLst>
                    <a:ext uri="{9D8B030D-6E8A-4147-A177-3AD203B41FA5}">
                      <a16:colId xmlns:a16="http://schemas.microsoft.com/office/drawing/2014/main" val="486281360"/>
                    </a:ext>
                  </a:extLst>
                </a:gridCol>
                <a:gridCol w="1744842">
                  <a:extLst>
                    <a:ext uri="{9D8B030D-6E8A-4147-A177-3AD203B41FA5}">
                      <a16:colId xmlns:a16="http://schemas.microsoft.com/office/drawing/2014/main" val="4271406119"/>
                    </a:ext>
                  </a:extLst>
                </a:gridCol>
                <a:gridCol w="1963061">
                  <a:extLst>
                    <a:ext uri="{9D8B030D-6E8A-4147-A177-3AD203B41FA5}">
                      <a16:colId xmlns:a16="http://schemas.microsoft.com/office/drawing/2014/main" val="363326244"/>
                    </a:ext>
                  </a:extLst>
                </a:gridCol>
              </a:tblGrid>
              <a:tr h="825733">
                <a:tc>
                  <a:txBody>
                    <a:bodyPr/>
                    <a:lstStyle/>
                    <a:p>
                      <a:pPr marL="0" marR="0" algn="l">
                        <a:spcBef>
                          <a:spcPts val="0"/>
                        </a:spcBef>
                        <a:spcAft>
                          <a:spcPts val="0"/>
                        </a:spcAft>
                      </a:pPr>
                      <a:r>
                        <a:rPr lang="en-US" sz="1600" b="0" dirty="0">
                          <a:effectLst/>
                          <a:latin typeface="+mj-lt"/>
                          <a:ea typeface="Calibri" panose="020F0502020204030204" pitchFamily="34" charset="0"/>
                        </a:rPr>
                        <a:t>Assessment Guide</a:t>
                      </a:r>
                    </a:p>
                  </a:txBody>
                  <a:tcPr marL="109728" marR="109728" marT="182880" marB="182880">
                    <a:solidFill>
                      <a:srgbClr val="002060"/>
                    </a:solidFill>
                  </a:tcPr>
                </a:tc>
                <a:tc>
                  <a:txBody>
                    <a:bodyPr/>
                    <a:lstStyle/>
                    <a:p>
                      <a:pPr marL="0" marR="0" algn="ctr">
                        <a:spcBef>
                          <a:spcPts val="0"/>
                        </a:spcBef>
                        <a:spcAft>
                          <a:spcPts val="0"/>
                        </a:spcAft>
                      </a:pPr>
                      <a:r>
                        <a:rPr lang="en-US" sz="1600" b="0" kern="1200" dirty="0">
                          <a:solidFill>
                            <a:schemeClr val="lt1"/>
                          </a:solidFill>
                          <a:effectLst/>
                          <a:latin typeface="+mj-lt"/>
                          <a:ea typeface="Calibri" panose="020F0502020204030204" pitchFamily="34" charset="0"/>
                          <a:cs typeface="+mn-cs"/>
                        </a:rPr>
                        <a:t>Course Datasheet</a:t>
                      </a:r>
                    </a:p>
                  </a:txBody>
                  <a:tcPr marL="109728" marR="109728" marT="182880" marB="182880">
                    <a:solidFill>
                      <a:srgbClr val="002060"/>
                    </a:solidFill>
                  </a:tcPr>
                </a:tc>
                <a:tc>
                  <a:txBody>
                    <a:bodyPr/>
                    <a:lstStyle/>
                    <a:p>
                      <a:pPr marL="0" marR="0" algn="ctr" defTabSz="932384" rtl="0" eaLnBrk="1" latinLnBrk="0" hangingPunct="1">
                        <a:spcBef>
                          <a:spcPts val="0"/>
                        </a:spcBef>
                        <a:spcAft>
                          <a:spcPts val="0"/>
                        </a:spcAft>
                      </a:pPr>
                      <a:r>
                        <a:rPr lang="en-US" sz="1600" b="0" kern="1200" dirty="0">
                          <a:solidFill>
                            <a:schemeClr val="lt1"/>
                          </a:solidFill>
                          <a:effectLst/>
                          <a:latin typeface="+mj-lt"/>
                          <a:ea typeface="Calibri" panose="020F0502020204030204" pitchFamily="34" charset="0"/>
                          <a:cs typeface="+mn-cs"/>
                        </a:rPr>
                        <a:t>Educator Teaching Guide</a:t>
                      </a:r>
                    </a:p>
                  </a:txBody>
                  <a:tcPr marL="109728" marR="109728" marT="182880" marB="182880">
                    <a:solidFill>
                      <a:srgbClr val="002060"/>
                    </a:solidFill>
                  </a:tcPr>
                </a:tc>
                <a:tc>
                  <a:txBody>
                    <a:bodyPr/>
                    <a:lstStyle/>
                    <a:p>
                      <a:pPr marL="0" marR="0" algn="ctr" defTabSz="932384" rtl="0" eaLnBrk="1" latinLnBrk="0" hangingPunct="1">
                        <a:spcBef>
                          <a:spcPts val="0"/>
                        </a:spcBef>
                        <a:spcAft>
                          <a:spcPts val="0"/>
                        </a:spcAft>
                      </a:pPr>
                      <a:r>
                        <a:rPr lang="en-US" sz="1600" b="0" kern="1200" dirty="0">
                          <a:solidFill>
                            <a:schemeClr val="lt1"/>
                          </a:solidFill>
                          <a:effectLst/>
                          <a:latin typeface="+mj-lt"/>
                          <a:ea typeface="Calibri" panose="020F0502020204030204" pitchFamily="34" charset="0"/>
                          <a:cs typeface="+mn-cs"/>
                        </a:rPr>
                        <a:t>Lab Instructions</a:t>
                      </a:r>
                    </a:p>
                  </a:txBody>
                  <a:tcPr marL="109728" marR="109728" marT="182880" marB="182880">
                    <a:solidFill>
                      <a:srgbClr val="002060"/>
                    </a:solidFill>
                  </a:tcPr>
                </a:tc>
                <a:tc>
                  <a:txBody>
                    <a:bodyPr/>
                    <a:lstStyle/>
                    <a:p>
                      <a:pPr marL="0" marR="0" algn="ctr" defTabSz="932384" rtl="0" eaLnBrk="1" latinLnBrk="0" hangingPunct="1">
                        <a:spcBef>
                          <a:spcPts val="0"/>
                        </a:spcBef>
                        <a:spcAft>
                          <a:spcPts val="0"/>
                        </a:spcAft>
                      </a:pPr>
                      <a:r>
                        <a:rPr lang="en-US" sz="1600" b="0" kern="1200" dirty="0">
                          <a:solidFill>
                            <a:schemeClr val="lt1"/>
                          </a:solidFill>
                          <a:effectLst/>
                          <a:latin typeface="+mj-lt"/>
                          <a:ea typeface="Calibri" panose="020F0502020204030204" pitchFamily="34" charset="0"/>
                          <a:cs typeface="+mn-cs"/>
                        </a:rPr>
                        <a:t>PowerPoint Files</a:t>
                      </a:r>
                    </a:p>
                  </a:txBody>
                  <a:tcPr marL="109728" marR="109728" marT="182880" marB="182880">
                    <a:solidFill>
                      <a:srgbClr val="002060"/>
                    </a:solidFill>
                  </a:tcPr>
                </a:tc>
                <a:tc>
                  <a:txBody>
                    <a:bodyPr/>
                    <a:lstStyle/>
                    <a:p>
                      <a:pPr marL="0" marR="0" algn="ctr" defTabSz="932384" rtl="0" eaLnBrk="1" latinLnBrk="0" hangingPunct="1">
                        <a:spcBef>
                          <a:spcPts val="0"/>
                        </a:spcBef>
                        <a:spcAft>
                          <a:spcPts val="0"/>
                        </a:spcAft>
                      </a:pPr>
                      <a:r>
                        <a:rPr lang="en-US" sz="1600" b="0" kern="1200" dirty="0">
                          <a:solidFill>
                            <a:schemeClr val="lt1"/>
                          </a:solidFill>
                          <a:effectLst/>
                          <a:latin typeface="+mj-lt"/>
                          <a:ea typeface="Calibri" panose="020F0502020204030204" pitchFamily="34" charset="0"/>
                          <a:cs typeface="+mn-cs"/>
                        </a:rPr>
                        <a:t>Trainer Handbook</a:t>
                      </a:r>
                    </a:p>
                  </a:txBody>
                  <a:tcPr marL="109728" marR="109728" marT="182880" marB="182880">
                    <a:solidFill>
                      <a:srgbClr val="002060"/>
                    </a:solidFill>
                  </a:tcPr>
                </a:tc>
                <a:extLst>
                  <a:ext uri="{0D108BD9-81ED-4DB2-BD59-A6C34878D82A}">
                    <a16:rowId xmlns:a16="http://schemas.microsoft.com/office/drawing/2014/main" val="844420239"/>
                  </a:ext>
                </a:extLst>
              </a:tr>
              <a:tr h="1919031">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600" b="0" i="0" dirty="0">
                          <a:effectLst/>
                          <a:latin typeface="+mn-lt"/>
                          <a:ea typeface="Calibri" panose="020F0502020204030204" pitchFamily="34" charset="0"/>
                        </a:rPr>
                        <a:t>Guidance on assessments</a:t>
                      </a:r>
                    </a:p>
                  </a:txBody>
                  <a:tcPr marL="109728" marR="109728" marT="182880" marB="182880">
                    <a:solidFill>
                      <a:schemeClr val="bg1"/>
                    </a:solidFill>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600" b="0" i="0" kern="1200" dirty="0">
                          <a:solidFill>
                            <a:schemeClr val="dk1"/>
                          </a:solidFill>
                          <a:effectLst/>
                          <a:latin typeface="+mn-lt"/>
                          <a:ea typeface="Calibri" panose="020F0502020204030204" pitchFamily="34" charset="0"/>
                          <a:cs typeface="+mn-cs"/>
                        </a:rPr>
                        <a:t>Course description, learning objectives, course outline, and course timings</a:t>
                      </a:r>
                    </a:p>
                  </a:txBody>
                  <a:tcPr marL="109728" marR="109728" marT="182880" marB="182880">
                    <a:solidFill>
                      <a:schemeClr val="bg1"/>
                    </a:solidFill>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600" b="0" i="0" kern="1200" dirty="0">
                          <a:solidFill>
                            <a:schemeClr val="dk1"/>
                          </a:solidFill>
                          <a:effectLst/>
                          <a:latin typeface="+mn-lt"/>
                          <a:ea typeface="Calibri" panose="020F0502020204030204" pitchFamily="34" charset="0"/>
                          <a:cs typeface="+mn-cs"/>
                        </a:rPr>
                        <a:t>High level overview of course materials and planning tools, technology requirements</a:t>
                      </a:r>
                    </a:p>
                  </a:txBody>
                  <a:tcPr marL="109728" marR="109728" marT="182880" marB="182880">
                    <a:solidFill>
                      <a:schemeClr val="bg1"/>
                    </a:solidFill>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600" b="0" i="0" kern="1200" dirty="0">
                          <a:solidFill>
                            <a:schemeClr val="dk1"/>
                          </a:solidFill>
                          <a:effectLst/>
                          <a:latin typeface="+mn-lt"/>
                          <a:ea typeface="Calibri" panose="020F0502020204030204" pitchFamily="34" charset="0"/>
                          <a:cs typeface="+mn-cs"/>
                        </a:rPr>
                        <a:t>Walkthroughs for you to demo with students</a:t>
                      </a:r>
                    </a:p>
                  </a:txBody>
                  <a:tcPr marL="109728" marR="109728" marT="182880" marB="182880">
                    <a:solidFill>
                      <a:schemeClr val="bg1"/>
                    </a:solidFill>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600" b="0" i="0" kern="1200" dirty="0">
                          <a:solidFill>
                            <a:schemeClr val="dk1"/>
                          </a:solidFill>
                          <a:effectLst/>
                          <a:latin typeface="+mn-lt"/>
                          <a:ea typeface="Calibri" panose="020F0502020204030204" pitchFamily="34" charset="0"/>
                          <a:cs typeface="+mn-cs"/>
                        </a:rPr>
                        <a:t>PPT slides you can use for delivery of content in class</a:t>
                      </a:r>
                    </a:p>
                  </a:txBody>
                  <a:tcPr marL="109728" marR="109728" marT="182880" marB="182880">
                    <a:solidFill>
                      <a:schemeClr val="bg1"/>
                    </a:solidFill>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600" b="0" i="0" kern="1200" dirty="0">
                          <a:solidFill>
                            <a:schemeClr val="dk1"/>
                          </a:solidFill>
                          <a:effectLst/>
                          <a:latin typeface="+mn-lt"/>
                          <a:ea typeface="Calibri" panose="020F0502020204030204" pitchFamily="34" charset="0"/>
                          <a:cs typeface="+mn-cs"/>
                        </a:rPr>
                        <a:t>Provides foundational level knowledge on cloud concepts</a:t>
                      </a:r>
                    </a:p>
                  </a:txBody>
                  <a:tcPr marL="109728" marR="109728" marT="182880" marB="182880">
                    <a:solidFill>
                      <a:schemeClr val="bg1"/>
                    </a:solidFill>
                  </a:tcPr>
                </a:tc>
                <a:extLst>
                  <a:ext uri="{0D108BD9-81ED-4DB2-BD59-A6C34878D82A}">
                    <a16:rowId xmlns:a16="http://schemas.microsoft.com/office/drawing/2014/main" val="2445902023"/>
                  </a:ext>
                </a:extLst>
              </a:tr>
            </a:tbl>
          </a:graphicData>
        </a:graphic>
      </p:graphicFrame>
      <p:sp>
        <p:nvSpPr>
          <p:cNvPr id="46" name="TextBox 45">
            <a:extLst>
              <a:ext uri="{FF2B5EF4-FFF2-40B4-BE49-F238E27FC236}">
                <a16:creationId xmlns:a16="http://schemas.microsoft.com/office/drawing/2014/main" id="{C8EFBFD4-6307-464B-AA1E-9DE177B09C1B}"/>
              </a:ext>
            </a:extLst>
          </p:cNvPr>
          <p:cNvSpPr txBox="1"/>
          <p:nvPr/>
        </p:nvSpPr>
        <p:spPr>
          <a:xfrm>
            <a:off x="472825" y="4770562"/>
            <a:ext cx="6218516" cy="341632"/>
          </a:xfrm>
          <a:prstGeom prst="rect">
            <a:avLst/>
          </a:prstGeom>
          <a:noFill/>
        </p:spPr>
        <p:txBody>
          <a:bodyPr wrap="square">
            <a:spAutoFit/>
          </a:bodyPr>
          <a:lstStyle/>
          <a:p>
            <a:pPr>
              <a:lnSpc>
                <a:spcPct val="90000"/>
              </a:lnSpc>
              <a:spcAft>
                <a:spcPts val="600"/>
              </a:spcAft>
            </a:pPr>
            <a:r>
              <a:rPr lang="en-US" sz="1800" u="sng" dirty="0">
                <a:solidFill>
                  <a:srgbClr val="0000FF"/>
                </a:solidFill>
                <a:effectLst/>
                <a:latin typeface="Segoe UI" panose="020B0502040204020203" pitchFamily="34" charset="0"/>
                <a:ea typeface="Times New Roman" panose="02020603050405020304" pitchFamily="18" charset="0"/>
                <a:cs typeface="Times New Roman" panose="02020603050405020304" pitchFamily="18" charset="0"/>
                <a:hlinkClick r:id="rId3"/>
              </a:rPr>
              <a:t>aka.ms/LDC</a:t>
            </a:r>
            <a:endParaRPr lang="en-US" sz="2000" dirty="0">
              <a:gradFill>
                <a:gsLst>
                  <a:gs pos="2917">
                    <a:schemeClr val="tx1"/>
                  </a:gs>
                  <a:gs pos="30000">
                    <a:schemeClr val="tx1"/>
                  </a:gs>
                </a:gsLst>
                <a:lin ang="5400000" scaled="0"/>
              </a:gradFill>
            </a:endParaRPr>
          </a:p>
        </p:txBody>
      </p:sp>
      <p:grpSp>
        <p:nvGrpSpPr>
          <p:cNvPr id="9" name="Group 8">
            <a:extLst>
              <a:ext uri="{FF2B5EF4-FFF2-40B4-BE49-F238E27FC236}">
                <a16:creationId xmlns:a16="http://schemas.microsoft.com/office/drawing/2014/main" id="{275EE443-9915-4EB9-8DF8-B8719AA1D2A6}"/>
              </a:ext>
              <a:ext uri="{C183D7F6-B498-43B3-948B-1728B52AA6E4}">
                <adec:decorative xmlns:adec="http://schemas.microsoft.com/office/drawing/2017/decorative" val="1"/>
              </a:ext>
            </a:extLst>
          </p:cNvPr>
          <p:cNvGrpSpPr/>
          <p:nvPr/>
        </p:nvGrpSpPr>
        <p:grpSpPr>
          <a:xfrm>
            <a:off x="882" y="5747271"/>
            <a:ext cx="12434711" cy="1247254"/>
            <a:chOff x="882" y="5747271"/>
            <a:chExt cx="12434711" cy="1247254"/>
          </a:xfrm>
        </p:grpSpPr>
        <p:grpSp>
          <p:nvGrpSpPr>
            <p:cNvPr id="10" name="Group 9">
              <a:extLst>
                <a:ext uri="{FF2B5EF4-FFF2-40B4-BE49-F238E27FC236}">
                  <a16:creationId xmlns:a16="http://schemas.microsoft.com/office/drawing/2014/main" id="{56C14CA2-B308-49B1-8EA1-B71FF68BF485}"/>
                </a:ext>
                <a:ext uri="{C183D7F6-B498-43B3-948B-1728B52AA6E4}">
                  <adec:decorative xmlns:adec="http://schemas.microsoft.com/office/drawing/2017/decorative" val="1"/>
                </a:ext>
              </a:extLst>
            </p:cNvPr>
            <p:cNvGrpSpPr/>
            <p:nvPr/>
          </p:nvGrpSpPr>
          <p:grpSpPr>
            <a:xfrm>
              <a:off x="882" y="5747271"/>
              <a:ext cx="12434711" cy="1247254"/>
              <a:chOff x="0" y="5635091"/>
              <a:chExt cx="12192000" cy="1222909"/>
            </a:xfrm>
          </p:grpSpPr>
          <p:pic>
            <p:nvPicPr>
              <p:cNvPr id="17" name="Graphic 16">
                <a:extLst>
                  <a:ext uri="{FF2B5EF4-FFF2-40B4-BE49-F238E27FC236}">
                    <a16:creationId xmlns:a16="http://schemas.microsoft.com/office/drawing/2014/main" id="{BD7735D6-C589-4438-AD7D-26129C28CAB6}"/>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l="20729" t="29173" r="-83499" b="46159"/>
              <a:stretch/>
            </p:blipFill>
            <p:spPr>
              <a:xfrm>
                <a:off x="1337735" y="5934456"/>
                <a:ext cx="10834351" cy="923544"/>
              </a:xfrm>
              <a:custGeom>
                <a:avLst/>
                <a:gdLst>
                  <a:gd name="connsiteX0" fmla="*/ 1202266 w 10834351"/>
                  <a:gd name="connsiteY0" fmla="*/ 0 h 923544"/>
                  <a:gd name="connsiteX1" fmla="*/ 10834351 w 10834351"/>
                  <a:gd name="connsiteY1" fmla="*/ 0 h 923544"/>
                  <a:gd name="connsiteX2" fmla="*/ 10834351 w 10834351"/>
                  <a:gd name="connsiteY2" fmla="*/ 923544 h 923544"/>
                  <a:gd name="connsiteX3" fmla="*/ 5276432 w 10834351"/>
                  <a:gd name="connsiteY3" fmla="*/ 923544 h 923544"/>
                  <a:gd name="connsiteX4" fmla="*/ 5263870 w 10834351"/>
                  <a:gd name="connsiteY4" fmla="*/ 923544 h 923544"/>
                  <a:gd name="connsiteX5" fmla="*/ 0 w 10834351"/>
                  <a:gd name="connsiteY5" fmla="*/ 923544 h 923544"/>
                  <a:gd name="connsiteX6" fmla="*/ 694266 w 10834351"/>
                  <a:gd name="connsiteY6" fmla="*/ 263144 h 923544"/>
                  <a:gd name="connsiteX7" fmla="*/ 1202266 w 10834351"/>
                  <a:gd name="connsiteY7" fmla="*/ 110744 h 92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4351" h="923544">
                    <a:moveTo>
                      <a:pt x="1202266" y="0"/>
                    </a:moveTo>
                    <a:lnTo>
                      <a:pt x="10834351" y="0"/>
                    </a:lnTo>
                    <a:lnTo>
                      <a:pt x="10834351" y="923544"/>
                    </a:lnTo>
                    <a:lnTo>
                      <a:pt x="5276432" y="923544"/>
                    </a:lnTo>
                    <a:lnTo>
                      <a:pt x="5263870" y="923544"/>
                    </a:lnTo>
                    <a:lnTo>
                      <a:pt x="0" y="923544"/>
                    </a:lnTo>
                    <a:lnTo>
                      <a:pt x="694266" y="263144"/>
                    </a:lnTo>
                    <a:lnTo>
                      <a:pt x="1202266" y="110744"/>
                    </a:lnTo>
                    <a:close/>
                  </a:path>
                </a:pathLst>
              </a:custGeom>
            </p:spPr>
          </p:pic>
          <p:pic>
            <p:nvPicPr>
              <p:cNvPr id="18" name="Graphic 17">
                <a:extLst>
                  <a:ext uri="{FF2B5EF4-FFF2-40B4-BE49-F238E27FC236}">
                    <a16:creationId xmlns:a16="http://schemas.microsoft.com/office/drawing/2014/main" id="{43B3CCF0-EF59-4F33-878B-274F2FAE9A3A}"/>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t="21933" r="16311" b="59332"/>
              <a:stretch/>
            </p:blipFill>
            <p:spPr>
              <a:xfrm>
                <a:off x="6601605" y="6045200"/>
                <a:ext cx="5570481" cy="812800"/>
              </a:xfrm>
              <a:custGeom>
                <a:avLst/>
                <a:gdLst>
                  <a:gd name="connsiteX0" fmla="*/ 0 w 5570481"/>
                  <a:gd name="connsiteY0" fmla="*/ 0 h 812800"/>
                  <a:gd name="connsiteX1" fmla="*/ 5570481 w 5570481"/>
                  <a:gd name="connsiteY1" fmla="*/ 0 h 812800"/>
                  <a:gd name="connsiteX2" fmla="*/ 5570481 w 5570481"/>
                  <a:gd name="connsiteY2" fmla="*/ 812800 h 812800"/>
                  <a:gd name="connsiteX3" fmla="*/ 0 w 5570481"/>
                  <a:gd name="connsiteY3" fmla="*/ 812800 h 812800"/>
                </a:gdLst>
                <a:ahLst/>
                <a:cxnLst>
                  <a:cxn ang="0">
                    <a:pos x="connsiteX0" y="connsiteY0"/>
                  </a:cxn>
                  <a:cxn ang="0">
                    <a:pos x="connsiteX1" y="connsiteY1"/>
                  </a:cxn>
                  <a:cxn ang="0">
                    <a:pos x="connsiteX2" y="connsiteY2"/>
                  </a:cxn>
                  <a:cxn ang="0">
                    <a:pos x="connsiteX3" y="connsiteY3"/>
                  </a:cxn>
                </a:cxnLst>
                <a:rect l="l" t="t" r="r" b="b"/>
                <a:pathLst>
                  <a:path w="5570481" h="812800">
                    <a:moveTo>
                      <a:pt x="0" y="0"/>
                    </a:moveTo>
                    <a:lnTo>
                      <a:pt x="5570481" y="0"/>
                    </a:lnTo>
                    <a:lnTo>
                      <a:pt x="5570481" y="812800"/>
                    </a:lnTo>
                    <a:lnTo>
                      <a:pt x="0" y="812800"/>
                    </a:lnTo>
                    <a:close/>
                  </a:path>
                </a:pathLst>
              </a:custGeom>
            </p:spPr>
          </p:pic>
          <p:pic>
            <p:nvPicPr>
              <p:cNvPr id="19" name="Graphic 18">
                <a:extLst>
                  <a:ext uri="{FF2B5EF4-FFF2-40B4-BE49-F238E27FC236}">
                    <a16:creationId xmlns:a16="http://schemas.microsoft.com/office/drawing/2014/main" id="{E2024D5B-EB59-4769-926A-CD808371E4A8}"/>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t="23002" b="59166"/>
              <a:stretch/>
            </p:blipFill>
            <p:spPr>
              <a:xfrm rot="10800000">
                <a:off x="0" y="5635091"/>
                <a:ext cx="12192000" cy="1222909"/>
              </a:xfrm>
              <a:custGeom>
                <a:avLst/>
                <a:gdLst>
                  <a:gd name="connsiteX0" fmla="*/ 12192000 w 12192000"/>
                  <a:gd name="connsiteY0" fmla="*/ 1222909 h 1222909"/>
                  <a:gd name="connsiteX1" fmla="*/ 0 w 12192000"/>
                  <a:gd name="connsiteY1" fmla="*/ 1222909 h 1222909"/>
                  <a:gd name="connsiteX2" fmla="*/ 0 w 12192000"/>
                  <a:gd name="connsiteY2" fmla="*/ 0 h 1222909"/>
                  <a:gd name="connsiteX3" fmla="*/ 12192000 w 12192000"/>
                  <a:gd name="connsiteY3" fmla="*/ 0 h 1222909"/>
                </a:gdLst>
                <a:ahLst/>
                <a:cxnLst>
                  <a:cxn ang="0">
                    <a:pos x="connsiteX0" y="connsiteY0"/>
                  </a:cxn>
                  <a:cxn ang="0">
                    <a:pos x="connsiteX1" y="connsiteY1"/>
                  </a:cxn>
                  <a:cxn ang="0">
                    <a:pos x="connsiteX2" y="connsiteY2"/>
                  </a:cxn>
                  <a:cxn ang="0">
                    <a:pos x="connsiteX3" y="connsiteY3"/>
                  </a:cxn>
                </a:cxnLst>
                <a:rect l="l" t="t" r="r" b="b"/>
                <a:pathLst>
                  <a:path w="12192000" h="1222909">
                    <a:moveTo>
                      <a:pt x="12192000" y="1222909"/>
                    </a:moveTo>
                    <a:lnTo>
                      <a:pt x="0" y="1222909"/>
                    </a:lnTo>
                    <a:lnTo>
                      <a:pt x="0" y="0"/>
                    </a:lnTo>
                    <a:lnTo>
                      <a:pt x="12192000" y="0"/>
                    </a:lnTo>
                    <a:close/>
                  </a:path>
                </a:pathLst>
              </a:custGeom>
            </p:spPr>
          </p:pic>
        </p:grpSp>
        <p:sp>
          <p:nvSpPr>
            <p:cNvPr id="15" name="Oval 14">
              <a:extLst>
                <a:ext uri="{FF2B5EF4-FFF2-40B4-BE49-F238E27FC236}">
                  <a16:creationId xmlns:a16="http://schemas.microsoft.com/office/drawing/2014/main" id="{1F4F2BFB-867D-4B76-8120-4E3BA351412E}"/>
                </a:ext>
                <a:ext uri="{C183D7F6-B498-43B3-948B-1728B52AA6E4}">
                  <adec:decorative xmlns:adec="http://schemas.microsoft.com/office/drawing/2017/decorative" val="1"/>
                </a:ext>
              </a:extLst>
            </p:cNvPr>
            <p:cNvSpPr/>
            <p:nvPr/>
          </p:nvSpPr>
          <p:spPr bwMode="auto">
            <a:xfrm>
              <a:off x="10341645" y="6024026"/>
              <a:ext cx="123653" cy="12365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Oval 15">
              <a:extLst>
                <a:ext uri="{FF2B5EF4-FFF2-40B4-BE49-F238E27FC236}">
                  <a16:creationId xmlns:a16="http://schemas.microsoft.com/office/drawing/2014/main" id="{4436ED5E-1C55-4318-81A9-0986102CA938}"/>
                </a:ext>
                <a:ext uri="{C183D7F6-B498-43B3-948B-1728B52AA6E4}">
                  <adec:decorative xmlns:adec="http://schemas.microsoft.com/office/drawing/2017/decorative" val="1"/>
                </a:ext>
              </a:extLst>
            </p:cNvPr>
            <p:cNvSpPr/>
            <p:nvPr/>
          </p:nvSpPr>
          <p:spPr bwMode="auto">
            <a:xfrm>
              <a:off x="2557852" y="6053595"/>
              <a:ext cx="123653" cy="12365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28621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8B3E3A81-7EE3-4CEF-A7F2-9050EEC5D479}"/>
              </a:ext>
              <a:ext uri="{C183D7F6-B498-43B3-948B-1728B52AA6E4}">
                <adec:decorative xmlns:adec="http://schemas.microsoft.com/office/drawing/2017/decorative" val="1"/>
              </a:ext>
            </a:extLst>
          </p:cNvPr>
          <p:cNvGrpSpPr/>
          <p:nvPr/>
        </p:nvGrpSpPr>
        <p:grpSpPr>
          <a:xfrm>
            <a:off x="3529" y="4951526"/>
            <a:ext cx="12409121" cy="2055023"/>
            <a:chOff x="0" y="4842231"/>
            <a:chExt cx="12172086" cy="2015769"/>
          </a:xfrm>
        </p:grpSpPr>
        <p:pic>
          <p:nvPicPr>
            <p:cNvPr id="21" name="Graphic 20">
              <a:extLst>
                <a:ext uri="{FF2B5EF4-FFF2-40B4-BE49-F238E27FC236}">
                  <a16:creationId xmlns:a16="http://schemas.microsoft.com/office/drawing/2014/main" id="{90B0A663-12BA-4F9B-9056-87A64BFF776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32" b="46159"/>
            <a:stretch/>
          </p:blipFill>
          <p:spPr>
            <a:xfrm>
              <a:off x="0" y="4842232"/>
              <a:ext cx="6614167" cy="2015768"/>
            </a:xfrm>
            <a:prstGeom prst="rect">
              <a:avLst/>
            </a:prstGeom>
          </p:spPr>
        </p:pic>
        <p:pic>
          <p:nvPicPr>
            <p:cNvPr id="22" name="Graphic 21">
              <a:extLst>
                <a:ext uri="{FF2B5EF4-FFF2-40B4-BE49-F238E27FC236}">
                  <a16:creationId xmlns:a16="http://schemas.microsoft.com/office/drawing/2014/main" id="{6EE1E9EC-271C-4418-8F47-27D205300636}"/>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r="16311" b="46159"/>
            <a:stretch/>
          </p:blipFill>
          <p:spPr>
            <a:xfrm>
              <a:off x="6601605" y="4842231"/>
              <a:ext cx="5570481" cy="2015769"/>
            </a:xfrm>
            <a:prstGeom prst="rect">
              <a:avLst/>
            </a:prstGeom>
          </p:spPr>
        </p:pic>
      </p:grpSp>
      <p:sp>
        <p:nvSpPr>
          <p:cNvPr id="42" name="Rectangle 41">
            <a:extLst>
              <a:ext uri="{FF2B5EF4-FFF2-40B4-BE49-F238E27FC236}">
                <a16:creationId xmlns:a16="http://schemas.microsoft.com/office/drawing/2014/main" id="{50876D99-2A34-2D4F-8802-AAD8B2149642}"/>
              </a:ext>
              <a:ext uri="{C183D7F6-B498-43B3-948B-1728B52AA6E4}">
                <adec:decorative xmlns:adec="http://schemas.microsoft.com/office/drawing/2017/decorative" val="1"/>
              </a:ext>
            </a:extLst>
          </p:cNvPr>
          <p:cNvSpPr/>
          <p:nvPr/>
        </p:nvSpPr>
        <p:spPr bwMode="auto">
          <a:xfrm>
            <a:off x="347557" y="1531876"/>
            <a:ext cx="5678959" cy="4711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1EDB27C9-27A8-4AAA-9A78-9F2B5BC7EF01}"/>
              </a:ext>
              <a:ext uri="{C183D7F6-B498-43B3-948B-1728B52AA6E4}">
                <adec:decorative xmlns:adec="http://schemas.microsoft.com/office/drawing/2017/decorative" val="1"/>
              </a:ext>
            </a:extLst>
          </p:cNvPr>
          <p:cNvSpPr/>
          <p:nvPr/>
        </p:nvSpPr>
        <p:spPr bwMode="auto">
          <a:xfrm>
            <a:off x="11372397" y="4493645"/>
            <a:ext cx="1053800" cy="2512905"/>
          </a:xfrm>
          <a:custGeom>
            <a:avLst/>
            <a:gdLst>
              <a:gd name="connsiteX0" fmla="*/ 1033670 w 1033670"/>
              <a:gd name="connsiteY0" fmla="*/ 0 h 2464904"/>
              <a:gd name="connsiteX1" fmla="*/ 397566 w 1033670"/>
              <a:gd name="connsiteY1" fmla="*/ 748748 h 2464904"/>
              <a:gd name="connsiteX2" fmla="*/ 26505 w 1033670"/>
              <a:gd name="connsiteY2" fmla="*/ 1272209 h 2464904"/>
              <a:gd name="connsiteX3" fmla="*/ 0 w 1033670"/>
              <a:gd name="connsiteY3" fmla="*/ 1716156 h 2464904"/>
              <a:gd name="connsiteX4" fmla="*/ 271670 w 1033670"/>
              <a:gd name="connsiteY4" fmla="*/ 2153478 h 2464904"/>
              <a:gd name="connsiteX5" fmla="*/ 616226 w 1033670"/>
              <a:gd name="connsiteY5" fmla="*/ 2464904 h 2464904"/>
              <a:gd name="connsiteX6" fmla="*/ 1020418 w 1033670"/>
              <a:gd name="connsiteY6" fmla="*/ 2464904 h 2464904"/>
              <a:gd name="connsiteX7" fmla="*/ 1033670 w 1033670"/>
              <a:gd name="connsiteY7" fmla="*/ 0 h 246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3670" h="2464904">
                <a:moveTo>
                  <a:pt x="1033670" y="0"/>
                </a:moveTo>
                <a:lnTo>
                  <a:pt x="397566" y="748748"/>
                </a:lnTo>
                <a:lnTo>
                  <a:pt x="26505" y="1272209"/>
                </a:lnTo>
                <a:lnTo>
                  <a:pt x="0" y="1716156"/>
                </a:lnTo>
                <a:lnTo>
                  <a:pt x="271670" y="2153478"/>
                </a:lnTo>
                <a:lnTo>
                  <a:pt x="616226" y="2464904"/>
                </a:lnTo>
                <a:lnTo>
                  <a:pt x="1020418" y="2464904"/>
                </a:lnTo>
                <a:cubicBezTo>
                  <a:pt x="1024835" y="1643269"/>
                  <a:pt x="1029253" y="821635"/>
                  <a:pt x="1033670"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Title 1">
            <a:extLst>
              <a:ext uri="{FF2B5EF4-FFF2-40B4-BE49-F238E27FC236}">
                <a16:creationId xmlns:a16="http://schemas.microsoft.com/office/drawing/2014/main" id="{6365B6EA-59BE-4624-8625-1BB118FE735A}"/>
              </a:ext>
            </a:extLst>
          </p:cNvPr>
          <p:cNvSpPr>
            <a:spLocks noGrp="1"/>
          </p:cNvSpPr>
          <p:nvPr>
            <p:ph type="title"/>
          </p:nvPr>
        </p:nvSpPr>
        <p:spPr>
          <a:xfrm>
            <a:off x="276006" y="293518"/>
            <a:ext cx="11884506" cy="917314"/>
          </a:xfrm>
        </p:spPr>
        <p:txBody>
          <a:bodyPr/>
          <a:lstStyle/>
          <a:p>
            <a:r>
              <a:rPr lang="en-US" dirty="0">
                <a:solidFill>
                  <a:srgbClr val="002060"/>
                </a:solidFill>
              </a:rPr>
              <a:t>Azure credits</a:t>
            </a:r>
          </a:p>
        </p:txBody>
      </p:sp>
      <p:sp>
        <p:nvSpPr>
          <p:cNvPr id="32" name="Rectangle 31">
            <a:extLst>
              <a:ext uri="{FF2B5EF4-FFF2-40B4-BE49-F238E27FC236}">
                <a16:creationId xmlns:a16="http://schemas.microsoft.com/office/drawing/2014/main" id="{BE69F4DD-751E-4817-8405-C2A0F979223A}"/>
              </a:ext>
            </a:extLst>
          </p:cNvPr>
          <p:cNvSpPr/>
          <p:nvPr/>
        </p:nvSpPr>
        <p:spPr bwMode="auto">
          <a:xfrm>
            <a:off x="458835" y="915135"/>
            <a:ext cx="9334908" cy="4393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50938">
              <a:spcBef>
                <a:spcPct val="0"/>
              </a:spcBef>
              <a:defRPr/>
            </a:pPr>
            <a:r>
              <a:rPr lang="en-US" sz="1800" spc="-51" dirty="0">
                <a:ln w="3175">
                  <a:noFill/>
                </a:ln>
                <a:solidFill>
                  <a:srgbClr val="1A1A1A"/>
                </a:solidFill>
                <a:latin typeface="Segoe UI"/>
                <a:cs typeface="Segoe UI" pitchFamily="34" charset="0"/>
              </a:rPr>
              <a:t>Access to Azure credits and free developer tools</a:t>
            </a:r>
          </a:p>
        </p:txBody>
      </p:sp>
      <p:grpSp>
        <p:nvGrpSpPr>
          <p:cNvPr id="10" name="Group 9">
            <a:extLst>
              <a:ext uri="{FF2B5EF4-FFF2-40B4-BE49-F238E27FC236}">
                <a16:creationId xmlns:a16="http://schemas.microsoft.com/office/drawing/2014/main" id="{F2D48E99-9892-244B-945B-2D33664E3218}"/>
              </a:ext>
              <a:ext uri="{C183D7F6-B498-43B3-948B-1728B52AA6E4}">
                <adec:decorative xmlns:adec="http://schemas.microsoft.com/office/drawing/2017/decorative" val="1"/>
              </a:ext>
            </a:extLst>
          </p:cNvPr>
          <p:cNvGrpSpPr/>
          <p:nvPr/>
        </p:nvGrpSpPr>
        <p:grpSpPr>
          <a:xfrm>
            <a:off x="540506" y="1766930"/>
            <a:ext cx="5210973" cy="4189211"/>
            <a:chOff x="6491868" y="1757652"/>
            <a:chExt cx="5212452" cy="4190405"/>
          </a:xfrm>
        </p:grpSpPr>
        <p:sp>
          <p:nvSpPr>
            <p:cNvPr id="38" name="TextBox 37">
              <a:extLst>
                <a:ext uri="{FF2B5EF4-FFF2-40B4-BE49-F238E27FC236}">
                  <a16:creationId xmlns:a16="http://schemas.microsoft.com/office/drawing/2014/main" id="{B427B86A-41E6-4492-BE45-D5EFCF97BFE8}"/>
                </a:ext>
              </a:extLst>
            </p:cNvPr>
            <p:cNvSpPr txBox="1"/>
            <p:nvPr/>
          </p:nvSpPr>
          <p:spPr>
            <a:xfrm>
              <a:off x="7315200" y="2880958"/>
              <a:ext cx="4389120" cy="664987"/>
            </a:xfrm>
            <a:prstGeom prst="rect">
              <a:avLst/>
            </a:prstGeom>
            <a:noFill/>
          </p:spPr>
          <p:txBody>
            <a:bodyPr wrap="square" lIns="0" tIns="0" rIns="0" bIns="0" rtlCol="0">
              <a:spAutoFit/>
            </a:bodyPr>
            <a:lstStyle/>
            <a:p>
              <a:pPr defTabSz="547528">
                <a:lnSpc>
                  <a:spcPct val="90000"/>
                </a:lnSpc>
                <a:spcAft>
                  <a:spcPts val="612"/>
                </a:spcAft>
                <a:defRPr/>
              </a:pPr>
              <a:r>
                <a:rPr lang="en-US" sz="1600" b="1" dirty="0">
                  <a:gradFill>
                    <a:gsLst>
                      <a:gs pos="2917">
                        <a:srgbClr val="1A1A1A"/>
                      </a:gs>
                      <a:gs pos="30000">
                        <a:srgbClr val="1A1A1A"/>
                      </a:gs>
                    </a:gsLst>
                    <a:lin ang="5400000" scaled="0"/>
                  </a:gradFill>
                  <a:latin typeface="Segoe UI"/>
                </a:rPr>
                <a:t>Educators: </a:t>
              </a:r>
              <a:r>
                <a:rPr lang="en-US" sz="1600" dirty="0">
                  <a:gradFill>
                    <a:gsLst>
                      <a:gs pos="2917">
                        <a:srgbClr val="1A1A1A"/>
                      </a:gs>
                      <a:gs pos="30000">
                        <a:srgbClr val="1A1A1A"/>
                      </a:gs>
                    </a:gsLst>
                    <a:lin ang="5400000" scaled="0"/>
                  </a:gradFill>
                  <a:latin typeface="Segoe UI"/>
                </a:rPr>
                <a:t>Get $200 credit (check by geo) of free Azure services when you create your </a:t>
              </a:r>
              <a:r>
                <a:rPr lang="en-US" sz="1600" dirty="0">
                  <a:gradFill>
                    <a:gsLst>
                      <a:gs pos="2917">
                        <a:srgbClr val="1A1A1A"/>
                      </a:gs>
                      <a:gs pos="30000">
                        <a:srgbClr val="1A1A1A"/>
                      </a:gs>
                    </a:gsLst>
                    <a:lin ang="5400000" scaled="0"/>
                  </a:gradFill>
                  <a:latin typeface="Segoe UI"/>
                  <a:hlinkClick r:id="rId5"/>
                </a:rPr>
                <a:t>free Azure account</a:t>
              </a:r>
              <a:endParaRPr lang="en-US" sz="1600" dirty="0">
                <a:gradFill>
                  <a:gsLst>
                    <a:gs pos="2917">
                      <a:srgbClr val="1A1A1A"/>
                    </a:gs>
                    <a:gs pos="30000">
                      <a:srgbClr val="1A1A1A"/>
                    </a:gs>
                  </a:gsLst>
                  <a:lin ang="5400000" scaled="0"/>
                </a:gradFill>
                <a:latin typeface="Segoe UI"/>
              </a:endParaRPr>
            </a:p>
          </p:txBody>
        </p:sp>
        <p:pic>
          <p:nvPicPr>
            <p:cNvPr id="39" name="Graphic 38" descr="Internet">
              <a:extLst>
                <a:ext uri="{FF2B5EF4-FFF2-40B4-BE49-F238E27FC236}">
                  <a16:creationId xmlns:a16="http://schemas.microsoft.com/office/drawing/2014/main" id="{61C6D3A4-8849-4314-B00F-BEF839CE87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02384" y="2874461"/>
              <a:ext cx="654496" cy="654496"/>
            </a:xfrm>
            <a:prstGeom prst="rect">
              <a:avLst/>
            </a:prstGeom>
          </p:spPr>
        </p:pic>
        <p:sp>
          <p:nvSpPr>
            <p:cNvPr id="40" name="TextBox 39">
              <a:extLst>
                <a:ext uri="{FF2B5EF4-FFF2-40B4-BE49-F238E27FC236}">
                  <a16:creationId xmlns:a16="http://schemas.microsoft.com/office/drawing/2014/main" id="{3C1CDA6D-67C7-4FE3-9561-C2D33EB7B81B}"/>
                </a:ext>
              </a:extLst>
            </p:cNvPr>
            <p:cNvSpPr txBox="1"/>
            <p:nvPr/>
          </p:nvSpPr>
          <p:spPr>
            <a:xfrm>
              <a:off x="7276467" y="3871661"/>
              <a:ext cx="4389120" cy="886650"/>
            </a:xfrm>
            <a:prstGeom prst="rect">
              <a:avLst/>
            </a:prstGeom>
            <a:noFill/>
          </p:spPr>
          <p:txBody>
            <a:bodyPr wrap="square" lIns="0" tIns="0" rIns="0" bIns="0" rtlCol="0">
              <a:spAutoFit/>
            </a:bodyPr>
            <a:lstStyle/>
            <a:p>
              <a:pPr defTabSz="547528">
                <a:lnSpc>
                  <a:spcPct val="90000"/>
                </a:lnSpc>
                <a:spcAft>
                  <a:spcPts val="612"/>
                </a:spcAft>
                <a:defRPr/>
              </a:pPr>
              <a:r>
                <a:rPr lang="en-US" sz="1600" dirty="0">
                  <a:gradFill>
                    <a:gsLst>
                      <a:gs pos="2917">
                        <a:srgbClr val="1A1A1A"/>
                      </a:gs>
                      <a:gs pos="30000">
                        <a:srgbClr val="1A1A1A"/>
                      </a:gs>
                    </a:gsLst>
                    <a:lin ang="5400000" scaled="0"/>
                  </a:gradFill>
                  <a:latin typeface="Segoe UI"/>
                  <a:hlinkClick r:id="rId8"/>
                </a:rPr>
                <a:t>Azure Lab Services </a:t>
              </a:r>
              <a:r>
                <a:rPr lang="en-US" sz="1600" dirty="0">
                  <a:gradFill>
                    <a:gsLst>
                      <a:gs pos="2917">
                        <a:srgbClr val="1A1A1A"/>
                      </a:gs>
                      <a:gs pos="30000">
                        <a:srgbClr val="1A1A1A"/>
                      </a:gs>
                    </a:gsLst>
                    <a:lin ang="5400000" scaled="0"/>
                  </a:gradFill>
                  <a:latin typeface="Segoe UI"/>
                </a:rPr>
                <a:t>enables educators to set up and provide on-demand access to preconfigured virtual machines (VMs) to support classroom scenarios</a:t>
              </a:r>
            </a:p>
          </p:txBody>
        </p:sp>
        <p:pic>
          <p:nvPicPr>
            <p:cNvPr id="41" name="Graphic 40" descr="Envelope">
              <a:extLst>
                <a:ext uri="{FF2B5EF4-FFF2-40B4-BE49-F238E27FC236}">
                  <a16:creationId xmlns:a16="http://schemas.microsoft.com/office/drawing/2014/main" id="{6D7742E2-7AD3-4DB3-9942-DF02D1E6ADC1}"/>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26389" y="3952039"/>
              <a:ext cx="573651" cy="573651"/>
            </a:xfrm>
            <a:prstGeom prst="rect">
              <a:avLst/>
            </a:prstGeom>
          </p:spPr>
        </p:pic>
        <p:pic>
          <p:nvPicPr>
            <p:cNvPr id="44" name="Graphic 43" descr="Server">
              <a:extLst>
                <a:ext uri="{FF2B5EF4-FFF2-40B4-BE49-F238E27FC236}">
                  <a16:creationId xmlns:a16="http://schemas.microsoft.com/office/drawing/2014/main" id="{33110A6E-7610-49BA-B9CD-24421CD2E2A7}"/>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69091" y="5190140"/>
              <a:ext cx="518248" cy="518248"/>
            </a:xfrm>
            <a:prstGeom prst="rect">
              <a:avLst/>
            </a:prstGeom>
          </p:spPr>
        </p:pic>
        <p:sp>
          <p:nvSpPr>
            <p:cNvPr id="45" name="TextBox 44">
              <a:extLst>
                <a:ext uri="{FF2B5EF4-FFF2-40B4-BE49-F238E27FC236}">
                  <a16:creationId xmlns:a16="http://schemas.microsoft.com/office/drawing/2014/main" id="{B7AADAE2-420F-410B-BF7A-E07A9F1EC604}"/>
                </a:ext>
              </a:extLst>
            </p:cNvPr>
            <p:cNvSpPr txBox="1"/>
            <p:nvPr/>
          </p:nvSpPr>
          <p:spPr>
            <a:xfrm>
              <a:off x="7315199" y="1757652"/>
              <a:ext cx="4389120" cy="1161738"/>
            </a:xfrm>
            <a:prstGeom prst="rect">
              <a:avLst/>
            </a:prstGeom>
            <a:noFill/>
          </p:spPr>
          <p:txBody>
            <a:bodyPr wrap="square" lIns="0" tIns="0" rIns="0" bIns="0" rtlCol="0">
              <a:spAutoFit/>
            </a:bodyPr>
            <a:lstStyle/>
            <a:p>
              <a:pPr defTabSz="547528">
                <a:lnSpc>
                  <a:spcPct val="90000"/>
                </a:lnSpc>
                <a:spcAft>
                  <a:spcPts val="612"/>
                </a:spcAft>
                <a:defRPr/>
              </a:pPr>
              <a:r>
                <a:rPr lang="en-US" sz="1600" b="1" dirty="0">
                  <a:gradFill>
                    <a:gsLst>
                      <a:gs pos="2917">
                        <a:srgbClr val="1A1A1A"/>
                      </a:gs>
                      <a:gs pos="30000">
                        <a:srgbClr val="1A1A1A"/>
                      </a:gs>
                    </a:gsLst>
                    <a:lin ang="5400000" scaled="0"/>
                  </a:gradFill>
                  <a:latin typeface="Segoe UI"/>
                </a:rPr>
                <a:t>Students: </a:t>
              </a:r>
              <a:r>
                <a:rPr lang="en-US" sz="1600" dirty="0">
                  <a:gradFill>
                    <a:gsLst>
                      <a:gs pos="2917">
                        <a:srgbClr val="1A1A1A"/>
                      </a:gs>
                      <a:gs pos="30000">
                        <a:srgbClr val="1A1A1A"/>
                      </a:gs>
                    </a:gsLst>
                    <a:lin ang="5400000" scaled="0"/>
                  </a:gradFill>
                  <a:latin typeface="Segoe UI"/>
                </a:rPr>
                <a:t>Get $100 credit when you create your </a:t>
              </a:r>
              <a:r>
                <a:rPr lang="en-US" sz="1600" dirty="0">
                  <a:gradFill>
                    <a:gsLst>
                      <a:gs pos="2917">
                        <a:srgbClr val="1A1A1A"/>
                      </a:gs>
                      <a:gs pos="30000">
                        <a:srgbClr val="1A1A1A"/>
                      </a:gs>
                    </a:gsLst>
                    <a:lin ang="5400000" scaled="0"/>
                  </a:gradFill>
                  <a:latin typeface="Segoe UI"/>
                  <a:hlinkClick r:id="rId13"/>
                </a:rPr>
                <a:t>free Azure for Students account</a:t>
              </a:r>
              <a:r>
                <a:rPr lang="en-US" sz="1600" dirty="0">
                  <a:gradFill>
                    <a:gsLst>
                      <a:gs pos="2917">
                        <a:srgbClr val="1A1A1A"/>
                      </a:gs>
                      <a:gs pos="30000">
                        <a:srgbClr val="1A1A1A"/>
                      </a:gs>
                    </a:gsLst>
                    <a:lin ang="5400000" scaled="0"/>
                  </a:gradFill>
                  <a:latin typeface="Segoe UI"/>
                </a:rPr>
                <a:t>. 12 months of free Azure services, </a:t>
              </a:r>
              <a:r>
                <a:rPr lang="en-US" sz="1600" dirty="0">
                  <a:solidFill>
                    <a:srgbClr val="1A1A1A"/>
                  </a:solidFill>
                  <a:latin typeface="Segoe UI" panose="020B0502040204020203" pitchFamily="34" charset="0"/>
                </a:rPr>
                <a:t>renewable annually (</a:t>
              </a:r>
              <a:r>
                <a:rPr lang="en-US" sz="1600" dirty="0">
                  <a:gradFill>
                    <a:gsLst>
                      <a:gs pos="2917">
                        <a:srgbClr val="1A1A1A"/>
                      </a:gs>
                      <a:gs pos="30000">
                        <a:srgbClr val="1A1A1A"/>
                      </a:gs>
                    </a:gsLst>
                    <a:lin ang="5400000" scaled="0"/>
                  </a:gradFill>
                  <a:latin typeface="Segoe UI" panose="020B0502040204020203" pitchFamily="34" charset="0"/>
                </a:rPr>
                <a:t>f</a:t>
              </a:r>
              <a:r>
                <a:rPr lang="en-US" sz="1600" dirty="0">
                  <a:solidFill>
                    <a:srgbClr val="1A1A1A"/>
                  </a:solidFill>
                  <a:latin typeface="Segoe UI" panose="020B0502040204020203" pitchFamily="34" charset="0"/>
                </a:rPr>
                <a:t>or students over 18)</a:t>
              </a:r>
            </a:p>
            <a:p>
              <a:pPr defTabSz="547528">
                <a:lnSpc>
                  <a:spcPct val="90000"/>
                </a:lnSpc>
                <a:spcAft>
                  <a:spcPts val="612"/>
                </a:spcAft>
                <a:defRPr/>
              </a:pPr>
              <a:endParaRPr lang="en-US" sz="1430" dirty="0">
                <a:gradFill>
                  <a:gsLst>
                    <a:gs pos="2917">
                      <a:srgbClr val="1A1A1A"/>
                    </a:gs>
                    <a:gs pos="30000">
                      <a:srgbClr val="1A1A1A"/>
                    </a:gs>
                  </a:gsLst>
                  <a:lin ang="5400000" scaled="0"/>
                </a:gradFill>
                <a:latin typeface="Segoe UI"/>
              </a:endParaRPr>
            </a:p>
          </p:txBody>
        </p:sp>
        <p:pic>
          <p:nvPicPr>
            <p:cNvPr id="46" name="Graphic 45" descr="Programmer">
              <a:extLst>
                <a:ext uri="{FF2B5EF4-FFF2-40B4-BE49-F238E27FC236}">
                  <a16:creationId xmlns:a16="http://schemas.microsoft.com/office/drawing/2014/main" id="{F92F4660-2768-4ED2-BEFF-1787F3710C7D}"/>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38622" y="1820411"/>
              <a:ext cx="582019" cy="582019"/>
            </a:xfrm>
            <a:prstGeom prst="rect">
              <a:avLst/>
            </a:prstGeom>
          </p:spPr>
        </p:pic>
        <p:cxnSp>
          <p:nvCxnSpPr>
            <p:cNvPr id="34" name="Straight Connector 33">
              <a:extLst>
                <a:ext uri="{FF2B5EF4-FFF2-40B4-BE49-F238E27FC236}">
                  <a16:creationId xmlns:a16="http://schemas.microsoft.com/office/drawing/2014/main" id="{E23922A7-6423-4A42-80AB-498890CADC8D}"/>
                </a:ext>
                <a:ext uri="{C183D7F6-B498-43B3-948B-1728B52AA6E4}">
                  <adec:decorative xmlns:adec="http://schemas.microsoft.com/office/drawing/2017/decorative" val="1"/>
                </a:ext>
              </a:extLst>
            </p:cNvPr>
            <p:cNvCxnSpPr>
              <a:cxnSpLocks/>
            </p:cNvCxnSpPr>
            <p:nvPr/>
          </p:nvCxnSpPr>
          <p:spPr>
            <a:xfrm>
              <a:off x="6505065" y="2716969"/>
              <a:ext cx="4942798"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BD9BD38-C5DB-4906-904C-67FD14C87DAE}"/>
                </a:ext>
                <a:ext uri="{C183D7F6-B498-43B3-948B-1728B52AA6E4}">
                  <adec:decorative xmlns:adec="http://schemas.microsoft.com/office/drawing/2017/decorative" val="1"/>
                </a:ext>
              </a:extLst>
            </p:cNvPr>
            <p:cNvCxnSpPr>
              <a:cxnSpLocks/>
            </p:cNvCxnSpPr>
            <p:nvPr/>
          </p:nvCxnSpPr>
          <p:spPr>
            <a:xfrm>
              <a:off x="6491868" y="3701961"/>
              <a:ext cx="4942798"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5ECF5C0-E188-4848-B9B4-706E7A834127}"/>
                </a:ext>
                <a:ext uri="{C183D7F6-B498-43B3-948B-1728B52AA6E4}">
                  <adec:decorative xmlns:adec="http://schemas.microsoft.com/office/drawing/2017/decorative" val="1"/>
                </a:ext>
              </a:extLst>
            </p:cNvPr>
            <p:cNvCxnSpPr>
              <a:cxnSpLocks/>
            </p:cNvCxnSpPr>
            <p:nvPr/>
          </p:nvCxnSpPr>
          <p:spPr>
            <a:xfrm>
              <a:off x="6505065" y="4873442"/>
              <a:ext cx="4942798" cy="0"/>
            </a:xfrm>
            <a:prstGeom prst="line">
              <a:avLst/>
            </a:prstGeom>
            <a:ln w="6350"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4DEDFDF-FB4A-422B-BB43-E6AF0E58469C}"/>
                </a:ext>
              </a:extLst>
            </p:cNvPr>
            <p:cNvSpPr txBox="1"/>
            <p:nvPr/>
          </p:nvSpPr>
          <p:spPr>
            <a:xfrm>
              <a:off x="7276467" y="5061407"/>
              <a:ext cx="4389120" cy="886650"/>
            </a:xfrm>
            <a:prstGeom prst="rect">
              <a:avLst/>
            </a:prstGeom>
            <a:noFill/>
          </p:spPr>
          <p:txBody>
            <a:bodyPr wrap="square" lIns="0" tIns="0" rIns="0" bIns="0" rtlCol="0">
              <a:spAutoFit/>
            </a:bodyPr>
            <a:lstStyle/>
            <a:p>
              <a:pPr defTabSz="547528">
                <a:lnSpc>
                  <a:spcPct val="90000"/>
                </a:lnSpc>
                <a:spcAft>
                  <a:spcPts val="612"/>
                </a:spcAft>
                <a:defRPr/>
              </a:pPr>
              <a:r>
                <a:rPr lang="en-US" sz="1600" dirty="0">
                  <a:gradFill>
                    <a:gsLst>
                      <a:gs pos="2917">
                        <a:srgbClr val="1A1A1A"/>
                      </a:gs>
                      <a:gs pos="30000">
                        <a:srgbClr val="1A1A1A"/>
                      </a:gs>
                    </a:gsLst>
                    <a:lin ang="5400000" scaled="0"/>
                  </a:gradFill>
                  <a:latin typeface="Segoe UI"/>
                  <a:hlinkClick r:id="rId16"/>
                </a:rPr>
                <a:t>Azure Dev Tools for Teaching </a:t>
              </a:r>
              <a:r>
                <a:rPr lang="en-US" sz="1600" dirty="0">
                  <a:gradFill>
                    <a:gsLst>
                      <a:gs pos="2917">
                        <a:srgbClr val="1A1A1A"/>
                      </a:gs>
                      <a:gs pos="30000">
                        <a:srgbClr val="1A1A1A"/>
                      </a:gs>
                    </a:gsLst>
                    <a:lin ang="5400000" scaled="0"/>
                  </a:gradFill>
                  <a:latin typeface="Segoe UI"/>
                </a:rPr>
                <a:t>is available to institutions with Microsoft volume license agreements. For more information, connect with your Microsoft contact</a:t>
              </a:r>
            </a:p>
          </p:txBody>
        </p:sp>
      </p:grpSp>
      <p:sp>
        <p:nvSpPr>
          <p:cNvPr id="33" name="Rectangle 32">
            <a:extLst>
              <a:ext uri="{FF2B5EF4-FFF2-40B4-BE49-F238E27FC236}">
                <a16:creationId xmlns:a16="http://schemas.microsoft.com/office/drawing/2014/main" id="{34C22006-7B61-4E4E-A1F8-07625BFDE29E}"/>
              </a:ext>
              <a:ext uri="{C183D7F6-B498-43B3-948B-1728B52AA6E4}">
                <adec:decorative xmlns:adec="http://schemas.microsoft.com/office/drawing/2017/decorative" val="1"/>
              </a:ext>
            </a:extLst>
          </p:cNvPr>
          <p:cNvSpPr/>
          <p:nvPr/>
        </p:nvSpPr>
        <p:spPr bwMode="auto">
          <a:xfrm>
            <a:off x="6370544" y="1528834"/>
            <a:ext cx="5718375" cy="3925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82880" rIns="186468" bIns="182880" numCol="1" spcCol="0" rtlCol="0" fromWordArt="0" anchor="t" anchorCtr="0" forceAA="0" compatLnSpc="1">
            <a:prstTxWarp prst="textNoShape">
              <a:avLst/>
            </a:prstTxWarp>
            <a:noAutofit/>
          </a:bodyPr>
          <a:lstStyle/>
          <a:p>
            <a:pPr defTabSz="547633">
              <a:spcAft>
                <a:spcPts val="600"/>
              </a:spcAft>
            </a:pPr>
            <a:r>
              <a:rPr lang="en-US" sz="2000" dirty="0">
                <a:gradFill>
                  <a:gsLst>
                    <a:gs pos="2917">
                      <a:srgbClr val="1A1A1A"/>
                    </a:gs>
                    <a:gs pos="30000">
                      <a:srgbClr val="1A1A1A"/>
                    </a:gs>
                  </a:gsLst>
                  <a:lin ang="5400000" scaled="0"/>
                </a:gradFill>
                <a:latin typeface="Segoe UI Semibold" panose="020B0702040204020203" pitchFamily="34" charset="0"/>
                <a:cs typeface="Segoe UI Semibold" panose="020B0702040204020203" pitchFamily="34" charset="0"/>
              </a:rPr>
              <a:t>Based on feedback from students and instructors</a:t>
            </a:r>
          </a:p>
          <a:p>
            <a:pPr marL="285750" indent="-285750" defTabSz="547633">
              <a:spcAft>
                <a:spcPts val="600"/>
              </a:spcAft>
              <a:buFont typeface="Arial" panose="020B0604020202020204" pitchFamily="34" charset="0"/>
              <a:buChar char="•"/>
            </a:pPr>
            <a:r>
              <a:rPr lang="en-US" sz="1600" dirty="0">
                <a:gradFill>
                  <a:gsLst>
                    <a:gs pos="2917">
                      <a:srgbClr val="1A1A1A"/>
                    </a:gs>
                    <a:gs pos="30000">
                      <a:srgbClr val="1A1A1A"/>
                    </a:gs>
                  </a:gsLst>
                  <a:lin ang="5400000" scaled="0"/>
                </a:gradFill>
                <a:latin typeface="Segoe UI"/>
              </a:rPr>
              <a:t>Azure Fundamentals uses $10 or less. </a:t>
            </a:r>
          </a:p>
          <a:p>
            <a:pPr marL="285750" indent="-285750" defTabSz="547633">
              <a:spcAft>
                <a:spcPts val="1800"/>
              </a:spcAft>
              <a:buFont typeface="Arial" panose="020B0604020202020204" pitchFamily="34" charset="0"/>
              <a:buChar char="•"/>
            </a:pPr>
            <a:r>
              <a:rPr lang="en-US" sz="1600" dirty="0">
                <a:gradFill>
                  <a:gsLst>
                    <a:gs pos="2917">
                      <a:srgbClr val="1A1A1A"/>
                    </a:gs>
                    <a:gs pos="30000">
                      <a:srgbClr val="1A1A1A"/>
                    </a:gs>
                  </a:gsLst>
                  <a:lin ang="5400000" scaled="0"/>
                </a:gradFill>
                <a:latin typeface="Segoe UI"/>
              </a:rPr>
              <a:t>To complete all the Fundamentals courses, Azure fees total approximately $55, if you </a:t>
            </a:r>
            <a:r>
              <a:rPr lang="en-US" sz="1600" b="1" dirty="0">
                <a:gradFill>
                  <a:gsLst>
                    <a:gs pos="2917">
                      <a:srgbClr val="1A1A1A"/>
                    </a:gs>
                    <a:gs pos="30000">
                      <a:srgbClr val="1A1A1A"/>
                    </a:gs>
                  </a:gsLst>
                  <a:lin ang="5400000" scaled="0"/>
                </a:gradFill>
                <a:latin typeface="Segoe UI"/>
              </a:rPr>
              <a:t>shut down all Azure services when not in use</a:t>
            </a:r>
            <a:r>
              <a:rPr lang="en-US" sz="1600" dirty="0">
                <a:gradFill>
                  <a:gsLst>
                    <a:gs pos="2917">
                      <a:srgbClr val="1A1A1A"/>
                    </a:gs>
                    <a:gs pos="30000">
                      <a:srgbClr val="1A1A1A"/>
                    </a:gs>
                  </a:gsLst>
                  <a:lin ang="5400000" scaled="0"/>
                </a:gradFill>
                <a:latin typeface="Segoe UI"/>
              </a:rPr>
              <a:t>. </a:t>
            </a:r>
          </a:p>
          <a:p>
            <a:pPr defTabSz="547633"/>
            <a:r>
              <a:rPr lang="en-US" sz="2000" dirty="0">
                <a:gradFill>
                  <a:gsLst>
                    <a:gs pos="2917">
                      <a:srgbClr val="1A1A1A"/>
                    </a:gs>
                    <a:gs pos="30000">
                      <a:srgbClr val="1A1A1A"/>
                    </a:gs>
                  </a:gsLst>
                  <a:lin ang="5400000" scaled="0"/>
                </a:gradFill>
                <a:latin typeface="Segoe UI Semibold" panose="020B0702040204020203" pitchFamily="34" charset="0"/>
                <a:cs typeface="Segoe UI Semibold" panose="020B0702040204020203" pitchFamily="34" charset="0"/>
              </a:rPr>
              <a:t>Useful links</a:t>
            </a:r>
          </a:p>
          <a:p>
            <a:pPr marL="285750" indent="-285750" defTabSz="547633">
              <a:spcAft>
                <a:spcPts val="600"/>
              </a:spcAft>
              <a:buFont typeface="Arial" panose="020B0604020202020204" pitchFamily="34" charset="0"/>
              <a:buChar char="•"/>
            </a:pPr>
            <a:r>
              <a:rPr lang="en-US" sz="1600" dirty="0">
                <a:gradFill>
                  <a:gsLst>
                    <a:gs pos="2917">
                      <a:srgbClr val="1A1A1A"/>
                    </a:gs>
                    <a:gs pos="30000">
                      <a:srgbClr val="1A1A1A"/>
                    </a:gs>
                  </a:gsLst>
                  <a:lin ang="5400000" scaled="0"/>
                </a:gradFill>
                <a:cs typeface="Segoe UI Semibold" panose="020B0702040204020203" pitchFamily="34" charset="0"/>
                <a:hlinkClick r:id="rId17"/>
              </a:rPr>
              <a:t>azure.microsoft.com/</a:t>
            </a:r>
            <a:r>
              <a:rPr lang="en-US" sz="1600" dirty="0" err="1">
                <a:gradFill>
                  <a:gsLst>
                    <a:gs pos="2917">
                      <a:srgbClr val="1A1A1A"/>
                    </a:gs>
                    <a:gs pos="30000">
                      <a:srgbClr val="1A1A1A"/>
                    </a:gs>
                  </a:gsLst>
                  <a:lin ang="5400000" scaled="0"/>
                </a:gradFill>
                <a:cs typeface="Segoe UI Semibold" panose="020B0702040204020203" pitchFamily="34" charset="0"/>
                <a:hlinkClick r:id="rId17"/>
              </a:rPr>
              <a:t>en</a:t>
            </a:r>
            <a:r>
              <a:rPr lang="en-US" sz="1600" dirty="0">
                <a:gradFill>
                  <a:gsLst>
                    <a:gs pos="2917">
                      <a:srgbClr val="1A1A1A"/>
                    </a:gs>
                    <a:gs pos="30000">
                      <a:srgbClr val="1A1A1A"/>
                    </a:gs>
                  </a:gsLst>
                  <a:lin ang="5400000" scaled="0"/>
                </a:gradFill>
                <a:cs typeface="Segoe UI Semibold" panose="020B0702040204020203" pitchFamily="34" charset="0"/>
                <a:hlinkClick r:id="rId17"/>
              </a:rPr>
              <a:t>-us/free/students/</a:t>
            </a:r>
            <a:r>
              <a:rPr lang="en-US" sz="1600" dirty="0">
                <a:gradFill>
                  <a:gsLst>
                    <a:gs pos="2917">
                      <a:srgbClr val="1A1A1A"/>
                    </a:gs>
                    <a:gs pos="30000">
                      <a:srgbClr val="1A1A1A"/>
                    </a:gs>
                  </a:gsLst>
                  <a:lin ang="5400000" scaled="0"/>
                </a:gradFill>
                <a:cs typeface="Segoe UI Semibold" panose="020B0702040204020203" pitchFamily="34" charset="0"/>
              </a:rPr>
              <a:t> </a:t>
            </a:r>
          </a:p>
          <a:p>
            <a:pPr marL="285750" indent="-285750" defTabSz="547633">
              <a:spcAft>
                <a:spcPts val="600"/>
              </a:spcAft>
              <a:buFont typeface="Arial" panose="020B0604020202020204" pitchFamily="34" charset="0"/>
              <a:buChar char="•"/>
            </a:pPr>
            <a:r>
              <a:rPr lang="en-US" sz="1600" dirty="0">
                <a:gradFill>
                  <a:gsLst>
                    <a:gs pos="2917">
                      <a:srgbClr val="1A1A1A"/>
                    </a:gs>
                    <a:gs pos="30000">
                      <a:srgbClr val="1A1A1A"/>
                    </a:gs>
                  </a:gsLst>
                  <a:lin ang="5400000" scaled="0"/>
                </a:gradFill>
                <a:cs typeface="Segoe UI Semibold" panose="020B0702040204020203" pitchFamily="34" charset="0"/>
                <a:hlinkClick r:id="rId18"/>
              </a:rPr>
              <a:t>azure.microsoft.com/</a:t>
            </a:r>
            <a:r>
              <a:rPr lang="en-US" sz="1600" dirty="0" err="1">
                <a:gradFill>
                  <a:gsLst>
                    <a:gs pos="2917">
                      <a:srgbClr val="1A1A1A"/>
                    </a:gs>
                    <a:gs pos="30000">
                      <a:srgbClr val="1A1A1A"/>
                    </a:gs>
                  </a:gsLst>
                  <a:lin ang="5400000" scaled="0"/>
                </a:gradFill>
                <a:cs typeface="Segoe UI Semibold" panose="020B0702040204020203" pitchFamily="34" charset="0"/>
                <a:hlinkClick r:id="rId18"/>
              </a:rPr>
              <a:t>en</a:t>
            </a:r>
            <a:r>
              <a:rPr lang="en-US" sz="1600" dirty="0">
                <a:gradFill>
                  <a:gsLst>
                    <a:gs pos="2917">
                      <a:srgbClr val="1A1A1A"/>
                    </a:gs>
                    <a:gs pos="30000">
                      <a:srgbClr val="1A1A1A"/>
                    </a:gs>
                  </a:gsLst>
                  <a:lin ang="5400000" scaled="0"/>
                </a:gradFill>
                <a:cs typeface="Segoe UI Semibold" panose="020B0702040204020203" pitchFamily="34" charset="0"/>
                <a:hlinkClick r:id="rId18"/>
              </a:rPr>
              <a:t>-us/free/</a:t>
            </a:r>
            <a:r>
              <a:rPr lang="en-US" sz="1600" dirty="0">
                <a:gradFill>
                  <a:gsLst>
                    <a:gs pos="2917">
                      <a:srgbClr val="1A1A1A"/>
                    </a:gs>
                    <a:gs pos="30000">
                      <a:srgbClr val="1A1A1A"/>
                    </a:gs>
                  </a:gsLst>
                  <a:lin ang="5400000" scaled="0"/>
                </a:gradFill>
                <a:cs typeface="Segoe UI Semibold" panose="020B0702040204020203" pitchFamily="34" charset="0"/>
              </a:rPr>
              <a:t> </a:t>
            </a:r>
          </a:p>
          <a:p>
            <a:pPr marL="285750" indent="-285750" defTabSz="547633">
              <a:spcAft>
                <a:spcPts val="600"/>
              </a:spcAft>
              <a:buFont typeface="Arial" panose="020B0604020202020204" pitchFamily="34" charset="0"/>
              <a:buChar char="•"/>
            </a:pPr>
            <a:r>
              <a:rPr lang="en-US" sz="1600" dirty="0">
                <a:gradFill>
                  <a:gsLst>
                    <a:gs pos="2917">
                      <a:srgbClr val="1A1A1A"/>
                    </a:gs>
                    <a:gs pos="30000">
                      <a:srgbClr val="1A1A1A"/>
                    </a:gs>
                  </a:gsLst>
                  <a:lin ang="5400000" scaled="0"/>
                </a:gradFill>
                <a:cs typeface="Segoe UI Semibold" panose="020B0702040204020203" pitchFamily="34" charset="0"/>
                <a:hlinkClick r:id="rId8"/>
              </a:rPr>
              <a:t>aka.ms/</a:t>
            </a:r>
            <a:r>
              <a:rPr lang="en-US" sz="1600" dirty="0" err="1">
                <a:gradFill>
                  <a:gsLst>
                    <a:gs pos="2917">
                      <a:srgbClr val="1A1A1A"/>
                    </a:gs>
                    <a:gs pos="30000">
                      <a:srgbClr val="1A1A1A"/>
                    </a:gs>
                  </a:gsLst>
                  <a:lin ang="5400000" scaled="0"/>
                </a:gradFill>
                <a:cs typeface="Segoe UI Semibold" panose="020B0702040204020203" pitchFamily="34" charset="0"/>
                <a:hlinkClick r:id="rId8"/>
              </a:rPr>
              <a:t>azlabs</a:t>
            </a:r>
            <a:endParaRPr lang="en-US" sz="1600" dirty="0">
              <a:gradFill>
                <a:gsLst>
                  <a:gs pos="2917">
                    <a:srgbClr val="1A1A1A"/>
                  </a:gs>
                  <a:gs pos="30000">
                    <a:srgbClr val="1A1A1A"/>
                  </a:gs>
                </a:gsLst>
                <a:lin ang="5400000" scaled="0"/>
              </a:gradFill>
              <a:cs typeface="Segoe UI Semibold" panose="020B0702040204020203" pitchFamily="34" charset="0"/>
            </a:endParaRPr>
          </a:p>
          <a:p>
            <a:pPr marL="285750" indent="-285750" defTabSz="547633">
              <a:spcAft>
                <a:spcPts val="600"/>
              </a:spcAft>
              <a:buFont typeface="Arial" panose="020B0604020202020204" pitchFamily="34" charset="0"/>
              <a:buChar char="•"/>
            </a:pPr>
            <a:r>
              <a:rPr lang="en-US" sz="1600" dirty="0">
                <a:gradFill>
                  <a:gsLst>
                    <a:gs pos="2917">
                      <a:srgbClr val="1A1A1A"/>
                    </a:gs>
                    <a:gs pos="30000">
                      <a:srgbClr val="1A1A1A"/>
                    </a:gs>
                  </a:gsLst>
                  <a:lin ang="5400000" scaled="0"/>
                </a:gradFill>
                <a:cs typeface="Segoe UI Semibold" panose="020B0702040204020203" pitchFamily="34" charset="0"/>
                <a:hlinkClick r:id="rId16"/>
              </a:rPr>
              <a:t>aka.ms/ADT4T</a:t>
            </a:r>
            <a:r>
              <a:rPr lang="en-US" sz="1600" dirty="0">
                <a:gradFill>
                  <a:gsLst>
                    <a:gs pos="2917">
                      <a:srgbClr val="1A1A1A"/>
                    </a:gs>
                    <a:gs pos="30000">
                      <a:srgbClr val="1A1A1A"/>
                    </a:gs>
                  </a:gsLst>
                  <a:lin ang="5400000" scaled="0"/>
                </a:gradFill>
                <a:cs typeface="Segoe UI Semibold" panose="020B0702040204020203" pitchFamily="34" charset="0"/>
              </a:rPr>
              <a:t> </a:t>
            </a:r>
          </a:p>
        </p:txBody>
      </p:sp>
      <p:grpSp>
        <p:nvGrpSpPr>
          <p:cNvPr id="18" name="Group 17">
            <a:extLst>
              <a:ext uri="{FF2B5EF4-FFF2-40B4-BE49-F238E27FC236}">
                <a16:creationId xmlns:a16="http://schemas.microsoft.com/office/drawing/2014/main" id="{BD72CD52-31E3-4515-8706-4C03253CC9ED}"/>
              </a:ext>
              <a:ext uri="{C183D7F6-B498-43B3-948B-1728B52AA6E4}">
                <adec:decorative xmlns:adec="http://schemas.microsoft.com/office/drawing/2017/decorative" val="1"/>
              </a:ext>
            </a:extLst>
          </p:cNvPr>
          <p:cNvGrpSpPr/>
          <p:nvPr/>
        </p:nvGrpSpPr>
        <p:grpSpPr>
          <a:xfrm>
            <a:off x="10985492" y="4065402"/>
            <a:ext cx="1447459" cy="2941148"/>
            <a:chOff x="10752275" y="3973033"/>
            <a:chExt cx="1419811" cy="2884967"/>
          </a:xfrm>
        </p:grpSpPr>
        <p:pic>
          <p:nvPicPr>
            <p:cNvPr id="19" name="Graphic 18">
              <a:extLst>
                <a:ext uri="{FF2B5EF4-FFF2-40B4-BE49-F238E27FC236}">
                  <a16:creationId xmlns:a16="http://schemas.microsoft.com/office/drawing/2014/main" id="{CC81CCB4-31F9-4AF3-9DB8-3A188AA78342}"/>
                </a:ext>
                <a:ext uri="{C183D7F6-B498-43B3-948B-1728B52AA6E4}">
                  <adec:decorative xmlns:adec="http://schemas.microsoft.com/office/drawing/2017/decorative" val="1"/>
                </a:ext>
              </a:extLst>
            </p:cNvPr>
            <p:cNvPicPr>
              <a:picLocks noChangeAspect="1"/>
            </p:cNvPicPr>
            <p:nvPr/>
          </p:nvPicPr>
          <p:blipFill rotWithShape="1">
            <a:blip r:embed="rId19" cstate="screen">
              <a:extLst>
                <a:ext uri="{28A0092B-C50C-407E-A947-70E740481C1C}">
                  <a14:useLocalDpi xmlns:a14="http://schemas.microsoft.com/office/drawing/2010/main" val="0"/>
                </a:ext>
                <a:ext uri="{96DAC541-7B7A-43D3-8B79-37D633B846F1}">
                  <asvg:svgBlip xmlns:asvg="http://schemas.microsoft.com/office/drawing/2016/SVG/main" r:embed="rId20"/>
                </a:ext>
              </a:extLst>
            </a:blip>
            <a:srcRect l="14928" t="24838" r="73426" b="33095"/>
            <a:stretch/>
          </p:blipFill>
          <p:spPr>
            <a:xfrm>
              <a:off x="10752275" y="3973033"/>
              <a:ext cx="1419811" cy="2884967"/>
            </a:xfrm>
            <a:prstGeom prst="rect">
              <a:avLst/>
            </a:prstGeom>
          </p:spPr>
        </p:pic>
        <p:sp>
          <p:nvSpPr>
            <p:cNvPr id="20" name="Oval 19">
              <a:extLst>
                <a:ext uri="{FF2B5EF4-FFF2-40B4-BE49-F238E27FC236}">
                  <a16:creationId xmlns:a16="http://schemas.microsoft.com/office/drawing/2014/main" id="{A4742227-A61C-4DE6-88B6-29397BE07C4A}"/>
                </a:ext>
                <a:ext uri="{C183D7F6-B498-43B3-948B-1728B52AA6E4}">
                  <adec:decorative xmlns:adec="http://schemas.microsoft.com/office/drawing/2017/decorative" val="1"/>
                </a:ext>
              </a:extLst>
            </p:cNvPr>
            <p:cNvSpPr/>
            <p:nvPr/>
          </p:nvSpPr>
          <p:spPr bwMode="auto">
            <a:xfrm>
              <a:off x="11412581" y="6556913"/>
              <a:ext cx="121291" cy="121291"/>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1866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Accessibility </a:t>
            </a:r>
          </a:p>
        </p:txBody>
      </p:sp>
    </p:spTree>
    <p:extLst>
      <p:ext uri="{BB962C8B-B14F-4D97-AF65-F5344CB8AC3E}">
        <p14:creationId xmlns:p14="http://schemas.microsoft.com/office/powerpoint/2010/main" val="175675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88A72EC8-2458-4B00-838F-16120C85AB5A}"/>
              </a:ext>
              <a:ext uri="{C183D7F6-B498-43B3-948B-1728B52AA6E4}">
                <adec:decorative xmlns:adec="http://schemas.microsoft.com/office/drawing/2017/decorative" val="1"/>
              </a:ext>
            </a:extLst>
          </p:cNvPr>
          <p:cNvGrpSpPr/>
          <p:nvPr/>
        </p:nvGrpSpPr>
        <p:grpSpPr>
          <a:xfrm>
            <a:off x="882" y="5747271"/>
            <a:ext cx="12434711" cy="1247254"/>
            <a:chOff x="882" y="5747271"/>
            <a:chExt cx="12434711" cy="1247254"/>
          </a:xfrm>
        </p:grpSpPr>
        <p:grpSp>
          <p:nvGrpSpPr>
            <p:cNvPr id="47" name="Group 46">
              <a:extLst>
                <a:ext uri="{FF2B5EF4-FFF2-40B4-BE49-F238E27FC236}">
                  <a16:creationId xmlns:a16="http://schemas.microsoft.com/office/drawing/2014/main" id="{9636FC2C-BEC6-4953-A58E-7DF816430F90}"/>
                </a:ext>
                <a:ext uri="{C183D7F6-B498-43B3-948B-1728B52AA6E4}">
                  <adec:decorative xmlns:adec="http://schemas.microsoft.com/office/drawing/2017/decorative" val="1"/>
                </a:ext>
              </a:extLst>
            </p:cNvPr>
            <p:cNvGrpSpPr/>
            <p:nvPr/>
          </p:nvGrpSpPr>
          <p:grpSpPr>
            <a:xfrm>
              <a:off x="882" y="5747271"/>
              <a:ext cx="12434711" cy="1247254"/>
              <a:chOff x="0" y="5635091"/>
              <a:chExt cx="12192000" cy="1222909"/>
            </a:xfrm>
          </p:grpSpPr>
          <p:pic>
            <p:nvPicPr>
              <p:cNvPr id="50" name="Graphic 49">
                <a:extLst>
                  <a:ext uri="{FF2B5EF4-FFF2-40B4-BE49-F238E27FC236}">
                    <a16:creationId xmlns:a16="http://schemas.microsoft.com/office/drawing/2014/main" id="{54933F36-9A06-4F7D-AE17-9FE736E17B0D}"/>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20729" t="29173" r="-83499" b="46159"/>
              <a:stretch/>
            </p:blipFill>
            <p:spPr>
              <a:xfrm>
                <a:off x="1337735" y="5934456"/>
                <a:ext cx="10834351" cy="923544"/>
              </a:xfrm>
              <a:custGeom>
                <a:avLst/>
                <a:gdLst>
                  <a:gd name="connsiteX0" fmla="*/ 1202266 w 10834351"/>
                  <a:gd name="connsiteY0" fmla="*/ 0 h 923544"/>
                  <a:gd name="connsiteX1" fmla="*/ 10834351 w 10834351"/>
                  <a:gd name="connsiteY1" fmla="*/ 0 h 923544"/>
                  <a:gd name="connsiteX2" fmla="*/ 10834351 w 10834351"/>
                  <a:gd name="connsiteY2" fmla="*/ 923544 h 923544"/>
                  <a:gd name="connsiteX3" fmla="*/ 5276432 w 10834351"/>
                  <a:gd name="connsiteY3" fmla="*/ 923544 h 923544"/>
                  <a:gd name="connsiteX4" fmla="*/ 5263870 w 10834351"/>
                  <a:gd name="connsiteY4" fmla="*/ 923544 h 923544"/>
                  <a:gd name="connsiteX5" fmla="*/ 0 w 10834351"/>
                  <a:gd name="connsiteY5" fmla="*/ 923544 h 923544"/>
                  <a:gd name="connsiteX6" fmla="*/ 694266 w 10834351"/>
                  <a:gd name="connsiteY6" fmla="*/ 263144 h 923544"/>
                  <a:gd name="connsiteX7" fmla="*/ 1202266 w 10834351"/>
                  <a:gd name="connsiteY7" fmla="*/ 110744 h 92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4351" h="923544">
                    <a:moveTo>
                      <a:pt x="1202266" y="0"/>
                    </a:moveTo>
                    <a:lnTo>
                      <a:pt x="10834351" y="0"/>
                    </a:lnTo>
                    <a:lnTo>
                      <a:pt x="10834351" y="923544"/>
                    </a:lnTo>
                    <a:lnTo>
                      <a:pt x="5276432" y="923544"/>
                    </a:lnTo>
                    <a:lnTo>
                      <a:pt x="5263870" y="923544"/>
                    </a:lnTo>
                    <a:lnTo>
                      <a:pt x="0" y="923544"/>
                    </a:lnTo>
                    <a:lnTo>
                      <a:pt x="694266" y="263144"/>
                    </a:lnTo>
                    <a:lnTo>
                      <a:pt x="1202266" y="110744"/>
                    </a:lnTo>
                    <a:close/>
                  </a:path>
                </a:pathLst>
              </a:custGeom>
            </p:spPr>
          </p:pic>
          <p:pic>
            <p:nvPicPr>
              <p:cNvPr id="51" name="Graphic 50">
                <a:extLst>
                  <a:ext uri="{FF2B5EF4-FFF2-40B4-BE49-F238E27FC236}">
                    <a16:creationId xmlns:a16="http://schemas.microsoft.com/office/drawing/2014/main" id="{0CE93D9A-3801-4C6D-9D52-63FB7E3AC46D}"/>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t="21933" r="16311" b="59332"/>
              <a:stretch/>
            </p:blipFill>
            <p:spPr>
              <a:xfrm>
                <a:off x="6601605" y="6045200"/>
                <a:ext cx="5570481" cy="812800"/>
              </a:xfrm>
              <a:custGeom>
                <a:avLst/>
                <a:gdLst>
                  <a:gd name="connsiteX0" fmla="*/ 0 w 5570481"/>
                  <a:gd name="connsiteY0" fmla="*/ 0 h 812800"/>
                  <a:gd name="connsiteX1" fmla="*/ 5570481 w 5570481"/>
                  <a:gd name="connsiteY1" fmla="*/ 0 h 812800"/>
                  <a:gd name="connsiteX2" fmla="*/ 5570481 w 5570481"/>
                  <a:gd name="connsiteY2" fmla="*/ 812800 h 812800"/>
                  <a:gd name="connsiteX3" fmla="*/ 0 w 5570481"/>
                  <a:gd name="connsiteY3" fmla="*/ 812800 h 812800"/>
                </a:gdLst>
                <a:ahLst/>
                <a:cxnLst>
                  <a:cxn ang="0">
                    <a:pos x="connsiteX0" y="connsiteY0"/>
                  </a:cxn>
                  <a:cxn ang="0">
                    <a:pos x="connsiteX1" y="connsiteY1"/>
                  </a:cxn>
                  <a:cxn ang="0">
                    <a:pos x="connsiteX2" y="connsiteY2"/>
                  </a:cxn>
                  <a:cxn ang="0">
                    <a:pos x="connsiteX3" y="connsiteY3"/>
                  </a:cxn>
                </a:cxnLst>
                <a:rect l="l" t="t" r="r" b="b"/>
                <a:pathLst>
                  <a:path w="5570481" h="812800">
                    <a:moveTo>
                      <a:pt x="0" y="0"/>
                    </a:moveTo>
                    <a:lnTo>
                      <a:pt x="5570481" y="0"/>
                    </a:lnTo>
                    <a:lnTo>
                      <a:pt x="5570481" y="812800"/>
                    </a:lnTo>
                    <a:lnTo>
                      <a:pt x="0" y="812800"/>
                    </a:lnTo>
                    <a:close/>
                  </a:path>
                </a:pathLst>
              </a:custGeom>
            </p:spPr>
          </p:pic>
          <p:pic>
            <p:nvPicPr>
              <p:cNvPr id="52" name="Graphic 51">
                <a:extLst>
                  <a:ext uri="{FF2B5EF4-FFF2-40B4-BE49-F238E27FC236}">
                    <a16:creationId xmlns:a16="http://schemas.microsoft.com/office/drawing/2014/main" id="{1220CA6A-B117-48CE-8266-0B4E2B47612F}"/>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t="23002" b="59166"/>
              <a:stretch/>
            </p:blipFill>
            <p:spPr>
              <a:xfrm rot="10800000">
                <a:off x="0" y="5635091"/>
                <a:ext cx="12192000" cy="1222909"/>
              </a:xfrm>
              <a:custGeom>
                <a:avLst/>
                <a:gdLst>
                  <a:gd name="connsiteX0" fmla="*/ 12192000 w 12192000"/>
                  <a:gd name="connsiteY0" fmla="*/ 1222909 h 1222909"/>
                  <a:gd name="connsiteX1" fmla="*/ 0 w 12192000"/>
                  <a:gd name="connsiteY1" fmla="*/ 1222909 h 1222909"/>
                  <a:gd name="connsiteX2" fmla="*/ 0 w 12192000"/>
                  <a:gd name="connsiteY2" fmla="*/ 0 h 1222909"/>
                  <a:gd name="connsiteX3" fmla="*/ 12192000 w 12192000"/>
                  <a:gd name="connsiteY3" fmla="*/ 0 h 1222909"/>
                </a:gdLst>
                <a:ahLst/>
                <a:cxnLst>
                  <a:cxn ang="0">
                    <a:pos x="connsiteX0" y="connsiteY0"/>
                  </a:cxn>
                  <a:cxn ang="0">
                    <a:pos x="connsiteX1" y="connsiteY1"/>
                  </a:cxn>
                  <a:cxn ang="0">
                    <a:pos x="connsiteX2" y="connsiteY2"/>
                  </a:cxn>
                  <a:cxn ang="0">
                    <a:pos x="connsiteX3" y="connsiteY3"/>
                  </a:cxn>
                </a:cxnLst>
                <a:rect l="l" t="t" r="r" b="b"/>
                <a:pathLst>
                  <a:path w="12192000" h="1222909">
                    <a:moveTo>
                      <a:pt x="12192000" y="1222909"/>
                    </a:moveTo>
                    <a:lnTo>
                      <a:pt x="0" y="1222909"/>
                    </a:lnTo>
                    <a:lnTo>
                      <a:pt x="0" y="0"/>
                    </a:lnTo>
                    <a:lnTo>
                      <a:pt x="12192000" y="0"/>
                    </a:lnTo>
                    <a:close/>
                  </a:path>
                </a:pathLst>
              </a:custGeom>
            </p:spPr>
          </p:pic>
        </p:grpSp>
        <p:sp>
          <p:nvSpPr>
            <p:cNvPr id="48" name="Oval 47">
              <a:extLst>
                <a:ext uri="{FF2B5EF4-FFF2-40B4-BE49-F238E27FC236}">
                  <a16:creationId xmlns:a16="http://schemas.microsoft.com/office/drawing/2014/main" id="{513D458D-1110-4186-A89D-E6B8DDE19056}"/>
                </a:ext>
                <a:ext uri="{C183D7F6-B498-43B3-948B-1728B52AA6E4}">
                  <adec:decorative xmlns:adec="http://schemas.microsoft.com/office/drawing/2017/decorative" val="1"/>
                </a:ext>
              </a:extLst>
            </p:cNvPr>
            <p:cNvSpPr/>
            <p:nvPr/>
          </p:nvSpPr>
          <p:spPr bwMode="auto">
            <a:xfrm>
              <a:off x="10341645" y="6024026"/>
              <a:ext cx="123653" cy="12365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Oval 48">
              <a:extLst>
                <a:ext uri="{FF2B5EF4-FFF2-40B4-BE49-F238E27FC236}">
                  <a16:creationId xmlns:a16="http://schemas.microsoft.com/office/drawing/2014/main" id="{09FB24CD-F2E2-4884-ABA1-22CDFD1446BB}"/>
                </a:ext>
                <a:ext uri="{C183D7F6-B498-43B3-948B-1728B52AA6E4}">
                  <adec:decorative xmlns:adec="http://schemas.microsoft.com/office/drawing/2017/decorative" val="1"/>
                </a:ext>
              </a:extLst>
            </p:cNvPr>
            <p:cNvSpPr/>
            <p:nvPr/>
          </p:nvSpPr>
          <p:spPr bwMode="auto">
            <a:xfrm>
              <a:off x="2557852" y="6053595"/>
              <a:ext cx="123653" cy="12365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2" name="Rectangle 1">
            <a:extLst>
              <a:ext uri="{FF2B5EF4-FFF2-40B4-BE49-F238E27FC236}">
                <a16:creationId xmlns:a16="http://schemas.microsoft.com/office/drawing/2014/main" id="{09341BF0-5BAD-46E5-93DD-BA0BB29CDA62}"/>
              </a:ext>
              <a:ext uri="{C183D7F6-B498-43B3-948B-1728B52AA6E4}">
                <adec:decorative xmlns:adec="http://schemas.microsoft.com/office/drawing/2017/decorative" val="1"/>
              </a:ext>
            </a:extLst>
          </p:cNvPr>
          <p:cNvSpPr/>
          <p:nvPr/>
        </p:nvSpPr>
        <p:spPr bwMode="auto">
          <a:xfrm>
            <a:off x="523982" y="1533270"/>
            <a:ext cx="11332396" cy="3912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ake your PowerPoint presentations accessible</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reate accessible content</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ccommodate student’s diverse needs</a:t>
            </a:r>
          </a:p>
          <a:p>
            <a:pPr marL="742950" lvl="1" indent="-285750">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Hearing</a:t>
            </a:r>
          </a:p>
          <a:p>
            <a:pPr marL="742950" lvl="1" indent="-285750">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obility</a:t>
            </a:r>
          </a:p>
          <a:p>
            <a:pPr marL="742950" lvl="1" indent="-285750">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Vision</a:t>
            </a:r>
          </a:p>
          <a:p>
            <a:pPr marL="742950" lvl="1" indent="-285750">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Neurodiversity</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reating a digitally diverse learning community</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Bias free communication</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Inclusive Design Methodology </a:t>
            </a:r>
          </a:p>
        </p:txBody>
      </p:sp>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dirty="0">
                <a:solidFill>
                  <a:srgbClr val="002060"/>
                </a:solidFill>
                <a:cs typeface="Segoe UI"/>
              </a:rPr>
              <a:t>Accessibility</a:t>
            </a:r>
          </a:p>
        </p:txBody>
      </p:sp>
      <p:grpSp>
        <p:nvGrpSpPr>
          <p:cNvPr id="15" name="Group 14">
            <a:extLst>
              <a:ext uri="{FF2B5EF4-FFF2-40B4-BE49-F238E27FC236}">
                <a16:creationId xmlns:a16="http://schemas.microsoft.com/office/drawing/2014/main" id="{6E178200-3445-41AB-A713-9E0DCE4FFAD9}"/>
              </a:ext>
              <a:ext uri="{C183D7F6-B498-43B3-948B-1728B52AA6E4}">
                <adec:decorative xmlns:adec="http://schemas.microsoft.com/office/drawing/2017/decorative" val="1"/>
              </a:ext>
            </a:extLst>
          </p:cNvPr>
          <p:cNvGrpSpPr/>
          <p:nvPr/>
        </p:nvGrpSpPr>
        <p:grpSpPr>
          <a:xfrm>
            <a:off x="7632875" y="2671281"/>
            <a:ext cx="1603592" cy="3852279"/>
            <a:chOff x="4465637" y="2582862"/>
            <a:chExt cx="457889" cy="1187440"/>
          </a:xfrm>
        </p:grpSpPr>
        <p:sp>
          <p:nvSpPr>
            <p:cNvPr id="16" name="Freeform 237">
              <a:extLst>
                <a:ext uri="{FF2B5EF4-FFF2-40B4-BE49-F238E27FC236}">
                  <a16:creationId xmlns:a16="http://schemas.microsoft.com/office/drawing/2014/main" id="{5574E426-2A5B-41C1-908A-516BF39FDE9F}"/>
                </a:ext>
              </a:extLst>
            </p:cNvPr>
            <p:cNvSpPr>
              <a:spLocks/>
            </p:cNvSpPr>
            <p:nvPr/>
          </p:nvSpPr>
          <p:spPr bwMode="auto">
            <a:xfrm>
              <a:off x="4612248" y="2965829"/>
              <a:ext cx="236895" cy="364102"/>
            </a:xfrm>
            <a:custGeom>
              <a:avLst/>
              <a:gdLst>
                <a:gd name="T0" fmla="*/ 1242 w 1302"/>
                <a:gd name="T1" fmla="*/ 1651 h 2006"/>
                <a:gd name="T2" fmla="*/ 750 w 1302"/>
                <a:gd name="T3" fmla="*/ 1364 h 2006"/>
                <a:gd name="T4" fmla="*/ 73 w 1302"/>
                <a:gd name="T5" fmla="*/ 800 h 2006"/>
                <a:gd name="T6" fmla="*/ 582 w 1302"/>
                <a:gd name="T7" fmla="*/ 39 h 2006"/>
                <a:gd name="T8" fmla="*/ 588 w 1302"/>
                <a:gd name="T9" fmla="*/ 35 h 2006"/>
                <a:gd name="T10" fmla="*/ 698 w 1302"/>
                <a:gd name="T11" fmla="*/ 35 h 2006"/>
                <a:gd name="T12" fmla="*/ 716 w 1302"/>
                <a:gd name="T13" fmla="*/ 17 h 2006"/>
                <a:gd name="T14" fmla="*/ 698 w 1302"/>
                <a:gd name="T15" fmla="*/ 0 h 2006"/>
                <a:gd name="T16" fmla="*/ 221 w 1302"/>
                <a:gd name="T17" fmla="*/ 0 h 2006"/>
                <a:gd name="T18" fmla="*/ 204 w 1302"/>
                <a:gd name="T19" fmla="*/ 17 h 2006"/>
                <a:gd name="T20" fmla="*/ 221 w 1302"/>
                <a:gd name="T21" fmla="*/ 35 h 2006"/>
                <a:gd name="T22" fmla="*/ 523 w 1302"/>
                <a:gd name="T23" fmla="*/ 35 h 2006"/>
                <a:gd name="T24" fmla="*/ 38 w 1302"/>
                <a:gd name="T25" fmla="*/ 804 h 2006"/>
                <a:gd name="T26" fmla="*/ 737 w 1302"/>
                <a:gd name="T27" fmla="*/ 1396 h 2006"/>
                <a:gd name="T28" fmla="*/ 1213 w 1302"/>
                <a:gd name="T29" fmla="*/ 1670 h 2006"/>
                <a:gd name="T30" fmla="*/ 1242 w 1302"/>
                <a:gd name="T31" fmla="*/ 1842 h 2006"/>
                <a:gd name="T32" fmla="*/ 1058 w 1302"/>
                <a:gd name="T33" fmla="*/ 1972 h 2006"/>
                <a:gd name="T34" fmla="*/ 1044 w 1302"/>
                <a:gd name="T35" fmla="*/ 1992 h 2006"/>
                <a:gd name="T36" fmla="*/ 1062 w 1302"/>
                <a:gd name="T37" fmla="*/ 2006 h 2006"/>
                <a:gd name="T38" fmla="*/ 1065 w 1302"/>
                <a:gd name="T39" fmla="*/ 2006 h 2006"/>
                <a:gd name="T40" fmla="*/ 1275 w 1302"/>
                <a:gd name="T41" fmla="*/ 1856 h 2006"/>
                <a:gd name="T42" fmla="*/ 1242 w 1302"/>
                <a:gd name="T43" fmla="*/ 1651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2" h="2006">
                  <a:moveTo>
                    <a:pt x="1242" y="1651"/>
                  </a:moveTo>
                  <a:cubicBezTo>
                    <a:pt x="1159" y="1525"/>
                    <a:pt x="960" y="1447"/>
                    <a:pt x="750" y="1364"/>
                  </a:cubicBezTo>
                  <a:cubicBezTo>
                    <a:pt x="446" y="1244"/>
                    <a:pt x="102" y="1109"/>
                    <a:pt x="73" y="800"/>
                  </a:cubicBezTo>
                  <a:cubicBezTo>
                    <a:pt x="29" y="348"/>
                    <a:pt x="577" y="42"/>
                    <a:pt x="582" y="39"/>
                  </a:cubicBezTo>
                  <a:cubicBezTo>
                    <a:pt x="585" y="38"/>
                    <a:pt x="586" y="37"/>
                    <a:pt x="588" y="35"/>
                  </a:cubicBezTo>
                  <a:cubicBezTo>
                    <a:pt x="698" y="35"/>
                    <a:pt x="698" y="35"/>
                    <a:pt x="698" y="35"/>
                  </a:cubicBezTo>
                  <a:cubicBezTo>
                    <a:pt x="708" y="35"/>
                    <a:pt x="716" y="27"/>
                    <a:pt x="716" y="17"/>
                  </a:cubicBezTo>
                  <a:cubicBezTo>
                    <a:pt x="716" y="8"/>
                    <a:pt x="708" y="0"/>
                    <a:pt x="698" y="0"/>
                  </a:cubicBezTo>
                  <a:cubicBezTo>
                    <a:pt x="221" y="0"/>
                    <a:pt x="221" y="0"/>
                    <a:pt x="221" y="0"/>
                  </a:cubicBezTo>
                  <a:cubicBezTo>
                    <a:pt x="211" y="0"/>
                    <a:pt x="204" y="8"/>
                    <a:pt x="204" y="17"/>
                  </a:cubicBezTo>
                  <a:cubicBezTo>
                    <a:pt x="204" y="27"/>
                    <a:pt x="211" y="35"/>
                    <a:pt x="221" y="35"/>
                  </a:cubicBezTo>
                  <a:cubicBezTo>
                    <a:pt x="523" y="35"/>
                    <a:pt x="523" y="35"/>
                    <a:pt x="523" y="35"/>
                  </a:cubicBezTo>
                  <a:cubicBezTo>
                    <a:pt x="390" y="120"/>
                    <a:pt x="0" y="406"/>
                    <a:pt x="38" y="804"/>
                  </a:cubicBezTo>
                  <a:cubicBezTo>
                    <a:pt x="70" y="1133"/>
                    <a:pt x="424" y="1273"/>
                    <a:pt x="737" y="1396"/>
                  </a:cubicBezTo>
                  <a:cubicBezTo>
                    <a:pt x="942" y="1477"/>
                    <a:pt x="1136" y="1553"/>
                    <a:pt x="1213" y="1670"/>
                  </a:cubicBezTo>
                  <a:cubicBezTo>
                    <a:pt x="1254" y="1731"/>
                    <a:pt x="1264" y="1791"/>
                    <a:pt x="1242" y="1842"/>
                  </a:cubicBezTo>
                  <a:cubicBezTo>
                    <a:pt x="1217" y="1904"/>
                    <a:pt x="1146" y="1954"/>
                    <a:pt x="1058" y="1972"/>
                  </a:cubicBezTo>
                  <a:cubicBezTo>
                    <a:pt x="1049" y="1974"/>
                    <a:pt x="1043" y="1983"/>
                    <a:pt x="1044" y="1992"/>
                  </a:cubicBezTo>
                  <a:cubicBezTo>
                    <a:pt x="1046" y="2000"/>
                    <a:pt x="1053" y="2006"/>
                    <a:pt x="1062" y="2006"/>
                  </a:cubicBezTo>
                  <a:cubicBezTo>
                    <a:pt x="1063" y="2006"/>
                    <a:pt x="1064" y="2006"/>
                    <a:pt x="1065" y="2006"/>
                  </a:cubicBezTo>
                  <a:cubicBezTo>
                    <a:pt x="1166" y="1985"/>
                    <a:pt x="1244" y="1929"/>
                    <a:pt x="1275" y="1856"/>
                  </a:cubicBezTo>
                  <a:cubicBezTo>
                    <a:pt x="1293" y="1812"/>
                    <a:pt x="1302" y="1741"/>
                    <a:pt x="1242" y="1651"/>
                  </a:cubicBez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7" name="Freeform 226">
              <a:extLst>
                <a:ext uri="{FF2B5EF4-FFF2-40B4-BE49-F238E27FC236}">
                  <a16:creationId xmlns:a16="http://schemas.microsoft.com/office/drawing/2014/main" id="{403B0AF1-2AA4-42A9-AA3A-58637F377113}"/>
                </a:ext>
              </a:extLst>
            </p:cNvPr>
            <p:cNvSpPr>
              <a:spLocks/>
            </p:cNvSpPr>
            <p:nvPr/>
          </p:nvSpPr>
          <p:spPr bwMode="auto">
            <a:xfrm>
              <a:off x="4594460" y="3758713"/>
              <a:ext cx="185150" cy="11050"/>
            </a:xfrm>
            <a:custGeom>
              <a:avLst/>
              <a:gdLst>
                <a:gd name="T0" fmla="*/ 988 w 1019"/>
                <a:gd name="T1" fmla="*/ 62 h 62"/>
                <a:gd name="T2" fmla="*/ 31 w 1019"/>
                <a:gd name="T3" fmla="*/ 62 h 62"/>
                <a:gd name="T4" fmla="*/ 0 w 1019"/>
                <a:gd name="T5" fmla="*/ 31 h 62"/>
                <a:gd name="T6" fmla="*/ 0 w 1019"/>
                <a:gd name="T7" fmla="*/ 31 h 62"/>
                <a:gd name="T8" fmla="*/ 31 w 1019"/>
                <a:gd name="T9" fmla="*/ 0 h 62"/>
                <a:gd name="T10" fmla="*/ 988 w 1019"/>
                <a:gd name="T11" fmla="*/ 0 h 62"/>
                <a:gd name="T12" fmla="*/ 1019 w 1019"/>
                <a:gd name="T13" fmla="*/ 31 h 62"/>
                <a:gd name="T14" fmla="*/ 1019 w 1019"/>
                <a:gd name="T15" fmla="*/ 31 h 62"/>
                <a:gd name="T16" fmla="*/ 988 w 1019"/>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9" h="62">
                  <a:moveTo>
                    <a:pt x="988" y="62"/>
                  </a:moveTo>
                  <a:cubicBezTo>
                    <a:pt x="31" y="62"/>
                    <a:pt x="31" y="62"/>
                    <a:pt x="31" y="62"/>
                  </a:cubicBezTo>
                  <a:cubicBezTo>
                    <a:pt x="14" y="62"/>
                    <a:pt x="0" y="49"/>
                    <a:pt x="0" y="31"/>
                  </a:cubicBezTo>
                  <a:cubicBezTo>
                    <a:pt x="0" y="31"/>
                    <a:pt x="0" y="31"/>
                    <a:pt x="0" y="31"/>
                  </a:cubicBezTo>
                  <a:cubicBezTo>
                    <a:pt x="0" y="14"/>
                    <a:pt x="14" y="0"/>
                    <a:pt x="31" y="0"/>
                  </a:cubicBezTo>
                  <a:cubicBezTo>
                    <a:pt x="988" y="0"/>
                    <a:pt x="988" y="0"/>
                    <a:pt x="988" y="0"/>
                  </a:cubicBezTo>
                  <a:cubicBezTo>
                    <a:pt x="1005" y="0"/>
                    <a:pt x="1019" y="14"/>
                    <a:pt x="1019" y="31"/>
                  </a:cubicBezTo>
                  <a:cubicBezTo>
                    <a:pt x="1019" y="31"/>
                    <a:pt x="1019" y="31"/>
                    <a:pt x="1019" y="31"/>
                  </a:cubicBezTo>
                  <a:cubicBezTo>
                    <a:pt x="1019" y="49"/>
                    <a:pt x="1005" y="62"/>
                    <a:pt x="988" y="62"/>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8" name="Freeform 227">
              <a:extLst>
                <a:ext uri="{FF2B5EF4-FFF2-40B4-BE49-F238E27FC236}">
                  <a16:creationId xmlns:a16="http://schemas.microsoft.com/office/drawing/2014/main" id="{668E3A9F-CE9A-4AB4-A547-9D7A627BE375}"/>
                </a:ext>
              </a:extLst>
            </p:cNvPr>
            <p:cNvSpPr>
              <a:spLocks/>
            </p:cNvSpPr>
            <p:nvPr/>
          </p:nvSpPr>
          <p:spPr bwMode="auto">
            <a:xfrm>
              <a:off x="4604971" y="3731224"/>
              <a:ext cx="41773" cy="38539"/>
            </a:xfrm>
            <a:custGeom>
              <a:avLst/>
              <a:gdLst>
                <a:gd name="T0" fmla="*/ 99 w 229"/>
                <a:gd name="T1" fmla="*/ 213 h 213"/>
                <a:gd name="T2" fmla="*/ 2 w 229"/>
                <a:gd name="T3" fmla="*/ 213 h 213"/>
                <a:gd name="T4" fmla="*/ 1 w 229"/>
                <a:gd name="T5" fmla="*/ 209 h 213"/>
                <a:gd name="T6" fmla="*/ 14 w 229"/>
                <a:gd name="T7" fmla="*/ 179 h 213"/>
                <a:gd name="T8" fmla="*/ 56 w 229"/>
                <a:gd name="T9" fmla="*/ 145 h 213"/>
                <a:gd name="T10" fmla="*/ 151 w 229"/>
                <a:gd name="T11" fmla="*/ 0 h 213"/>
                <a:gd name="T12" fmla="*/ 213 w 229"/>
                <a:gd name="T13" fmla="*/ 0 h 213"/>
                <a:gd name="T14" fmla="*/ 219 w 229"/>
                <a:gd name="T15" fmla="*/ 14 h 213"/>
                <a:gd name="T16" fmla="*/ 228 w 229"/>
                <a:gd name="T17" fmla="*/ 54 h 213"/>
                <a:gd name="T18" fmla="*/ 228 w 229"/>
                <a:gd name="T19" fmla="*/ 60 h 213"/>
                <a:gd name="T20" fmla="*/ 218 w 229"/>
                <a:gd name="T21" fmla="*/ 83 h 213"/>
                <a:gd name="T22" fmla="*/ 191 w 229"/>
                <a:gd name="T23" fmla="*/ 135 h 213"/>
                <a:gd name="T24" fmla="*/ 187 w 229"/>
                <a:gd name="T25" fmla="*/ 193 h 213"/>
                <a:gd name="T26" fmla="*/ 168 w 229"/>
                <a:gd name="T27" fmla="*/ 193 h 213"/>
                <a:gd name="T28" fmla="*/ 164 w 229"/>
                <a:gd name="T29" fmla="*/ 114 h 213"/>
                <a:gd name="T30" fmla="*/ 126 w 229"/>
                <a:gd name="T31" fmla="*/ 192 h 213"/>
                <a:gd name="T32" fmla="*/ 99 w 229"/>
                <a:gd name="T33"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9" h="213">
                  <a:moveTo>
                    <a:pt x="99" y="213"/>
                  </a:moveTo>
                  <a:cubicBezTo>
                    <a:pt x="2" y="213"/>
                    <a:pt x="2" y="213"/>
                    <a:pt x="2" y="213"/>
                  </a:cubicBezTo>
                  <a:cubicBezTo>
                    <a:pt x="1" y="209"/>
                    <a:pt x="1" y="209"/>
                    <a:pt x="1" y="209"/>
                  </a:cubicBezTo>
                  <a:cubicBezTo>
                    <a:pt x="0" y="197"/>
                    <a:pt x="5" y="186"/>
                    <a:pt x="14" y="179"/>
                  </a:cubicBezTo>
                  <a:cubicBezTo>
                    <a:pt x="56" y="145"/>
                    <a:pt x="56" y="145"/>
                    <a:pt x="56" y="145"/>
                  </a:cubicBezTo>
                  <a:cubicBezTo>
                    <a:pt x="151" y="0"/>
                    <a:pt x="151" y="0"/>
                    <a:pt x="151" y="0"/>
                  </a:cubicBezTo>
                  <a:cubicBezTo>
                    <a:pt x="213" y="0"/>
                    <a:pt x="213" y="0"/>
                    <a:pt x="213" y="0"/>
                  </a:cubicBezTo>
                  <a:cubicBezTo>
                    <a:pt x="219" y="14"/>
                    <a:pt x="219" y="14"/>
                    <a:pt x="219" y="14"/>
                  </a:cubicBezTo>
                  <a:cubicBezTo>
                    <a:pt x="224" y="27"/>
                    <a:pt x="227" y="41"/>
                    <a:pt x="228" y="54"/>
                  </a:cubicBezTo>
                  <a:cubicBezTo>
                    <a:pt x="228" y="56"/>
                    <a:pt x="228" y="58"/>
                    <a:pt x="228" y="60"/>
                  </a:cubicBezTo>
                  <a:cubicBezTo>
                    <a:pt x="229" y="69"/>
                    <a:pt x="225" y="77"/>
                    <a:pt x="218" y="83"/>
                  </a:cubicBezTo>
                  <a:cubicBezTo>
                    <a:pt x="208" y="93"/>
                    <a:pt x="192" y="111"/>
                    <a:pt x="191" y="135"/>
                  </a:cubicBezTo>
                  <a:cubicBezTo>
                    <a:pt x="187" y="193"/>
                    <a:pt x="187" y="193"/>
                    <a:pt x="187" y="193"/>
                  </a:cubicBezTo>
                  <a:cubicBezTo>
                    <a:pt x="168" y="193"/>
                    <a:pt x="168" y="193"/>
                    <a:pt x="168" y="193"/>
                  </a:cubicBezTo>
                  <a:cubicBezTo>
                    <a:pt x="164" y="114"/>
                    <a:pt x="164" y="114"/>
                    <a:pt x="164" y="114"/>
                  </a:cubicBezTo>
                  <a:cubicBezTo>
                    <a:pt x="164" y="114"/>
                    <a:pt x="135" y="151"/>
                    <a:pt x="126" y="192"/>
                  </a:cubicBezTo>
                  <a:cubicBezTo>
                    <a:pt x="123" y="205"/>
                    <a:pt x="112" y="213"/>
                    <a:pt x="99" y="2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19" name="Freeform 228">
              <a:extLst>
                <a:ext uri="{FF2B5EF4-FFF2-40B4-BE49-F238E27FC236}">
                  <a16:creationId xmlns:a16="http://schemas.microsoft.com/office/drawing/2014/main" id="{992A169C-5E8E-47AD-9C15-97160AF0F0D6}"/>
                </a:ext>
              </a:extLst>
            </p:cNvPr>
            <p:cNvSpPr>
              <a:spLocks/>
            </p:cNvSpPr>
            <p:nvPr/>
          </p:nvSpPr>
          <p:spPr bwMode="auto">
            <a:xfrm>
              <a:off x="4609283" y="3603478"/>
              <a:ext cx="85433" cy="159817"/>
            </a:xfrm>
            <a:custGeom>
              <a:avLst/>
              <a:gdLst>
                <a:gd name="T0" fmla="*/ 262 w 471"/>
                <a:gd name="T1" fmla="*/ 0 h 881"/>
                <a:gd name="T2" fmla="*/ 94 w 471"/>
                <a:gd name="T3" fmla="*/ 688 h 881"/>
                <a:gd name="T4" fmla="*/ 90 w 471"/>
                <a:gd name="T5" fmla="*/ 703 h 881"/>
                <a:gd name="T6" fmla="*/ 90 w 471"/>
                <a:gd name="T7" fmla="*/ 704 h 881"/>
                <a:gd name="T8" fmla="*/ 43 w 471"/>
                <a:gd name="T9" fmla="*/ 823 h 881"/>
                <a:gd name="T10" fmla="*/ 42 w 471"/>
                <a:gd name="T11" fmla="*/ 827 h 881"/>
                <a:gd name="T12" fmla="*/ 18 w 471"/>
                <a:gd name="T13" fmla="*/ 861 h 881"/>
                <a:gd name="T14" fmla="*/ 9 w 471"/>
                <a:gd name="T15" fmla="*/ 881 h 881"/>
                <a:gd name="T16" fmla="*/ 36 w 471"/>
                <a:gd name="T17" fmla="*/ 881 h 881"/>
                <a:gd name="T18" fmla="*/ 89 w 471"/>
                <a:gd name="T19" fmla="*/ 845 h 881"/>
                <a:gd name="T20" fmla="*/ 104 w 471"/>
                <a:gd name="T21" fmla="*/ 809 h 881"/>
                <a:gd name="T22" fmla="*/ 133 w 471"/>
                <a:gd name="T23" fmla="*/ 764 h 881"/>
                <a:gd name="T24" fmla="*/ 190 w 471"/>
                <a:gd name="T25" fmla="*/ 704 h 881"/>
                <a:gd name="T26" fmla="*/ 471 w 471"/>
                <a:gd name="T27" fmla="*/ 26 h 881"/>
                <a:gd name="T28" fmla="*/ 262 w 471"/>
                <a:gd name="T29" fmla="*/ 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1" h="881">
                  <a:moveTo>
                    <a:pt x="262" y="0"/>
                  </a:moveTo>
                  <a:cubicBezTo>
                    <a:pt x="94" y="688"/>
                    <a:pt x="94" y="688"/>
                    <a:pt x="94" y="688"/>
                  </a:cubicBezTo>
                  <a:cubicBezTo>
                    <a:pt x="93" y="694"/>
                    <a:pt x="91" y="699"/>
                    <a:pt x="90" y="703"/>
                  </a:cubicBezTo>
                  <a:cubicBezTo>
                    <a:pt x="90" y="704"/>
                    <a:pt x="90" y="704"/>
                    <a:pt x="90" y="704"/>
                  </a:cubicBezTo>
                  <a:cubicBezTo>
                    <a:pt x="69" y="741"/>
                    <a:pt x="53" y="781"/>
                    <a:pt x="43" y="823"/>
                  </a:cubicBezTo>
                  <a:cubicBezTo>
                    <a:pt x="42" y="827"/>
                    <a:pt x="42" y="827"/>
                    <a:pt x="42" y="827"/>
                  </a:cubicBezTo>
                  <a:cubicBezTo>
                    <a:pt x="37" y="840"/>
                    <a:pt x="29" y="851"/>
                    <a:pt x="18" y="861"/>
                  </a:cubicBezTo>
                  <a:cubicBezTo>
                    <a:pt x="18" y="861"/>
                    <a:pt x="0" y="881"/>
                    <a:pt x="9" y="881"/>
                  </a:cubicBezTo>
                  <a:cubicBezTo>
                    <a:pt x="36" y="881"/>
                    <a:pt x="36" y="881"/>
                    <a:pt x="36" y="881"/>
                  </a:cubicBezTo>
                  <a:cubicBezTo>
                    <a:pt x="59" y="881"/>
                    <a:pt x="81" y="867"/>
                    <a:pt x="89" y="845"/>
                  </a:cubicBezTo>
                  <a:cubicBezTo>
                    <a:pt x="104" y="809"/>
                    <a:pt x="104" y="809"/>
                    <a:pt x="104" y="809"/>
                  </a:cubicBezTo>
                  <a:cubicBezTo>
                    <a:pt x="111" y="793"/>
                    <a:pt x="120" y="777"/>
                    <a:pt x="133" y="764"/>
                  </a:cubicBezTo>
                  <a:cubicBezTo>
                    <a:pt x="190" y="704"/>
                    <a:pt x="190" y="704"/>
                    <a:pt x="190" y="704"/>
                  </a:cubicBezTo>
                  <a:cubicBezTo>
                    <a:pt x="471" y="26"/>
                    <a:pt x="471" y="26"/>
                    <a:pt x="471" y="26"/>
                  </a:cubicBezTo>
                  <a:lnTo>
                    <a:pt x="262" y="0"/>
                  </a:ln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0" name="Rectangle 236">
              <a:extLst>
                <a:ext uri="{FF2B5EF4-FFF2-40B4-BE49-F238E27FC236}">
                  <a16:creationId xmlns:a16="http://schemas.microsoft.com/office/drawing/2014/main" id="{21962757-6EE1-48CE-9603-5178D380800F}"/>
                </a:ext>
              </a:extLst>
            </p:cNvPr>
            <p:cNvSpPr>
              <a:spLocks noChangeArrowheads="1"/>
            </p:cNvSpPr>
            <p:nvPr/>
          </p:nvSpPr>
          <p:spPr bwMode="auto">
            <a:xfrm>
              <a:off x="4654021" y="2980382"/>
              <a:ext cx="64951" cy="9163"/>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1" name="Freeform 239">
              <a:extLst>
                <a:ext uri="{FF2B5EF4-FFF2-40B4-BE49-F238E27FC236}">
                  <a16:creationId xmlns:a16="http://schemas.microsoft.com/office/drawing/2014/main" id="{26DAA3A8-DA61-4AA6-8439-58A5FE069DF2}"/>
                </a:ext>
              </a:extLst>
            </p:cNvPr>
            <p:cNvSpPr>
              <a:spLocks/>
            </p:cNvSpPr>
            <p:nvPr/>
          </p:nvSpPr>
          <p:spPr bwMode="auto">
            <a:xfrm>
              <a:off x="4745383" y="3214852"/>
              <a:ext cx="30993" cy="63064"/>
            </a:xfrm>
            <a:custGeom>
              <a:avLst/>
              <a:gdLst>
                <a:gd name="T0" fmla="*/ 170 w 170"/>
                <a:gd name="T1" fmla="*/ 347 h 347"/>
                <a:gd name="T2" fmla="*/ 142 w 170"/>
                <a:gd name="T3" fmla="*/ 238 h 347"/>
                <a:gd name="T4" fmla="*/ 167 w 170"/>
                <a:gd name="T5" fmla="*/ 107 h 347"/>
                <a:gd name="T6" fmla="*/ 166 w 170"/>
                <a:gd name="T7" fmla="*/ 92 h 347"/>
                <a:gd name="T8" fmla="*/ 141 w 170"/>
                <a:gd name="T9" fmla="*/ 37 h 347"/>
                <a:gd name="T10" fmla="*/ 79 w 170"/>
                <a:gd name="T11" fmla="*/ 0 h 347"/>
                <a:gd name="T12" fmla="*/ 78 w 170"/>
                <a:gd name="T13" fmla="*/ 3 h 347"/>
                <a:gd name="T14" fmla="*/ 77 w 170"/>
                <a:gd name="T15" fmla="*/ 18 h 347"/>
                <a:gd name="T16" fmla="*/ 55 w 170"/>
                <a:gd name="T17" fmla="*/ 15 h 347"/>
                <a:gd name="T18" fmla="*/ 55 w 170"/>
                <a:gd name="T19" fmla="*/ 19 h 347"/>
                <a:gd name="T20" fmla="*/ 80 w 170"/>
                <a:gd name="T21" fmla="*/ 51 h 347"/>
                <a:gd name="T22" fmla="*/ 93 w 170"/>
                <a:gd name="T23" fmla="*/ 54 h 347"/>
                <a:gd name="T24" fmla="*/ 92 w 170"/>
                <a:gd name="T25" fmla="*/ 86 h 347"/>
                <a:gd name="T26" fmla="*/ 94 w 170"/>
                <a:gd name="T27" fmla="*/ 113 h 347"/>
                <a:gd name="T28" fmla="*/ 72 w 170"/>
                <a:gd name="T29" fmla="*/ 130 h 347"/>
                <a:gd name="T30" fmla="*/ 40 w 170"/>
                <a:gd name="T31" fmla="*/ 117 h 347"/>
                <a:gd name="T32" fmla="*/ 38 w 170"/>
                <a:gd name="T33" fmla="*/ 117 h 347"/>
                <a:gd name="T34" fmla="*/ 35 w 170"/>
                <a:gd name="T35" fmla="*/ 71 h 347"/>
                <a:gd name="T36" fmla="*/ 47 w 170"/>
                <a:gd name="T37" fmla="*/ 58 h 347"/>
                <a:gd name="T38" fmla="*/ 55 w 170"/>
                <a:gd name="T39" fmla="*/ 44 h 347"/>
                <a:gd name="T40" fmla="*/ 30 w 170"/>
                <a:gd name="T41" fmla="*/ 34 h 347"/>
                <a:gd name="T42" fmla="*/ 7 w 170"/>
                <a:gd name="T43" fmla="*/ 57 h 347"/>
                <a:gd name="T44" fmla="*/ 1 w 170"/>
                <a:gd name="T45" fmla="*/ 145 h 347"/>
                <a:gd name="T46" fmla="*/ 6 w 170"/>
                <a:gd name="T47" fmla="*/ 165 h 347"/>
                <a:gd name="T48" fmla="*/ 49 w 170"/>
                <a:gd name="T49" fmla="*/ 241 h 347"/>
                <a:gd name="T50" fmla="*/ 62 w 170"/>
                <a:gd name="T51" fmla="*/ 341 h 347"/>
                <a:gd name="T52" fmla="*/ 170 w 170"/>
                <a:gd name="T5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347">
                  <a:moveTo>
                    <a:pt x="170" y="347"/>
                  </a:moveTo>
                  <a:cubicBezTo>
                    <a:pt x="142" y="238"/>
                    <a:pt x="142" y="238"/>
                    <a:pt x="142" y="238"/>
                  </a:cubicBezTo>
                  <a:cubicBezTo>
                    <a:pt x="167" y="107"/>
                    <a:pt x="167" y="107"/>
                    <a:pt x="167" y="107"/>
                  </a:cubicBezTo>
                  <a:cubicBezTo>
                    <a:pt x="168" y="102"/>
                    <a:pt x="168" y="97"/>
                    <a:pt x="166" y="92"/>
                  </a:cubicBezTo>
                  <a:cubicBezTo>
                    <a:pt x="141" y="37"/>
                    <a:pt x="141" y="37"/>
                    <a:pt x="141" y="37"/>
                  </a:cubicBezTo>
                  <a:cubicBezTo>
                    <a:pt x="79" y="0"/>
                    <a:pt x="79" y="0"/>
                    <a:pt x="79" y="0"/>
                  </a:cubicBezTo>
                  <a:cubicBezTo>
                    <a:pt x="78" y="3"/>
                    <a:pt x="78" y="3"/>
                    <a:pt x="78" y="3"/>
                  </a:cubicBezTo>
                  <a:cubicBezTo>
                    <a:pt x="76" y="8"/>
                    <a:pt x="76" y="13"/>
                    <a:pt x="77" y="18"/>
                  </a:cubicBezTo>
                  <a:cubicBezTo>
                    <a:pt x="55" y="15"/>
                    <a:pt x="55" y="15"/>
                    <a:pt x="55" y="15"/>
                  </a:cubicBezTo>
                  <a:cubicBezTo>
                    <a:pt x="55" y="19"/>
                    <a:pt x="55" y="19"/>
                    <a:pt x="55" y="19"/>
                  </a:cubicBezTo>
                  <a:cubicBezTo>
                    <a:pt x="56" y="34"/>
                    <a:pt x="66" y="46"/>
                    <a:pt x="80" y="51"/>
                  </a:cubicBezTo>
                  <a:cubicBezTo>
                    <a:pt x="93" y="54"/>
                    <a:pt x="93" y="54"/>
                    <a:pt x="93" y="54"/>
                  </a:cubicBezTo>
                  <a:cubicBezTo>
                    <a:pt x="92" y="86"/>
                    <a:pt x="92" y="86"/>
                    <a:pt x="92" y="86"/>
                  </a:cubicBezTo>
                  <a:cubicBezTo>
                    <a:pt x="94" y="113"/>
                    <a:pt x="94" y="113"/>
                    <a:pt x="94" y="113"/>
                  </a:cubicBezTo>
                  <a:cubicBezTo>
                    <a:pt x="72" y="130"/>
                    <a:pt x="72" y="130"/>
                    <a:pt x="72" y="130"/>
                  </a:cubicBezTo>
                  <a:cubicBezTo>
                    <a:pt x="62" y="124"/>
                    <a:pt x="51" y="119"/>
                    <a:pt x="40" y="117"/>
                  </a:cubicBezTo>
                  <a:cubicBezTo>
                    <a:pt x="38" y="117"/>
                    <a:pt x="38" y="117"/>
                    <a:pt x="38" y="117"/>
                  </a:cubicBezTo>
                  <a:cubicBezTo>
                    <a:pt x="35" y="71"/>
                    <a:pt x="35" y="71"/>
                    <a:pt x="35" y="71"/>
                  </a:cubicBezTo>
                  <a:cubicBezTo>
                    <a:pt x="47" y="58"/>
                    <a:pt x="47" y="58"/>
                    <a:pt x="47" y="58"/>
                  </a:cubicBezTo>
                  <a:cubicBezTo>
                    <a:pt x="51" y="54"/>
                    <a:pt x="53" y="49"/>
                    <a:pt x="55" y="44"/>
                  </a:cubicBezTo>
                  <a:cubicBezTo>
                    <a:pt x="30" y="34"/>
                    <a:pt x="30" y="34"/>
                    <a:pt x="30" y="34"/>
                  </a:cubicBezTo>
                  <a:cubicBezTo>
                    <a:pt x="7" y="57"/>
                    <a:pt x="7" y="57"/>
                    <a:pt x="7" y="57"/>
                  </a:cubicBezTo>
                  <a:cubicBezTo>
                    <a:pt x="1" y="145"/>
                    <a:pt x="1" y="145"/>
                    <a:pt x="1" y="145"/>
                  </a:cubicBezTo>
                  <a:cubicBezTo>
                    <a:pt x="0" y="152"/>
                    <a:pt x="2" y="159"/>
                    <a:pt x="6" y="165"/>
                  </a:cubicBezTo>
                  <a:cubicBezTo>
                    <a:pt x="49" y="241"/>
                    <a:pt x="49" y="241"/>
                    <a:pt x="49" y="241"/>
                  </a:cubicBezTo>
                  <a:cubicBezTo>
                    <a:pt x="62" y="341"/>
                    <a:pt x="62" y="341"/>
                    <a:pt x="62" y="341"/>
                  </a:cubicBezTo>
                  <a:lnTo>
                    <a:pt x="170" y="347"/>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2" name="Freeform 240">
              <a:extLst>
                <a:ext uri="{FF2B5EF4-FFF2-40B4-BE49-F238E27FC236}">
                  <a16:creationId xmlns:a16="http://schemas.microsoft.com/office/drawing/2014/main" id="{219E38CF-03DC-4728-A3A7-23C33B89F8C5}"/>
                </a:ext>
              </a:extLst>
            </p:cNvPr>
            <p:cNvSpPr>
              <a:spLocks/>
            </p:cNvSpPr>
            <p:nvPr/>
          </p:nvSpPr>
          <p:spPr bwMode="auto">
            <a:xfrm>
              <a:off x="4712504" y="3605634"/>
              <a:ext cx="48780" cy="158469"/>
            </a:xfrm>
            <a:custGeom>
              <a:avLst/>
              <a:gdLst>
                <a:gd name="T0" fmla="*/ 227 w 269"/>
                <a:gd name="T1" fmla="*/ 834 h 873"/>
                <a:gd name="T2" fmla="*/ 168 w 269"/>
                <a:gd name="T3" fmla="*/ 736 h 873"/>
                <a:gd name="T4" fmla="*/ 160 w 269"/>
                <a:gd name="T5" fmla="*/ 706 h 873"/>
                <a:gd name="T6" fmla="*/ 160 w 269"/>
                <a:gd name="T7" fmla="*/ 0 h 873"/>
                <a:gd name="T8" fmla="*/ 0 w 269"/>
                <a:gd name="T9" fmla="*/ 251 h 873"/>
                <a:gd name="T10" fmla="*/ 64 w 269"/>
                <a:gd name="T11" fmla="*/ 706 h 873"/>
                <a:gd name="T12" fmla="*/ 64 w 269"/>
                <a:gd name="T13" fmla="*/ 706 h 873"/>
                <a:gd name="T14" fmla="*/ 60 w 269"/>
                <a:gd name="T15" fmla="*/ 739 h 873"/>
                <a:gd name="T16" fmla="*/ 179 w 269"/>
                <a:gd name="T17" fmla="*/ 873 h 873"/>
                <a:gd name="T18" fmla="*/ 269 w 269"/>
                <a:gd name="T19" fmla="*/ 873 h 873"/>
                <a:gd name="T20" fmla="*/ 227 w 269"/>
                <a:gd name="T21" fmla="*/ 83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873">
                  <a:moveTo>
                    <a:pt x="227" y="834"/>
                  </a:moveTo>
                  <a:cubicBezTo>
                    <a:pt x="198" y="808"/>
                    <a:pt x="178" y="774"/>
                    <a:pt x="168" y="736"/>
                  </a:cubicBezTo>
                  <a:cubicBezTo>
                    <a:pt x="160" y="706"/>
                    <a:pt x="160" y="706"/>
                    <a:pt x="160" y="706"/>
                  </a:cubicBezTo>
                  <a:cubicBezTo>
                    <a:pt x="160" y="0"/>
                    <a:pt x="160" y="0"/>
                    <a:pt x="160" y="0"/>
                  </a:cubicBezTo>
                  <a:cubicBezTo>
                    <a:pt x="0" y="251"/>
                    <a:pt x="0" y="251"/>
                    <a:pt x="0" y="251"/>
                  </a:cubicBezTo>
                  <a:cubicBezTo>
                    <a:pt x="64" y="706"/>
                    <a:pt x="64" y="706"/>
                    <a:pt x="64" y="706"/>
                  </a:cubicBezTo>
                  <a:cubicBezTo>
                    <a:pt x="64" y="706"/>
                    <a:pt x="64" y="706"/>
                    <a:pt x="64" y="706"/>
                  </a:cubicBezTo>
                  <a:cubicBezTo>
                    <a:pt x="60" y="739"/>
                    <a:pt x="60" y="739"/>
                    <a:pt x="60" y="739"/>
                  </a:cubicBezTo>
                  <a:cubicBezTo>
                    <a:pt x="179" y="873"/>
                    <a:pt x="179" y="873"/>
                    <a:pt x="179" y="873"/>
                  </a:cubicBezTo>
                  <a:cubicBezTo>
                    <a:pt x="269" y="873"/>
                    <a:pt x="269" y="873"/>
                    <a:pt x="269" y="873"/>
                  </a:cubicBezTo>
                  <a:lnTo>
                    <a:pt x="227" y="834"/>
                  </a:ln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3" name="Freeform 241">
              <a:extLst>
                <a:ext uri="{FF2B5EF4-FFF2-40B4-BE49-F238E27FC236}">
                  <a16:creationId xmlns:a16="http://schemas.microsoft.com/office/drawing/2014/main" id="{2B3AF680-B238-46BE-9743-FC7CCA4D5F53}"/>
                </a:ext>
              </a:extLst>
            </p:cNvPr>
            <p:cNvSpPr>
              <a:spLocks/>
            </p:cNvSpPr>
            <p:nvPr/>
          </p:nvSpPr>
          <p:spPr bwMode="auto">
            <a:xfrm>
              <a:off x="4707652" y="3616145"/>
              <a:ext cx="33958" cy="35036"/>
            </a:xfrm>
            <a:custGeom>
              <a:avLst/>
              <a:gdLst>
                <a:gd name="T0" fmla="*/ 186 w 186"/>
                <a:gd name="T1" fmla="*/ 0 h 192"/>
                <a:gd name="T2" fmla="*/ 26 w 186"/>
                <a:gd name="T3" fmla="*/ 192 h 192"/>
                <a:gd name="T4" fmla="*/ 0 w 186"/>
                <a:gd name="T5" fmla="*/ 4 h 192"/>
                <a:gd name="T6" fmla="*/ 186 w 186"/>
                <a:gd name="T7" fmla="*/ 0 h 192"/>
              </a:gdLst>
              <a:ahLst/>
              <a:cxnLst>
                <a:cxn ang="0">
                  <a:pos x="T0" y="T1"/>
                </a:cxn>
                <a:cxn ang="0">
                  <a:pos x="T2" y="T3"/>
                </a:cxn>
                <a:cxn ang="0">
                  <a:pos x="T4" y="T5"/>
                </a:cxn>
                <a:cxn ang="0">
                  <a:pos x="T6" y="T7"/>
                </a:cxn>
              </a:cxnLst>
              <a:rect l="0" t="0" r="r" b="b"/>
              <a:pathLst>
                <a:path w="186" h="192">
                  <a:moveTo>
                    <a:pt x="186" y="0"/>
                  </a:moveTo>
                  <a:cubicBezTo>
                    <a:pt x="186" y="0"/>
                    <a:pt x="161" y="138"/>
                    <a:pt x="26" y="192"/>
                  </a:cubicBezTo>
                  <a:cubicBezTo>
                    <a:pt x="15" y="114"/>
                    <a:pt x="0" y="4"/>
                    <a:pt x="0" y="4"/>
                  </a:cubicBezTo>
                  <a:lnTo>
                    <a:pt x="186" y="0"/>
                  </a:lnTo>
                  <a:close/>
                </a:path>
              </a:pathLst>
            </a:custGeom>
            <a:solidFill>
              <a:srgbClr val="9178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4" name="Freeform 242">
              <a:extLst>
                <a:ext uri="{FF2B5EF4-FFF2-40B4-BE49-F238E27FC236}">
                  <a16:creationId xmlns:a16="http://schemas.microsoft.com/office/drawing/2014/main" id="{B7FD1B29-B0B4-47C9-87C8-85E1E15AE23D}"/>
                </a:ext>
              </a:extLst>
            </p:cNvPr>
            <p:cNvSpPr>
              <a:spLocks/>
            </p:cNvSpPr>
            <p:nvPr/>
          </p:nvSpPr>
          <p:spPr bwMode="auto">
            <a:xfrm>
              <a:off x="4637851" y="3469265"/>
              <a:ext cx="111575" cy="170058"/>
            </a:xfrm>
            <a:custGeom>
              <a:avLst/>
              <a:gdLst>
                <a:gd name="T0" fmla="*/ 122 w 613"/>
                <a:gd name="T1" fmla="*/ 72 h 936"/>
                <a:gd name="T2" fmla="*/ 118 w 613"/>
                <a:gd name="T3" fmla="*/ 85 h 936"/>
                <a:gd name="T4" fmla="*/ 51 w 613"/>
                <a:gd name="T5" fmla="*/ 893 h 936"/>
                <a:gd name="T6" fmla="*/ 591 w 613"/>
                <a:gd name="T7" fmla="*/ 799 h 936"/>
                <a:gd name="T8" fmla="*/ 606 w 613"/>
                <a:gd name="T9" fmla="*/ 168 h 936"/>
                <a:gd name="T10" fmla="*/ 462 w 613"/>
                <a:gd name="T11" fmla="*/ 0 h 936"/>
                <a:gd name="T12" fmla="*/ 122 w 613"/>
                <a:gd name="T13" fmla="*/ 72 h 936"/>
              </a:gdLst>
              <a:ahLst/>
              <a:cxnLst>
                <a:cxn ang="0">
                  <a:pos x="T0" y="T1"/>
                </a:cxn>
                <a:cxn ang="0">
                  <a:pos x="T2" y="T3"/>
                </a:cxn>
                <a:cxn ang="0">
                  <a:pos x="T4" y="T5"/>
                </a:cxn>
                <a:cxn ang="0">
                  <a:pos x="T6" y="T7"/>
                </a:cxn>
                <a:cxn ang="0">
                  <a:pos x="T8" y="T9"/>
                </a:cxn>
                <a:cxn ang="0">
                  <a:pos x="T10" y="T11"/>
                </a:cxn>
                <a:cxn ang="0">
                  <a:pos x="T12" y="T13"/>
                </a:cxn>
              </a:cxnLst>
              <a:rect l="0" t="0" r="r" b="b"/>
              <a:pathLst>
                <a:path w="613" h="936">
                  <a:moveTo>
                    <a:pt x="122" y="72"/>
                  </a:moveTo>
                  <a:cubicBezTo>
                    <a:pt x="118" y="85"/>
                    <a:pt x="118" y="85"/>
                    <a:pt x="118" y="85"/>
                  </a:cubicBezTo>
                  <a:cubicBezTo>
                    <a:pt x="0" y="164"/>
                    <a:pt x="51" y="893"/>
                    <a:pt x="51" y="893"/>
                  </a:cubicBezTo>
                  <a:cubicBezTo>
                    <a:pt x="51" y="893"/>
                    <a:pt x="315" y="936"/>
                    <a:pt x="591" y="799"/>
                  </a:cubicBezTo>
                  <a:cubicBezTo>
                    <a:pt x="613" y="694"/>
                    <a:pt x="606" y="168"/>
                    <a:pt x="606" y="168"/>
                  </a:cubicBezTo>
                  <a:cubicBezTo>
                    <a:pt x="462" y="0"/>
                    <a:pt x="462" y="0"/>
                    <a:pt x="462" y="0"/>
                  </a:cubicBezTo>
                  <a:lnTo>
                    <a:pt x="122" y="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5" name="Freeform 243">
              <a:extLst>
                <a:ext uri="{FF2B5EF4-FFF2-40B4-BE49-F238E27FC236}">
                  <a16:creationId xmlns:a16="http://schemas.microsoft.com/office/drawing/2014/main" id="{1866255A-E3BB-4819-BE96-CE079813CBDD}"/>
                </a:ext>
              </a:extLst>
            </p:cNvPr>
            <p:cNvSpPr>
              <a:spLocks/>
            </p:cNvSpPr>
            <p:nvPr/>
          </p:nvSpPr>
          <p:spPr bwMode="auto">
            <a:xfrm>
              <a:off x="4633808" y="3306484"/>
              <a:ext cx="107802" cy="95944"/>
            </a:xfrm>
            <a:custGeom>
              <a:avLst/>
              <a:gdLst>
                <a:gd name="T0" fmla="*/ 118 w 592"/>
                <a:gd name="T1" fmla="*/ 51 h 528"/>
                <a:gd name="T2" fmla="*/ 97 w 592"/>
                <a:gd name="T3" fmla="*/ 252 h 528"/>
                <a:gd name="T4" fmla="*/ 43 w 592"/>
                <a:gd name="T5" fmla="*/ 453 h 528"/>
                <a:gd name="T6" fmla="*/ 592 w 592"/>
                <a:gd name="T7" fmla="*/ 259 h 528"/>
                <a:gd name="T8" fmla="*/ 465 w 592"/>
                <a:gd name="T9" fmla="*/ 116 h 528"/>
                <a:gd name="T10" fmla="*/ 443 w 592"/>
                <a:gd name="T11" fmla="*/ 25 h 528"/>
                <a:gd name="T12" fmla="*/ 118 w 592"/>
                <a:gd name="T13" fmla="*/ 51 h 528"/>
              </a:gdLst>
              <a:ahLst/>
              <a:cxnLst>
                <a:cxn ang="0">
                  <a:pos x="T0" y="T1"/>
                </a:cxn>
                <a:cxn ang="0">
                  <a:pos x="T2" y="T3"/>
                </a:cxn>
                <a:cxn ang="0">
                  <a:pos x="T4" y="T5"/>
                </a:cxn>
                <a:cxn ang="0">
                  <a:pos x="T6" y="T7"/>
                </a:cxn>
                <a:cxn ang="0">
                  <a:pos x="T8" y="T9"/>
                </a:cxn>
                <a:cxn ang="0">
                  <a:pos x="T10" y="T11"/>
                </a:cxn>
                <a:cxn ang="0">
                  <a:pos x="T12" y="T13"/>
                </a:cxn>
              </a:cxnLst>
              <a:rect l="0" t="0" r="r" b="b"/>
              <a:pathLst>
                <a:path w="592" h="528">
                  <a:moveTo>
                    <a:pt x="118" y="51"/>
                  </a:moveTo>
                  <a:cubicBezTo>
                    <a:pt x="133" y="141"/>
                    <a:pt x="130" y="224"/>
                    <a:pt x="97" y="252"/>
                  </a:cubicBezTo>
                  <a:cubicBezTo>
                    <a:pt x="64" y="279"/>
                    <a:pt x="0" y="379"/>
                    <a:pt x="43" y="453"/>
                  </a:cubicBezTo>
                  <a:cubicBezTo>
                    <a:pt x="86" y="528"/>
                    <a:pt x="592" y="259"/>
                    <a:pt x="592" y="259"/>
                  </a:cubicBezTo>
                  <a:cubicBezTo>
                    <a:pt x="592" y="259"/>
                    <a:pt x="484" y="233"/>
                    <a:pt x="465" y="116"/>
                  </a:cubicBezTo>
                  <a:cubicBezTo>
                    <a:pt x="446" y="0"/>
                    <a:pt x="443" y="25"/>
                    <a:pt x="443" y="25"/>
                  </a:cubicBezTo>
                  <a:lnTo>
                    <a:pt x="118" y="51"/>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6" name="Freeform 244">
              <a:extLst>
                <a:ext uri="{FF2B5EF4-FFF2-40B4-BE49-F238E27FC236}">
                  <a16:creationId xmlns:a16="http://schemas.microsoft.com/office/drawing/2014/main" id="{4DB5C94F-BCE0-4908-8E39-18E8E7F2456A}"/>
                </a:ext>
              </a:extLst>
            </p:cNvPr>
            <p:cNvSpPr>
              <a:spLocks/>
            </p:cNvSpPr>
            <p:nvPr/>
          </p:nvSpPr>
          <p:spPr bwMode="auto">
            <a:xfrm>
              <a:off x="4587723" y="3257164"/>
              <a:ext cx="203746" cy="275165"/>
            </a:xfrm>
            <a:custGeom>
              <a:avLst/>
              <a:gdLst>
                <a:gd name="T0" fmla="*/ 1116 w 1120"/>
                <a:gd name="T1" fmla="*/ 334 h 1516"/>
                <a:gd name="T2" fmla="*/ 1017 w 1120"/>
                <a:gd name="T3" fmla="*/ 0 h 1516"/>
                <a:gd name="T4" fmla="*/ 901 w 1120"/>
                <a:gd name="T5" fmla="*/ 48 h 1516"/>
                <a:gd name="T6" fmla="*/ 951 w 1120"/>
                <a:gd name="T7" fmla="*/ 335 h 1516"/>
                <a:gd name="T8" fmla="*/ 788 w 1120"/>
                <a:gd name="T9" fmla="*/ 470 h 1516"/>
                <a:gd name="T10" fmla="*/ 710 w 1120"/>
                <a:gd name="T11" fmla="*/ 485 h 1516"/>
                <a:gd name="T12" fmla="*/ 691 w 1120"/>
                <a:gd name="T13" fmla="*/ 524 h 1516"/>
                <a:gd name="T14" fmla="*/ 384 w 1120"/>
                <a:gd name="T15" fmla="*/ 554 h 1516"/>
                <a:gd name="T16" fmla="*/ 384 w 1120"/>
                <a:gd name="T17" fmla="*/ 554 h 1516"/>
                <a:gd name="T18" fmla="*/ 250 w 1120"/>
                <a:gd name="T19" fmla="*/ 607 h 1516"/>
                <a:gd name="T20" fmla="*/ 221 w 1120"/>
                <a:gd name="T21" fmla="*/ 632 h 1516"/>
                <a:gd name="T22" fmla="*/ 23 w 1120"/>
                <a:gd name="T23" fmla="*/ 976 h 1516"/>
                <a:gd name="T24" fmla="*/ 42 w 1120"/>
                <a:gd name="T25" fmla="*/ 1098 h 1516"/>
                <a:gd name="T26" fmla="*/ 248 w 1120"/>
                <a:gd name="T27" fmla="*/ 1292 h 1516"/>
                <a:gd name="T28" fmla="*/ 324 w 1120"/>
                <a:gd name="T29" fmla="*/ 1209 h 1516"/>
                <a:gd name="T30" fmla="*/ 179 w 1120"/>
                <a:gd name="T31" fmla="*/ 1021 h 1516"/>
                <a:gd name="T32" fmla="*/ 305 w 1120"/>
                <a:gd name="T33" fmla="*/ 924 h 1516"/>
                <a:gd name="T34" fmla="*/ 384 w 1120"/>
                <a:gd name="T35" fmla="*/ 1122 h 1516"/>
                <a:gd name="T36" fmla="*/ 312 w 1120"/>
                <a:gd name="T37" fmla="*/ 1455 h 1516"/>
                <a:gd name="T38" fmla="*/ 637 w 1120"/>
                <a:gd name="T39" fmla="*/ 1344 h 1516"/>
                <a:gd name="T40" fmla="*/ 914 w 1120"/>
                <a:gd name="T41" fmla="*/ 1362 h 1516"/>
                <a:gd name="T42" fmla="*/ 846 w 1120"/>
                <a:gd name="T43" fmla="*/ 1077 h 1516"/>
                <a:gd name="T44" fmla="*/ 881 w 1120"/>
                <a:gd name="T45" fmla="*/ 863 h 1516"/>
                <a:gd name="T46" fmla="*/ 867 w 1120"/>
                <a:gd name="T47" fmla="*/ 729 h 1516"/>
                <a:gd name="T48" fmla="*/ 844 w 1120"/>
                <a:gd name="T49" fmla="*/ 674 h 1516"/>
                <a:gd name="T50" fmla="*/ 887 w 1120"/>
                <a:gd name="T51" fmla="*/ 643 h 1516"/>
                <a:gd name="T52" fmla="*/ 1034 w 1120"/>
                <a:gd name="T53" fmla="*/ 498 h 1516"/>
                <a:gd name="T54" fmla="*/ 1109 w 1120"/>
                <a:gd name="T55" fmla="*/ 380 h 1516"/>
                <a:gd name="T56" fmla="*/ 1116 w 1120"/>
                <a:gd name="T57" fmla="*/ 334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0" h="1516">
                  <a:moveTo>
                    <a:pt x="1116" y="334"/>
                  </a:moveTo>
                  <a:cubicBezTo>
                    <a:pt x="1017" y="0"/>
                    <a:pt x="1017" y="0"/>
                    <a:pt x="1017" y="0"/>
                  </a:cubicBezTo>
                  <a:cubicBezTo>
                    <a:pt x="901" y="48"/>
                    <a:pt x="901" y="48"/>
                    <a:pt x="901" y="48"/>
                  </a:cubicBezTo>
                  <a:cubicBezTo>
                    <a:pt x="951" y="335"/>
                    <a:pt x="951" y="335"/>
                    <a:pt x="951" y="335"/>
                  </a:cubicBezTo>
                  <a:cubicBezTo>
                    <a:pt x="788" y="470"/>
                    <a:pt x="788" y="470"/>
                    <a:pt x="788" y="470"/>
                  </a:cubicBezTo>
                  <a:cubicBezTo>
                    <a:pt x="710" y="485"/>
                    <a:pt x="710" y="485"/>
                    <a:pt x="710" y="485"/>
                  </a:cubicBezTo>
                  <a:cubicBezTo>
                    <a:pt x="691" y="524"/>
                    <a:pt x="691" y="524"/>
                    <a:pt x="691" y="524"/>
                  </a:cubicBezTo>
                  <a:cubicBezTo>
                    <a:pt x="384" y="554"/>
                    <a:pt x="384" y="554"/>
                    <a:pt x="384" y="554"/>
                  </a:cubicBezTo>
                  <a:cubicBezTo>
                    <a:pt x="384" y="554"/>
                    <a:pt x="384" y="554"/>
                    <a:pt x="384" y="554"/>
                  </a:cubicBezTo>
                  <a:cubicBezTo>
                    <a:pt x="250" y="607"/>
                    <a:pt x="250" y="607"/>
                    <a:pt x="250" y="607"/>
                  </a:cubicBezTo>
                  <a:cubicBezTo>
                    <a:pt x="238" y="612"/>
                    <a:pt x="227" y="621"/>
                    <a:pt x="221" y="632"/>
                  </a:cubicBezTo>
                  <a:cubicBezTo>
                    <a:pt x="23" y="976"/>
                    <a:pt x="23" y="976"/>
                    <a:pt x="23" y="976"/>
                  </a:cubicBezTo>
                  <a:cubicBezTo>
                    <a:pt x="0" y="1016"/>
                    <a:pt x="8" y="1067"/>
                    <a:pt x="42" y="1098"/>
                  </a:cubicBezTo>
                  <a:cubicBezTo>
                    <a:pt x="248" y="1292"/>
                    <a:pt x="248" y="1292"/>
                    <a:pt x="248" y="1292"/>
                  </a:cubicBezTo>
                  <a:cubicBezTo>
                    <a:pt x="248" y="1292"/>
                    <a:pt x="295" y="1287"/>
                    <a:pt x="324" y="1209"/>
                  </a:cubicBezTo>
                  <a:cubicBezTo>
                    <a:pt x="324" y="1208"/>
                    <a:pt x="179" y="1021"/>
                    <a:pt x="179" y="1021"/>
                  </a:cubicBezTo>
                  <a:cubicBezTo>
                    <a:pt x="305" y="924"/>
                    <a:pt x="305" y="924"/>
                    <a:pt x="305" y="924"/>
                  </a:cubicBezTo>
                  <a:cubicBezTo>
                    <a:pt x="322" y="975"/>
                    <a:pt x="352" y="1057"/>
                    <a:pt x="384" y="1122"/>
                  </a:cubicBezTo>
                  <a:cubicBezTo>
                    <a:pt x="338" y="1208"/>
                    <a:pt x="312" y="1455"/>
                    <a:pt x="312" y="1455"/>
                  </a:cubicBezTo>
                  <a:cubicBezTo>
                    <a:pt x="312" y="1455"/>
                    <a:pt x="519" y="1516"/>
                    <a:pt x="637" y="1344"/>
                  </a:cubicBezTo>
                  <a:cubicBezTo>
                    <a:pt x="724" y="1398"/>
                    <a:pt x="914" y="1362"/>
                    <a:pt x="914" y="1362"/>
                  </a:cubicBezTo>
                  <a:cubicBezTo>
                    <a:pt x="914" y="1362"/>
                    <a:pt x="843" y="1168"/>
                    <a:pt x="846" y="1077"/>
                  </a:cubicBezTo>
                  <a:cubicBezTo>
                    <a:pt x="847" y="1021"/>
                    <a:pt x="866" y="927"/>
                    <a:pt x="881" y="863"/>
                  </a:cubicBezTo>
                  <a:cubicBezTo>
                    <a:pt x="891" y="818"/>
                    <a:pt x="886" y="771"/>
                    <a:pt x="867" y="729"/>
                  </a:cubicBezTo>
                  <a:cubicBezTo>
                    <a:pt x="844" y="674"/>
                    <a:pt x="844" y="674"/>
                    <a:pt x="844" y="674"/>
                  </a:cubicBezTo>
                  <a:cubicBezTo>
                    <a:pt x="887" y="643"/>
                    <a:pt x="887" y="643"/>
                    <a:pt x="887" y="643"/>
                  </a:cubicBezTo>
                  <a:cubicBezTo>
                    <a:pt x="943" y="603"/>
                    <a:pt x="993" y="554"/>
                    <a:pt x="1034" y="498"/>
                  </a:cubicBezTo>
                  <a:cubicBezTo>
                    <a:pt x="1109" y="380"/>
                    <a:pt x="1109" y="380"/>
                    <a:pt x="1109" y="380"/>
                  </a:cubicBezTo>
                  <a:cubicBezTo>
                    <a:pt x="1118" y="366"/>
                    <a:pt x="1120" y="349"/>
                    <a:pt x="1116" y="33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7" name="Freeform 245">
              <a:extLst>
                <a:ext uri="{FF2B5EF4-FFF2-40B4-BE49-F238E27FC236}">
                  <a16:creationId xmlns:a16="http://schemas.microsoft.com/office/drawing/2014/main" id="{717B4545-1FCD-4940-9F9B-5055EF5EB5F6}"/>
                </a:ext>
              </a:extLst>
            </p:cNvPr>
            <p:cNvSpPr>
              <a:spLocks/>
            </p:cNvSpPr>
            <p:nvPr/>
          </p:nvSpPr>
          <p:spPr bwMode="auto">
            <a:xfrm>
              <a:off x="4666418" y="3353916"/>
              <a:ext cx="51475" cy="104299"/>
            </a:xfrm>
            <a:custGeom>
              <a:avLst/>
              <a:gdLst>
                <a:gd name="T0" fmla="*/ 8 w 283"/>
                <a:gd name="T1" fmla="*/ 56 h 575"/>
                <a:gd name="T2" fmla="*/ 169 w 283"/>
                <a:gd name="T3" fmla="*/ 329 h 575"/>
                <a:gd name="T4" fmla="*/ 193 w 283"/>
                <a:gd name="T5" fmla="*/ 575 h 575"/>
                <a:gd name="T6" fmla="*/ 282 w 283"/>
                <a:gd name="T7" fmla="*/ 367 h 575"/>
                <a:gd name="T8" fmla="*/ 244 w 283"/>
                <a:gd name="T9" fmla="*/ 124 h 575"/>
                <a:gd name="T10" fmla="*/ 282 w 283"/>
                <a:gd name="T11" fmla="*/ 44 h 575"/>
                <a:gd name="T12" fmla="*/ 225 w 283"/>
                <a:gd name="T13" fmla="*/ 0 h 575"/>
                <a:gd name="T14" fmla="*/ 0 w 283"/>
                <a:gd name="T15" fmla="*/ 39 h 575"/>
                <a:gd name="T16" fmla="*/ 8 w 283"/>
                <a:gd name="T17" fmla="*/ 56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575">
                  <a:moveTo>
                    <a:pt x="8" y="56"/>
                  </a:moveTo>
                  <a:cubicBezTo>
                    <a:pt x="8" y="56"/>
                    <a:pt x="137" y="222"/>
                    <a:pt x="169" y="329"/>
                  </a:cubicBezTo>
                  <a:cubicBezTo>
                    <a:pt x="200" y="437"/>
                    <a:pt x="193" y="575"/>
                    <a:pt x="193" y="575"/>
                  </a:cubicBezTo>
                  <a:cubicBezTo>
                    <a:pt x="193" y="575"/>
                    <a:pt x="281" y="479"/>
                    <a:pt x="282" y="367"/>
                  </a:cubicBezTo>
                  <a:cubicBezTo>
                    <a:pt x="283" y="255"/>
                    <a:pt x="244" y="124"/>
                    <a:pt x="244" y="124"/>
                  </a:cubicBezTo>
                  <a:cubicBezTo>
                    <a:pt x="282" y="44"/>
                    <a:pt x="282" y="44"/>
                    <a:pt x="282" y="44"/>
                  </a:cubicBezTo>
                  <a:cubicBezTo>
                    <a:pt x="225" y="0"/>
                    <a:pt x="225" y="0"/>
                    <a:pt x="225" y="0"/>
                  </a:cubicBezTo>
                  <a:cubicBezTo>
                    <a:pt x="0" y="39"/>
                    <a:pt x="0" y="39"/>
                    <a:pt x="0" y="39"/>
                  </a:cubicBezTo>
                  <a:lnTo>
                    <a:pt x="8" y="5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8" name="Freeform 246">
              <a:extLst>
                <a:ext uri="{FF2B5EF4-FFF2-40B4-BE49-F238E27FC236}">
                  <a16:creationId xmlns:a16="http://schemas.microsoft.com/office/drawing/2014/main" id="{52BAC199-8D2C-4141-9BEF-3F6E7E56C0AE}"/>
                </a:ext>
              </a:extLst>
            </p:cNvPr>
            <p:cNvSpPr>
              <a:spLocks/>
            </p:cNvSpPr>
            <p:nvPr/>
          </p:nvSpPr>
          <p:spPr bwMode="auto">
            <a:xfrm>
              <a:off x="4706574" y="3356881"/>
              <a:ext cx="5121" cy="8355"/>
            </a:xfrm>
            <a:custGeom>
              <a:avLst/>
              <a:gdLst>
                <a:gd name="T0" fmla="*/ 10 w 19"/>
                <a:gd name="T1" fmla="*/ 31 h 31"/>
                <a:gd name="T2" fmla="*/ 19 w 19"/>
                <a:gd name="T3" fmla="*/ 12 h 31"/>
                <a:gd name="T4" fmla="*/ 0 w 19"/>
                <a:gd name="T5" fmla="*/ 0 h 31"/>
                <a:gd name="T6" fmla="*/ 4 w 19"/>
                <a:gd name="T7" fmla="*/ 28 h 31"/>
                <a:gd name="T8" fmla="*/ 10 w 19"/>
                <a:gd name="T9" fmla="*/ 31 h 31"/>
              </a:gdLst>
              <a:ahLst/>
              <a:cxnLst>
                <a:cxn ang="0">
                  <a:pos x="T0" y="T1"/>
                </a:cxn>
                <a:cxn ang="0">
                  <a:pos x="T2" y="T3"/>
                </a:cxn>
                <a:cxn ang="0">
                  <a:pos x="T4" y="T5"/>
                </a:cxn>
                <a:cxn ang="0">
                  <a:pos x="T6" y="T7"/>
                </a:cxn>
                <a:cxn ang="0">
                  <a:pos x="T8" y="T9"/>
                </a:cxn>
              </a:cxnLst>
              <a:rect l="0" t="0" r="r" b="b"/>
              <a:pathLst>
                <a:path w="19" h="31">
                  <a:moveTo>
                    <a:pt x="10" y="31"/>
                  </a:moveTo>
                  <a:lnTo>
                    <a:pt x="19" y="12"/>
                  </a:lnTo>
                  <a:lnTo>
                    <a:pt x="0" y="0"/>
                  </a:lnTo>
                  <a:lnTo>
                    <a:pt x="4" y="28"/>
                  </a:lnTo>
                  <a:lnTo>
                    <a:pt x="10" y="3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9" name="Freeform 247">
              <a:extLst>
                <a:ext uri="{FF2B5EF4-FFF2-40B4-BE49-F238E27FC236}">
                  <a16:creationId xmlns:a16="http://schemas.microsoft.com/office/drawing/2014/main" id="{183D9E66-C2EC-416C-AC1D-814B2C8C76CB}"/>
                </a:ext>
              </a:extLst>
            </p:cNvPr>
            <p:cNvSpPr>
              <a:spLocks/>
            </p:cNvSpPr>
            <p:nvPr/>
          </p:nvSpPr>
          <p:spPr bwMode="auto">
            <a:xfrm>
              <a:off x="4655638" y="3267944"/>
              <a:ext cx="72227" cy="125320"/>
            </a:xfrm>
            <a:custGeom>
              <a:avLst/>
              <a:gdLst>
                <a:gd name="T0" fmla="*/ 388 w 397"/>
                <a:gd name="T1" fmla="*/ 261 h 690"/>
                <a:gd name="T2" fmla="*/ 376 w 397"/>
                <a:gd name="T3" fmla="*/ 166 h 690"/>
                <a:gd name="T4" fmla="*/ 177 w 397"/>
                <a:gd name="T5" fmla="*/ 12 h 690"/>
                <a:gd name="T6" fmla="*/ 166 w 397"/>
                <a:gd name="T7" fmla="*/ 13 h 690"/>
                <a:gd name="T8" fmla="*/ 12 w 397"/>
                <a:gd name="T9" fmla="*/ 212 h 690"/>
                <a:gd name="T10" fmla="*/ 24 w 397"/>
                <a:gd name="T11" fmla="*/ 308 h 690"/>
                <a:gd name="T12" fmla="*/ 116 w 397"/>
                <a:gd name="T13" fmla="*/ 441 h 690"/>
                <a:gd name="T14" fmla="*/ 109 w 397"/>
                <a:gd name="T15" fmla="*/ 528 h 690"/>
                <a:gd name="T16" fmla="*/ 181 w 397"/>
                <a:gd name="T17" fmla="*/ 555 h 690"/>
                <a:gd name="T18" fmla="*/ 248 w 397"/>
                <a:gd name="T19" fmla="*/ 690 h 690"/>
                <a:gd name="T20" fmla="*/ 295 w 397"/>
                <a:gd name="T21" fmla="*/ 535 h 690"/>
                <a:gd name="T22" fmla="*/ 288 w 397"/>
                <a:gd name="T23" fmla="*/ 507 h 690"/>
                <a:gd name="T24" fmla="*/ 285 w 397"/>
                <a:gd name="T25" fmla="*/ 473 h 690"/>
                <a:gd name="T26" fmla="*/ 305 w 397"/>
                <a:gd name="T27" fmla="*/ 435 h 690"/>
                <a:gd name="T28" fmla="*/ 388 w 397"/>
                <a:gd name="T29" fmla="*/ 261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7" h="690">
                  <a:moveTo>
                    <a:pt x="388" y="261"/>
                  </a:moveTo>
                  <a:cubicBezTo>
                    <a:pt x="376" y="166"/>
                    <a:pt x="376" y="166"/>
                    <a:pt x="376" y="166"/>
                  </a:cubicBezTo>
                  <a:cubicBezTo>
                    <a:pt x="363" y="69"/>
                    <a:pt x="274" y="0"/>
                    <a:pt x="177" y="12"/>
                  </a:cubicBezTo>
                  <a:cubicBezTo>
                    <a:pt x="166" y="13"/>
                    <a:pt x="166" y="13"/>
                    <a:pt x="166" y="13"/>
                  </a:cubicBezTo>
                  <a:cubicBezTo>
                    <a:pt x="69" y="26"/>
                    <a:pt x="0" y="115"/>
                    <a:pt x="12" y="212"/>
                  </a:cubicBezTo>
                  <a:cubicBezTo>
                    <a:pt x="24" y="308"/>
                    <a:pt x="24" y="308"/>
                    <a:pt x="24" y="308"/>
                  </a:cubicBezTo>
                  <a:cubicBezTo>
                    <a:pt x="32" y="366"/>
                    <a:pt x="68" y="414"/>
                    <a:pt x="116" y="441"/>
                  </a:cubicBezTo>
                  <a:cubicBezTo>
                    <a:pt x="109" y="528"/>
                    <a:pt x="109" y="528"/>
                    <a:pt x="109" y="528"/>
                  </a:cubicBezTo>
                  <a:cubicBezTo>
                    <a:pt x="181" y="555"/>
                    <a:pt x="181" y="555"/>
                    <a:pt x="181" y="555"/>
                  </a:cubicBezTo>
                  <a:cubicBezTo>
                    <a:pt x="248" y="690"/>
                    <a:pt x="248" y="690"/>
                    <a:pt x="248" y="690"/>
                  </a:cubicBezTo>
                  <a:cubicBezTo>
                    <a:pt x="295" y="535"/>
                    <a:pt x="295" y="535"/>
                    <a:pt x="295" y="535"/>
                  </a:cubicBezTo>
                  <a:cubicBezTo>
                    <a:pt x="288" y="507"/>
                    <a:pt x="288" y="507"/>
                    <a:pt x="288" y="507"/>
                  </a:cubicBezTo>
                  <a:cubicBezTo>
                    <a:pt x="285" y="473"/>
                    <a:pt x="285" y="473"/>
                    <a:pt x="285" y="473"/>
                  </a:cubicBezTo>
                  <a:cubicBezTo>
                    <a:pt x="283" y="458"/>
                    <a:pt x="291" y="443"/>
                    <a:pt x="305" y="435"/>
                  </a:cubicBezTo>
                  <a:cubicBezTo>
                    <a:pt x="362" y="399"/>
                    <a:pt x="397" y="332"/>
                    <a:pt x="388" y="261"/>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0" name="Freeform 248">
              <a:extLst>
                <a:ext uri="{FF2B5EF4-FFF2-40B4-BE49-F238E27FC236}">
                  <a16:creationId xmlns:a16="http://schemas.microsoft.com/office/drawing/2014/main" id="{A35F5F85-5327-46E9-A538-BDBF158BD14D}"/>
                </a:ext>
              </a:extLst>
            </p:cNvPr>
            <p:cNvSpPr>
              <a:spLocks/>
            </p:cNvSpPr>
            <p:nvPr/>
          </p:nvSpPr>
          <p:spPr bwMode="auto">
            <a:xfrm>
              <a:off x="4693099" y="3270639"/>
              <a:ext cx="33688" cy="63064"/>
            </a:xfrm>
            <a:custGeom>
              <a:avLst/>
              <a:gdLst>
                <a:gd name="T0" fmla="*/ 182 w 185"/>
                <a:gd name="T1" fmla="*/ 247 h 348"/>
                <a:gd name="T2" fmla="*/ 170 w 185"/>
                <a:gd name="T3" fmla="*/ 152 h 348"/>
                <a:gd name="T4" fmla="*/ 28 w 185"/>
                <a:gd name="T5" fmla="*/ 0 h 348"/>
                <a:gd name="T6" fmla="*/ 0 w 185"/>
                <a:gd name="T7" fmla="*/ 36 h 348"/>
                <a:gd name="T8" fmla="*/ 34 w 185"/>
                <a:gd name="T9" fmla="*/ 65 h 348"/>
                <a:gd name="T10" fmla="*/ 70 w 185"/>
                <a:gd name="T11" fmla="*/ 143 h 348"/>
                <a:gd name="T12" fmla="*/ 70 w 185"/>
                <a:gd name="T13" fmla="*/ 153 h 348"/>
                <a:gd name="T14" fmla="*/ 93 w 185"/>
                <a:gd name="T15" fmla="*/ 189 h 348"/>
                <a:gd name="T16" fmla="*/ 131 w 185"/>
                <a:gd name="T17" fmla="*/ 207 h 348"/>
                <a:gd name="T18" fmla="*/ 132 w 185"/>
                <a:gd name="T19" fmla="*/ 237 h 348"/>
                <a:gd name="T20" fmla="*/ 114 w 185"/>
                <a:gd name="T21" fmla="*/ 253 h 348"/>
                <a:gd name="T22" fmla="*/ 122 w 185"/>
                <a:gd name="T23" fmla="*/ 271 h 348"/>
                <a:gd name="T24" fmla="*/ 132 w 185"/>
                <a:gd name="T25" fmla="*/ 304 h 348"/>
                <a:gd name="T26" fmla="*/ 98 w 185"/>
                <a:gd name="T27" fmla="*/ 311 h 348"/>
                <a:gd name="T28" fmla="*/ 98 w 185"/>
                <a:gd name="T29" fmla="*/ 321 h 348"/>
                <a:gd name="T30" fmla="*/ 130 w 185"/>
                <a:gd name="T31" fmla="*/ 342 h 348"/>
                <a:gd name="T32" fmla="*/ 144 w 185"/>
                <a:gd name="T33" fmla="*/ 336 h 348"/>
                <a:gd name="T34" fmla="*/ 146 w 185"/>
                <a:gd name="T35" fmla="*/ 336 h 348"/>
                <a:gd name="T36" fmla="*/ 172 w 185"/>
                <a:gd name="T37" fmla="*/ 326 h 348"/>
                <a:gd name="T38" fmla="*/ 172 w 185"/>
                <a:gd name="T39" fmla="*/ 326 h 348"/>
                <a:gd name="T40" fmla="*/ 174 w 185"/>
                <a:gd name="T41" fmla="*/ 325 h 348"/>
                <a:gd name="T42" fmla="*/ 182 w 185"/>
                <a:gd name="T43" fmla="*/ 24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348">
                  <a:moveTo>
                    <a:pt x="182" y="247"/>
                  </a:moveTo>
                  <a:cubicBezTo>
                    <a:pt x="170" y="152"/>
                    <a:pt x="170" y="152"/>
                    <a:pt x="170" y="152"/>
                  </a:cubicBezTo>
                  <a:cubicBezTo>
                    <a:pt x="160" y="74"/>
                    <a:pt x="101" y="15"/>
                    <a:pt x="28" y="0"/>
                  </a:cubicBezTo>
                  <a:cubicBezTo>
                    <a:pt x="0" y="36"/>
                    <a:pt x="0" y="36"/>
                    <a:pt x="0" y="36"/>
                  </a:cubicBezTo>
                  <a:cubicBezTo>
                    <a:pt x="34" y="65"/>
                    <a:pt x="34" y="65"/>
                    <a:pt x="34" y="65"/>
                  </a:cubicBezTo>
                  <a:cubicBezTo>
                    <a:pt x="57" y="85"/>
                    <a:pt x="70" y="113"/>
                    <a:pt x="70" y="143"/>
                  </a:cubicBezTo>
                  <a:cubicBezTo>
                    <a:pt x="70" y="153"/>
                    <a:pt x="70" y="153"/>
                    <a:pt x="70" y="153"/>
                  </a:cubicBezTo>
                  <a:cubicBezTo>
                    <a:pt x="70" y="169"/>
                    <a:pt x="79" y="183"/>
                    <a:pt x="93" y="189"/>
                  </a:cubicBezTo>
                  <a:cubicBezTo>
                    <a:pt x="131" y="207"/>
                    <a:pt x="131" y="207"/>
                    <a:pt x="131" y="207"/>
                  </a:cubicBezTo>
                  <a:cubicBezTo>
                    <a:pt x="143" y="213"/>
                    <a:pt x="144" y="230"/>
                    <a:pt x="132" y="237"/>
                  </a:cubicBezTo>
                  <a:cubicBezTo>
                    <a:pt x="132" y="237"/>
                    <a:pt x="115" y="248"/>
                    <a:pt x="114" y="253"/>
                  </a:cubicBezTo>
                  <a:cubicBezTo>
                    <a:pt x="114" y="258"/>
                    <a:pt x="122" y="271"/>
                    <a:pt x="122" y="271"/>
                  </a:cubicBezTo>
                  <a:cubicBezTo>
                    <a:pt x="128" y="280"/>
                    <a:pt x="131" y="292"/>
                    <a:pt x="132" y="304"/>
                  </a:cubicBezTo>
                  <a:cubicBezTo>
                    <a:pt x="98" y="311"/>
                    <a:pt x="98" y="311"/>
                    <a:pt x="98" y="311"/>
                  </a:cubicBezTo>
                  <a:cubicBezTo>
                    <a:pt x="98" y="321"/>
                    <a:pt x="98" y="321"/>
                    <a:pt x="98" y="321"/>
                  </a:cubicBezTo>
                  <a:cubicBezTo>
                    <a:pt x="99" y="337"/>
                    <a:pt x="115" y="348"/>
                    <a:pt x="130" y="342"/>
                  </a:cubicBezTo>
                  <a:cubicBezTo>
                    <a:pt x="144" y="336"/>
                    <a:pt x="144" y="336"/>
                    <a:pt x="144" y="336"/>
                  </a:cubicBezTo>
                  <a:cubicBezTo>
                    <a:pt x="145" y="336"/>
                    <a:pt x="146" y="337"/>
                    <a:pt x="146" y="336"/>
                  </a:cubicBezTo>
                  <a:cubicBezTo>
                    <a:pt x="172" y="326"/>
                    <a:pt x="172" y="326"/>
                    <a:pt x="172" y="326"/>
                  </a:cubicBezTo>
                  <a:cubicBezTo>
                    <a:pt x="172" y="326"/>
                    <a:pt x="172" y="326"/>
                    <a:pt x="172" y="326"/>
                  </a:cubicBezTo>
                  <a:cubicBezTo>
                    <a:pt x="174" y="325"/>
                    <a:pt x="174" y="325"/>
                    <a:pt x="174" y="325"/>
                  </a:cubicBezTo>
                  <a:cubicBezTo>
                    <a:pt x="182" y="300"/>
                    <a:pt x="185" y="274"/>
                    <a:pt x="182" y="247"/>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1" name="Freeform 249">
              <a:extLst>
                <a:ext uri="{FF2B5EF4-FFF2-40B4-BE49-F238E27FC236}">
                  <a16:creationId xmlns:a16="http://schemas.microsoft.com/office/drawing/2014/main" id="{9E80A4E1-C7B4-4EC2-9093-6FFC744438BC}"/>
                </a:ext>
              </a:extLst>
            </p:cNvPr>
            <p:cNvSpPr>
              <a:spLocks/>
            </p:cNvSpPr>
            <p:nvPr/>
          </p:nvSpPr>
          <p:spPr bwMode="auto">
            <a:xfrm>
              <a:off x="4686092" y="3333434"/>
              <a:ext cx="37192" cy="59830"/>
            </a:xfrm>
            <a:custGeom>
              <a:avLst/>
              <a:gdLst>
                <a:gd name="T0" fmla="*/ 204 w 204"/>
                <a:gd name="T1" fmla="*/ 0 h 330"/>
                <a:gd name="T2" fmla="*/ 176 w 204"/>
                <a:gd name="T3" fmla="*/ 21 h 330"/>
                <a:gd name="T4" fmla="*/ 88 w 204"/>
                <a:gd name="T5" fmla="*/ 38 h 330"/>
                <a:gd name="T6" fmla="*/ 10 w 204"/>
                <a:gd name="T7" fmla="*/ 15 h 330"/>
                <a:gd name="T8" fmla="*/ 4 w 204"/>
                <a:gd name="T9" fmla="*/ 25 h 330"/>
                <a:gd name="T10" fmla="*/ 30 w 204"/>
                <a:gd name="T11" fmla="*/ 57 h 330"/>
                <a:gd name="T12" fmla="*/ 58 w 204"/>
                <a:gd name="T13" fmla="*/ 129 h 330"/>
                <a:gd name="T14" fmla="*/ 66 w 204"/>
                <a:gd name="T15" fmla="*/ 301 h 330"/>
                <a:gd name="T16" fmla="*/ 80 w 204"/>
                <a:gd name="T17" fmla="*/ 330 h 330"/>
                <a:gd name="T18" fmla="*/ 127 w 204"/>
                <a:gd name="T19" fmla="*/ 175 h 330"/>
                <a:gd name="T20" fmla="*/ 120 w 204"/>
                <a:gd name="T21" fmla="*/ 147 h 330"/>
                <a:gd name="T22" fmla="*/ 117 w 204"/>
                <a:gd name="T23" fmla="*/ 113 h 330"/>
                <a:gd name="T24" fmla="*/ 137 w 204"/>
                <a:gd name="T25" fmla="*/ 75 h 330"/>
                <a:gd name="T26" fmla="*/ 204 w 204"/>
                <a:gd name="T27"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330">
                  <a:moveTo>
                    <a:pt x="204" y="0"/>
                  </a:moveTo>
                  <a:cubicBezTo>
                    <a:pt x="176" y="21"/>
                    <a:pt x="176" y="21"/>
                    <a:pt x="176" y="21"/>
                  </a:cubicBezTo>
                  <a:cubicBezTo>
                    <a:pt x="151" y="40"/>
                    <a:pt x="118" y="46"/>
                    <a:pt x="88" y="38"/>
                  </a:cubicBezTo>
                  <a:cubicBezTo>
                    <a:pt x="10" y="15"/>
                    <a:pt x="10" y="15"/>
                    <a:pt x="10" y="15"/>
                  </a:cubicBezTo>
                  <a:cubicBezTo>
                    <a:pt x="4" y="14"/>
                    <a:pt x="0" y="21"/>
                    <a:pt x="4" y="25"/>
                  </a:cubicBezTo>
                  <a:cubicBezTo>
                    <a:pt x="30" y="57"/>
                    <a:pt x="30" y="57"/>
                    <a:pt x="30" y="57"/>
                  </a:cubicBezTo>
                  <a:cubicBezTo>
                    <a:pt x="46" y="77"/>
                    <a:pt x="56" y="103"/>
                    <a:pt x="58" y="129"/>
                  </a:cubicBezTo>
                  <a:cubicBezTo>
                    <a:pt x="66" y="301"/>
                    <a:pt x="66" y="301"/>
                    <a:pt x="66" y="301"/>
                  </a:cubicBezTo>
                  <a:cubicBezTo>
                    <a:pt x="80" y="330"/>
                    <a:pt x="80" y="330"/>
                    <a:pt x="80" y="330"/>
                  </a:cubicBezTo>
                  <a:cubicBezTo>
                    <a:pt x="127" y="175"/>
                    <a:pt x="127" y="175"/>
                    <a:pt x="127" y="175"/>
                  </a:cubicBezTo>
                  <a:cubicBezTo>
                    <a:pt x="120" y="147"/>
                    <a:pt x="120" y="147"/>
                    <a:pt x="120" y="147"/>
                  </a:cubicBezTo>
                  <a:cubicBezTo>
                    <a:pt x="117" y="113"/>
                    <a:pt x="117" y="113"/>
                    <a:pt x="117" y="113"/>
                  </a:cubicBezTo>
                  <a:cubicBezTo>
                    <a:pt x="115" y="98"/>
                    <a:pt x="123" y="83"/>
                    <a:pt x="137" y="75"/>
                  </a:cubicBezTo>
                  <a:cubicBezTo>
                    <a:pt x="166" y="57"/>
                    <a:pt x="189" y="31"/>
                    <a:pt x="204"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2" name="Oval 250">
              <a:extLst>
                <a:ext uri="{FF2B5EF4-FFF2-40B4-BE49-F238E27FC236}">
                  <a16:creationId xmlns:a16="http://schemas.microsoft.com/office/drawing/2014/main" id="{2722E123-A69D-410E-9FED-89DC57364EDA}"/>
                </a:ext>
              </a:extLst>
            </p:cNvPr>
            <p:cNvSpPr>
              <a:spLocks noChangeArrowheads="1"/>
            </p:cNvSpPr>
            <p:nvPr/>
          </p:nvSpPr>
          <p:spPr bwMode="auto">
            <a:xfrm>
              <a:off x="4689326" y="3301902"/>
              <a:ext cx="6738" cy="6738"/>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3" name="Oval 251">
              <a:extLst>
                <a:ext uri="{FF2B5EF4-FFF2-40B4-BE49-F238E27FC236}">
                  <a16:creationId xmlns:a16="http://schemas.microsoft.com/office/drawing/2014/main" id="{A1102204-86C2-44CF-8C01-0DA988F73018}"/>
                </a:ext>
              </a:extLst>
            </p:cNvPr>
            <p:cNvSpPr>
              <a:spLocks noChangeArrowheads="1"/>
            </p:cNvSpPr>
            <p:nvPr/>
          </p:nvSpPr>
          <p:spPr bwMode="auto">
            <a:xfrm>
              <a:off x="4713582" y="3297320"/>
              <a:ext cx="6738" cy="6738"/>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4" name="Freeform 252">
              <a:extLst>
                <a:ext uri="{FF2B5EF4-FFF2-40B4-BE49-F238E27FC236}">
                  <a16:creationId xmlns:a16="http://schemas.microsoft.com/office/drawing/2014/main" id="{E8564715-3311-422D-B3C6-468060B52ABC}"/>
                </a:ext>
              </a:extLst>
            </p:cNvPr>
            <p:cNvSpPr>
              <a:spLocks/>
            </p:cNvSpPr>
            <p:nvPr/>
          </p:nvSpPr>
          <p:spPr bwMode="auto">
            <a:xfrm>
              <a:off x="4701454" y="3320767"/>
              <a:ext cx="18865" cy="6468"/>
            </a:xfrm>
            <a:custGeom>
              <a:avLst/>
              <a:gdLst>
                <a:gd name="T0" fmla="*/ 0 w 103"/>
                <a:gd name="T1" fmla="*/ 25 h 36"/>
                <a:gd name="T2" fmla="*/ 41 w 103"/>
                <a:gd name="T3" fmla="*/ 33 h 36"/>
                <a:gd name="T4" fmla="*/ 75 w 103"/>
                <a:gd name="T5" fmla="*/ 32 h 36"/>
                <a:gd name="T6" fmla="*/ 91 w 103"/>
                <a:gd name="T7" fmla="*/ 28 h 36"/>
                <a:gd name="T8" fmla="*/ 103 w 103"/>
                <a:gd name="T9" fmla="*/ 12 h 36"/>
                <a:gd name="T10" fmla="*/ 102 w 103"/>
                <a:gd name="T11" fmla="*/ 0 h 36"/>
                <a:gd name="T12" fmla="*/ 59 w 103"/>
                <a:gd name="T13" fmla="*/ 10 h 36"/>
                <a:gd name="T14" fmla="*/ 2 w 103"/>
                <a:gd name="T15" fmla="*/ 2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6">
                  <a:moveTo>
                    <a:pt x="0" y="25"/>
                  </a:moveTo>
                  <a:cubicBezTo>
                    <a:pt x="41" y="33"/>
                    <a:pt x="41" y="33"/>
                    <a:pt x="41" y="33"/>
                  </a:cubicBezTo>
                  <a:cubicBezTo>
                    <a:pt x="52" y="36"/>
                    <a:pt x="64" y="35"/>
                    <a:pt x="75" y="32"/>
                  </a:cubicBezTo>
                  <a:cubicBezTo>
                    <a:pt x="91" y="28"/>
                    <a:pt x="91" y="28"/>
                    <a:pt x="91" y="28"/>
                  </a:cubicBezTo>
                  <a:cubicBezTo>
                    <a:pt x="98" y="25"/>
                    <a:pt x="103" y="19"/>
                    <a:pt x="103" y="12"/>
                  </a:cubicBezTo>
                  <a:cubicBezTo>
                    <a:pt x="102" y="0"/>
                    <a:pt x="102" y="0"/>
                    <a:pt x="102" y="0"/>
                  </a:cubicBezTo>
                  <a:cubicBezTo>
                    <a:pt x="59" y="10"/>
                    <a:pt x="59" y="10"/>
                    <a:pt x="59" y="10"/>
                  </a:cubicBezTo>
                  <a:cubicBezTo>
                    <a:pt x="2" y="23"/>
                    <a:pt x="2" y="23"/>
                    <a:pt x="2" y="23"/>
                  </a:cubicBezTo>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5" name="Freeform 253">
              <a:extLst>
                <a:ext uri="{FF2B5EF4-FFF2-40B4-BE49-F238E27FC236}">
                  <a16:creationId xmlns:a16="http://schemas.microsoft.com/office/drawing/2014/main" id="{CE317C7D-B1E2-4452-B946-F86368B1F226}"/>
                </a:ext>
              </a:extLst>
            </p:cNvPr>
            <p:cNvSpPr>
              <a:spLocks/>
            </p:cNvSpPr>
            <p:nvPr/>
          </p:nvSpPr>
          <p:spPr bwMode="auto">
            <a:xfrm>
              <a:off x="4701454" y="3319150"/>
              <a:ext cx="18596" cy="5929"/>
            </a:xfrm>
            <a:custGeom>
              <a:avLst/>
              <a:gdLst>
                <a:gd name="T0" fmla="*/ 0 w 102"/>
                <a:gd name="T1" fmla="*/ 34 h 34"/>
                <a:gd name="T2" fmla="*/ 45 w 102"/>
                <a:gd name="T3" fmla="*/ 9 h 34"/>
                <a:gd name="T4" fmla="*/ 63 w 102"/>
                <a:gd name="T5" fmla="*/ 6 h 34"/>
                <a:gd name="T6" fmla="*/ 74 w 102"/>
                <a:gd name="T7" fmla="*/ 9 h 34"/>
                <a:gd name="T8" fmla="*/ 80 w 102"/>
                <a:gd name="T9" fmla="*/ 3 h 34"/>
                <a:gd name="T10" fmla="*/ 95 w 102"/>
                <a:gd name="T11" fmla="*/ 4 h 34"/>
                <a:gd name="T12" fmla="*/ 102 w 102"/>
                <a:gd name="T13" fmla="*/ 9 h 34"/>
                <a:gd name="T14" fmla="*/ 93 w 102"/>
                <a:gd name="T15" fmla="*/ 15 h 34"/>
                <a:gd name="T16" fmla="*/ 67 w 102"/>
                <a:gd name="T17" fmla="*/ 25 h 34"/>
                <a:gd name="T18" fmla="*/ 0 w 102"/>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34">
                  <a:moveTo>
                    <a:pt x="0" y="34"/>
                  </a:moveTo>
                  <a:cubicBezTo>
                    <a:pt x="45" y="9"/>
                    <a:pt x="45" y="9"/>
                    <a:pt x="45" y="9"/>
                  </a:cubicBezTo>
                  <a:cubicBezTo>
                    <a:pt x="51" y="6"/>
                    <a:pt x="57" y="5"/>
                    <a:pt x="63" y="6"/>
                  </a:cubicBezTo>
                  <a:cubicBezTo>
                    <a:pt x="74" y="9"/>
                    <a:pt x="74" y="9"/>
                    <a:pt x="74" y="9"/>
                  </a:cubicBezTo>
                  <a:cubicBezTo>
                    <a:pt x="80" y="3"/>
                    <a:pt x="80" y="3"/>
                    <a:pt x="80" y="3"/>
                  </a:cubicBezTo>
                  <a:cubicBezTo>
                    <a:pt x="85" y="0"/>
                    <a:pt x="91" y="0"/>
                    <a:pt x="95" y="4"/>
                  </a:cubicBezTo>
                  <a:cubicBezTo>
                    <a:pt x="102" y="9"/>
                    <a:pt x="102" y="9"/>
                    <a:pt x="102" y="9"/>
                  </a:cubicBezTo>
                  <a:cubicBezTo>
                    <a:pt x="93" y="15"/>
                    <a:pt x="93" y="15"/>
                    <a:pt x="93" y="15"/>
                  </a:cubicBezTo>
                  <a:cubicBezTo>
                    <a:pt x="85" y="20"/>
                    <a:pt x="76" y="24"/>
                    <a:pt x="67" y="25"/>
                  </a:cubicBezTo>
                  <a:lnTo>
                    <a:pt x="0" y="3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6" name="Freeform 254">
              <a:extLst>
                <a:ext uri="{FF2B5EF4-FFF2-40B4-BE49-F238E27FC236}">
                  <a16:creationId xmlns:a16="http://schemas.microsoft.com/office/drawing/2014/main" id="{C65AEC90-B0DC-4D28-9223-3C0DD4EE304A}"/>
                </a:ext>
              </a:extLst>
            </p:cNvPr>
            <p:cNvSpPr>
              <a:spLocks/>
            </p:cNvSpPr>
            <p:nvPr/>
          </p:nvSpPr>
          <p:spPr bwMode="auto">
            <a:xfrm>
              <a:off x="4682589" y="3292469"/>
              <a:ext cx="14823" cy="10511"/>
            </a:xfrm>
            <a:custGeom>
              <a:avLst/>
              <a:gdLst>
                <a:gd name="T0" fmla="*/ 7 w 82"/>
                <a:gd name="T1" fmla="*/ 58 h 58"/>
                <a:gd name="T2" fmla="*/ 5 w 82"/>
                <a:gd name="T3" fmla="*/ 58 h 58"/>
                <a:gd name="T4" fmla="*/ 1 w 82"/>
                <a:gd name="T5" fmla="*/ 49 h 58"/>
                <a:gd name="T6" fmla="*/ 76 w 82"/>
                <a:gd name="T7" fmla="*/ 17 h 58"/>
                <a:gd name="T8" fmla="*/ 80 w 82"/>
                <a:gd name="T9" fmla="*/ 25 h 58"/>
                <a:gd name="T10" fmla="*/ 72 w 82"/>
                <a:gd name="T11" fmla="*/ 29 h 58"/>
                <a:gd name="T12" fmla="*/ 13 w 82"/>
                <a:gd name="T13" fmla="*/ 54 h 58"/>
                <a:gd name="T14" fmla="*/ 7 w 82"/>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8">
                  <a:moveTo>
                    <a:pt x="7" y="58"/>
                  </a:moveTo>
                  <a:cubicBezTo>
                    <a:pt x="6" y="58"/>
                    <a:pt x="6" y="58"/>
                    <a:pt x="5" y="58"/>
                  </a:cubicBezTo>
                  <a:cubicBezTo>
                    <a:pt x="1" y="56"/>
                    <a:pt x="0" y="53"/>
                    <a:pt x="1" y="49"/>
                  </a:cubicBezTo>
                  <a:cubicBezTo>
                    <a:pt x="2" y="49"/>
                    <a:pt x="23" y="0"/>
                    <a:pt x="76" y="17"/>
                  </a:cubicBezTo>
                  <a:cubicBezTo>
                    <a:pt x="80" y="18"/>
                    <a:pt x="82" y="22"/>
                    <a:pt x="80" y="25"/>
                  </a:cubicBezTo>
                  <a:cubicBezTo>
                    <a:pt x="79" y="28"/>
                    <a:pt x="76" y="30"/>
                    <a:pt x="72" y="29"/>
                  </a:cubicBezTo>
                  <a:cubicBezTo>
                    <a:pt x="30" y="16"/>
                    <a:pt x="14" y="53"/>
                    <a:pt x="13" y="54"/>
                  </a:cubicBezTo>
                  <a:cubicBezTo>
                    <a:pt x="12" y="57"/>
                    <a:pt x="10" y="58"/>
                    <a:pt x="7" y="58"/>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7" name="Freeform 255">
              <a:extLst>
                <a:ext uri="{FF2B5EF4-FFF2-40B4-BE49-F238E27FC236}">
                  <a16:creationId xmlns:a16="http://schemas.microsoft.com/office/drawing/2014/main" id="{1B271532-8462-424C-9820-66F947CE750B}"/>
                </a:ext>
              </a:extLst>
            </p:cNvPr>
            <p:cNvSpPr>
              <a:spLocks/>
            </p:cNvSpPr>
            <p:nvPr/>
          </p:nvSpPr>
          <p:spPr bwMode="auto">
            <a:xfrm>
              <a:off x="4709000" y="3287618"/>
              <a:ext cx="15901" cy="9163"/>
            </a:xfrm>
            <a:custGeom>
              <a:avLst/>
              <a:gdLst>
                <a:gd name="T0" fmla="*/ 80 w 87"/>
                <a:gd name="T1" fmla="*/ 51 h 51"/>
                <a:gd name="T2" fmla="*/ 75 w 87"/>
                <a:gd name="T3" fmla="*/ 49 h 51"/>
                <a:gd name="T4" fmla="*/ 12 w 87"/>
                <a:gd name="T5" fmla="*/ 43 h 51"/>
                <a:gd name="T6" fmla="*/ 2 w 87"/>
                <a:gd name="T7" fmla="*/ 42 h 51"/>
                <a:gd name="T8" fmla="*/ 3 w 87"/>
                <a:gd name="T9" fmla="*/ 33 h 51"/>
                <a:gd name="T10" fmla="*/ 85 w 87"/>
                <a:gd name="T11" fmla="*/ 40 h 51"/>
                <a:gd name="T12" fmla="*/ 85 w 87"/>
                <a:gd name="T13" fmla="*/ 49 h 51"/>
                <a:gd name="T14" fmla="*/ 80 w 87"/>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51">
                  <a:moveTo>
                    <a:pt x="80" y="51"/>
                  </a:moveTo>
                  <a:cubicBezTo>
                    <a:pt x="78" y="51"/>
                    <a:pt x="77" y="51"/>
                    <a:pt x="75" y="49"/>
                  </a:cubicBezTo>
                  <a:cubicBezTo>
                    <a:pt x="45" y="17"/>
                    <a:pt x="13" y="42"/>
                    <a:pt x="12" y="43"/>
                  </a:cubicBezTo>
                  <a:cubicBezTo>
                    <a:pt x="9" y="46"/>
                    <a:pt x="5" y="45"/>
                    <a:pt x="2" y="42"/>
                  </a:cubicBezTo>
                  <a:cubicBezTo>
                    <a:pt x="0" y="40"/>
                    <a:pt x="1" y="36"/>
                    <a:pt x="3" y="33"/>
                  </a:cubicBezTo>
                  <a:cubicBezTo>
                    <a:pt x="4" y="33"/>
                    <a:pt x="46" y="0"/>
                    <a:pt x="85" y="40"/>
                  </a:cubicBezTo>
                  <a:cubicBezTo>
                    <a:pt x="87" y="43"/>
                    <a:pt x="87" y="47"/>
                    <a:pt x="85" y="49"/>
                  </a:cubicBezTo>
                  <a:cubicBezTo>
                    <a:pt x="83" y="51"/>
                    <a:pt x="82" y="51"/>
                    <a:pt x="80" y="51"/>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8" name="Freeform 256">
              <a:extLst>
                <a:ext uri="{FF2B5EF4-FFF2-40B4-BE49-F238E27FC236}">
                  <a16:creationId xmlns:a16="http://schemas.microsoft.com/office/drawing/2014/main" id="{1728CAFA-7814-4BE8-B476-FCD12F7C4D49}"/>
                </a:ext>
              </a:extLst>
            </p:cNvPr>
            <p:cNvSpPr>
              <a:spLocks/>
            </p:cNvSpPr>
            <p:nvPr/>
          </p:nvSpPr>
          <p:spPr bwMode="auto">
            <a:xfrm>
              <a:off x="4695794" y="3320767"/>
              <a:ext cx="4312" cy="6199"/>
            </a:xfrm>
            <a:custGeom>
              <a:avLst/>
              <a:gdLst>
                <a:gd name="T0" fmla="*/ 24 w 24"/>
                <a:gd name="T1" fmla="*/ 0 h 34"/>
                <a:gd name="T2" fmla="*/ 17 w 24"/>
                <a:gd name="T3" fmla="*/ 34 h 34"/>
                <a:gd name="T4" fmla="*/ 24 w 24"/>
                <a:gd name="T5" fmla="*/ 0 h 34"/>
              </a:gdLst>
              <a:ahLst/>
              <a:cxnLst>
                <a:cxn ang="0">
                  <a:pos x="T0" y="T1"/>
                </a:cxn>
                <a:cxn ang="0">
                  <a:pos x="T2" y="T3"/>
                </a:cxn>
                <a:cxn ang="0">
                  <a:pos x="T4" y="T5"/>
                </a:cxn>
              </a:cxnLst>
              <a:rect l="0" t="0" r="r" b="b"/>
              <a:pathLst>
                <a:path w="24" h="34">
                  <a:moveTo>
                    <a:pt x="24" y="0"/>
                  </a:moveTo>
                  <a:cubicBezTo>
                    <a:pt x="17" y="34"/>
                    <a:pt x="17" y="34"/>
                    <a:pt x="17" y="34"/>
                  </a:cubicBezTo>
                  <a:cubicBezTo>
                    <a:pt x="17" y="34"/>
                    <a:pt x="0" y="9"/>
                    <a:pt x="24"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9" name="Freeform 257">
              <a:extLst>
                <a:ext uri="{FF2B5EF4-FFF2-40B4-BE49-F238E27FC236}">
                  <a16:creationId xmlns:a16="http://schemas.microsoft.com/office/drawing/2014/main" id="{CA5694F9-32B6-4A1B-98FC-C70FF5D753AF}"/>
                </a:ext>
              </a:extLst>
            </p:cNvPr>
            <p:cNvSpPr>
              <a:spLocks/>
            </p:cNvSpPr>
            <p:nvPr/>
          </p:nvSpPr>
          <p:spPr bwMode="auto">
            <a:xfrm>
              <a:off x="4680702" y="3368739"/>
              <a:ext cx="15901" cy="16709"/>
            </a:xfrm>
            <a:custGeom>
              <a:avLst/>
              <a:gdLst>
                <a:gd name="T0" fmla="*/ 29 w 59"/>
                <a:gd name="T1" fmla="*/ 0 h 62"/>
                <a:gd name="T2" fmla="*/ 0 w 59"/>
                <a:gd name="T3" fmla="*/ 45 h 62"/>
                <a:gd name="T4" fmla="*/ 59 w 59"/>
                <a:gd name="T5" fmla="*/ 62 h 62"/>
                <a:gd name="T6" fmla="*/ 29 w 59"/>
                <a:gd name="T7" fmla="*/ 0 h 62"/>
              </a:gdLst>
              <a:ahLst/>
              <a:cxnLst>
                <a:cxn ang="0">
                  <a:pos x="T0" y="T1"/>
                </a:cxn>
                <a:cxn ang="0">
                  <a:pos x="T2" y="T3"/>
                </a:cxn>
                <a:cxn ang="0">
                  <a:pos x="T4" y="T5"/>
                </a:cxn>
                <a:cxn ang="0">
                  <a:pos x="T6" y="T7"/>
                </a:cxn>
              </a:cxnLst>
              <a:rect l="0" t="0" r="r" b="b"/>
              <a:pathLst>
                <a:path w="59" h="62">
                  <a:moveTo>
                    <a:pt x="29" y="0"/>
                  </a:moveTo>
                  <a:lnTo>
                    <a:pt x="0" y="45"/>
                  </a:lnTo>
                  <a:lnTo>
                    <a:pt x="59" y="62"/>
                  </a:lnTo>
                  <a:lnTo>
                    <a:pt x="2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0" name="Freeform 258">
              <a:extLst>
                <a:ext uri="{FF2B5EF4-FFF2-40B4-BE49-F238E27FC236}">
                  <a16:creationId xmlns:a16="http://schemas.microsoft.com/office/drawing/2014/main" id="{0BCFAF25-F462-4E2A-9FC2-BAA0FF8F9DED}"/>
                </a:ext>
              </a:extLst>
            </p:cNvPr>
            <p:cNvSpPr>
              <a:spLocks/>
            </p:cNvSpPr>
            <p:nvPr/>
          </p:nvSpPr>
          <p:spPr bwMode="auto">
            <a:xfrm>
              <a:off x="4716277" y="3730415"/>
              <a:ext cx="53631" cy="39887"/>
            </a:xfrm>
            <a:custGeom>
              <a:avLst/>
              <a:gdLst>
                <a:gd name="T0" fmla="*/ 25 w 295"/>
                <a:gd name="T1" fmla="*/ 211 h 219"/>
                <a:gd name="T2" fmla="*/ 11 w 295"/>
                <a:gd name="T3" fmla="*/ 211 h 219"/>
                <a:gd name="T4" fmla="*/ 13 w 295"/>
                <a:gd name="T5" fmla="*/ 135 h 219"/>
                <a:gd name="T6" fmla="*/ 4 w 295"/>
                <a:gd name="T7" fmla="*/ 85 h 219"/>
                <a:gd name="T8" fmla="*/ 31 w 295"/>
                <a:gd name="T9" fmla="*/ 3 h 219"/>
                <a:gd name="T10" fmla="*/ 31 w 295"/>
                <a:gd name="T11" fmla="*/ 3 h 219"/>
                <a:gd name="T12" fmla="*/ 43 w 295"/>
                <a:gd name="T13" fmla="*/ 4 h 219"/>
                <a:gd name="T14" fmla="*/ 141 w 295"/>
                <a:gd name="T15" fmla="*/ 124 h 219"/>
                <a:gd name="T16" fmla="*/ 255 w 295"/>
                <a:gd name="T17" fmla="*/ 180 h 219"/>
                <a:gd name="T18" fmla="*/ 293 w 295"/>
                <a:gd name="T19" fmla="*/ 209 h 219"/>
                <a:gd name="T20" fmla="*/ 293 w 295"/>
                <a:gd name="T21" fmla="*/ 217 h 219"/>
                <a:gd name="T22" fmla="*/ 174 w 295"/>
                <a:gd name="T23" fmla="*/ 217 h 219"/>
                <a:gd name="T24" fmla="*/ 124 w 295"/>
                <a:gd name="T25" fmla="*/ 191 h 219"/>
                <a:gd name="T26" fmla="*/ 97 w 295"/>
                <a:gd name="T27" fmla="*/ 146 h 219"/>
                <a:gd name="T28" fmla="*/ 57 w 295"/>
                <a:gd name="T29" fmla="*/ 114 h 219"/>
                <a:gd name="T30" fmla="*/ 36 w 295"/>
                <a:gd name="T31" fmla="*/ 107 h 219"/>
                <a:gd name="T32" fmla="*/ 36 w 295"/>
                <a:gd name="T33" fmla="*/ 107 h 219"/>
                <a:gd name="T34" fmla="*/ 26 w 295"/>
                <a:gd name="T35" fmla="*/ 206 h 219"/>
                <a:gd name="T36" fmla="*/ 25 w 295"/>
                <a:gd name="T37"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5" h="219">
                  <a:moveTo>
                    <a:pt x="25" y="211"/>
                  </a:moveTo>
                  <a:cubicBezTo>
                    <a:pt x="11" y="211"/>
                    <a:pt x="11" y="211"/>
                    <a:pt x="11" y="211"/>
                  </a:cubicBezTo>
                  <a:cubicBezTo>
                    <a:pt x="11" y="211"/>
                    <a:pt x="15" y="158"/>
                    <a:pt x="13" y="135"/>
                  </a:cubicBezTo>
                  <a:cubicBezTo>
                    <a:pt x="13" y="115"/>
                    <a:pt x="4" y="85"/>
                    <a:pt x="4" y="85"/>
                  </a:cubicBezTo>
                  <a:cubicBezTo>
                    <a:pt x="0" y="55"/>
                    <a:pt x="10" y="24"/>
                    <a:pt x="31" y="3"/>
                  </a:cubicBezTo>
                  <a:cubicBezTo>
                    <a:pt x="31" y="3"/>
                    <a:pt x="31" y="3"/>
                    <a:pt x="31" y="3"/>
                  </a:cubicBezTo>
                  <a:cubicBezTo>
                    <a:pt x="35" y="0"/>
                    <a:pt x="40" y="0"/>
                    <a:pt x="43" y="4"/>
                  </a:cubicBezTo>
                  <a:cubicBezTo>
                    <a:pt x="141" y="124"/>
                    <a:pt x="141" y="124"/>
                    <a:pt x="141" y="124"/>
                  </a:cubicBezTo>
                  <a:cubicBezTo>
                    <a:pt x="176" y="168"/>
                    <a:pt x="225" y="178"/>
                    <a:pt x="255" y="180"/>
                  </a:cubicBezTo>
                  <a:cubicBezTo>
                    <a:pt x="272" y="181"/>
                    <a:pt x="287" y="192"/>
                    <a:pt x="293" y="209"/>
                  </a:cubicBezTo>
                  <a:cubicBezTo>
                    <a:pt x="294" y="214"/>
                    <a:pt x="295" y="217"/>
                    <a:pt x="293" y="217"/>
                  </a:cubicBezTo>
                  <a:cubicBezTo>
                    <a:pt x="174" y="217"/>
                    <a:pt x="174" y="217"/>
                    <a:pt x="174" y="217"/>
                  </a:cubicBezTo>
                  <a:cubicBezTo>
                    <a:pt x="154" y="219"/>
                    <a:pt x="134" y="209"/>
                    <a:pt x="124" y="191"/>
                  </a:cubicBezTo>
                  <a:cubicBezTo>
                    <a:pt x="97" y="146"/>
                    <a:pt x="97" y="146"/>
                    <a:pt x="97" y="146"/>
                  </a:cubicBezTo>
                  <a:cubicBezTo>
                    <a:pt x="88" y="131"/>
                    <a:pt x="74" y="120"/>
                    <a:pt x="57" y="114"/>
                  </a:cubicBezTo>
                  <a:cubicBezTo>
                    <a:pt x="36" y="107"/>
                    <a:pt x="36" y="107"/>
                    <a:pt x="36" y="107"/>
                  </a:cubicBezTo>
                  <a:cubicBezTo>
                    <a:pt x="36" y="107"/>
                    <a:pt x="36" y="107"/>
                    <a:pt x="36" y="107"/>
                  </a:cubicBezTo>
                  <a:cubicBezTo>
                    <a:pt x="36" y="140"/>
                    <a:pt x="33" y="173"/>
                    <a:pt x="26" y="206"/>
                  </a:cubicBezTo>
                  <a:lnTo>
                    <a:pt x="25" y="2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1" name="Freeform 259">
              <a:extLst>
                <a:ext uri="{FF2B5EF4-FFF2-40B4-BE49-F238E27FC236}">
                  <a16:creationId xmlns:a16="http://schemas.microsoft.com/office/drawing/2014/main" id="{39FFF04C-5DCA-4A6F-B075-D2F917DF91F5}"/>
                </a:ext>
              </a:extLst>
            </p:cNvPr>
            <p:cNvSpPr>
              <a:spLocks/>
            </p:cNvSpPr>
            <p:nvPr/>
          </p:nvSpPr>
          <p:spPr bwMode="auto">
            <a:xfrm>
              <a:off x="4711695" y="3362002"/>
              <a:ext cx="6468" cy="15362"/>
            </a:xfrm>
            <a:custGeom>
              <a:avLst/>
              <a:gdLst>
                <a:gd name="T0" fmla="*/ 22 w 24"/>
                <a:gd name="T1" fmla="*/ 0 h 57"/>
                <a:gd name="T2" fmla="*/ 24 w 24"/>
                <a:gd name="T3" fmla="*/ 57 h 57"/>
                <a:gd name="T4" fmla="*/ 0 w 24"/>
                <a:gd name="T5" fmla="*/ 44 h 57"/>
                <a:gd name="T6" fmla="*/ 22 w 24"/>
                <a:gd name="T7" fmla="*/ 0 h 57"/>
              </a:gdLst>
              <a:ahLst/>
              <a:cxnLst>
                <a:cxn ang="0">
                  <a:pos x="T0" y="T1"/>
                </a:cxn>
                <a:cxn ang="0">
                  <a:pos x="T2" y="T3"/>
                </a:cxn>
                <a:cxn ang="0">
                  <a:pos x="T4" y="T5"/>
                </a:cxn>
                <a:cxn ang="0">
                  <a:pos x="T6" y="T7"/>
                </a:cxn>
              </a:cxnLst>
              <a:rect l="0" t="0" r="r" b="b"/>
              <a:pathLst>
                <a:path w="24" h="57">
                  <a:moveTo>
                    <a:pt x="22" y="0"/>
                  </a:moveTo>
                  <a:lnTo>
                    <a:pt x="24" y="57"/>
                  </a:lnTo>
                  <a:lnTo>
                    <a:pt x="0" y="44"/>
                  </a:lnTo>
                  <a:lnTo>
                    <a:pt x="2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2" name="Freeform 260">
              <a:extLst>
                <a:ext uri="{FF2B5EF4-FFF2-40B4-BE49-F238E27FC236}">
                  <a16:creationId xmlns:a16="http://schemas.microsoft.com/office/drawing/2014/main" id="{A149858B-2237-4ADA-B598-66933F9F6F82}"/>
                </a:ext>
              </a:extLst>
            </p:cNvPr>
            <p:cNvSpPr>
              <a:spLocks/>
            </p:cNvSpPr>
            <p:nvPr/>
          </p:nvSpPr>
          <p:spPr bwMode="auto">
            <a:xfrm>
              <a:off x="4635156" y="3478697"/>
              <a:ext cx="53362" cy="24255"/>
            </a:xfrm>
            <a:custGeom>
              <a:avLst/>
              <a:gdLst>
                <a:gd name="T0" fmla="*/ 259 w 293"/>
                <a:gd name="T1" fmla="*/ 26 h 133"/>
                <a:gd name="T2" fmla="*/ 178 w 293"/>
                <a:gd name="T3" fmla="*/ 2 h 133"/>
                <a:gd name="T4" fmla="*/ 168 w 293"/>
                <a:gd name="T5" fmla="*/ 1 h 133"/>
                <a:gd name="T6" fmla="*/ 59 w 293"/>
                <a:gd name="T7" fmla="*/ 12 h 133"/>
                <a:gd name="T8" fmla="*/ 55 w 293"/>
                <a:gd name="T9" fmla="*/ 7 h 133"/>
                <a:gd name="T10" fmla="*/ 34 w 293"/>
                <a:gd name="T11" fmla="*/ 40 h 133"/>
                <a:gd name="T12" fmla="*/ 0 w 293"/>
                <a:gd name="T13" fmla="*/ 67 h 133"/>
                <a:gd name="T14" fmla="*/ 18 w 293"/>
                <a:gd name="T15" fmla="*/ 88 h 133"/>
                <a:gd name="T16" fmla="*/ 114 w 293"/>
                <a:gd name="T17" fmla="*/ 96 h 133"/>
                <a:gd name="T18" fmla="*/ 138 w 293"/>
                <a:gd name="T19" fmla="*/ 78 h 133"/>
                <a:gd name="T20" fmla="*/ 169 w 293"/>
                <a:gd name="T21" fmla="*/ 91 h 133"/>
                <a:gd name="T22" fmla="*/ 180 w 293"/>
                <a:gd name="T23" fmla="*/ 118 h 133"/>
                <a:gd name="T24" fmla="*/ 203 w 293"/>
                <a:gd name="T25" fmla="*/ 132 h 133"/>
                <a:gd name="T26" fmla="*/ 211 w 293"/>
                <a:gd name="T27" fmla="*/ 131 h 133"/>
                <a:gd name="T28" fmla="*/ 198 w 293"/>
                <a:gd name="T29" fmla="*/ 77 h 133"/>
                <a:gd name="T30" fmla="*/ 169 w 293"/>
                <a:gd name="T31" fmla="*/ 62 h 133"/>
                <a:gd name="T32" fmla="*/ 209 w 293"/>
                <a:gd name="T33" fmla="*/ 69 h 133"/>
                <a:gd name="T34" fmla="*/ 227 w 293"/>
                <a:gd name="T35" fmla="*/ 98 h 133"/>
                <a:gd name="T36" fmla="*/ 256 w 293"/>
                <a:gd name="T37" fmla="*/ 107 h 133"/>
                <a:gd name="T38" fmla="*/ 265 w 293"/>
                <a:gd name="T39" fmla="*/ 104 h 133"/>
                <a:gd name="T40" fmla="*/ 249 w 293"/>
                <a:gd name="T41" fmla="*/ 69 h 133"/>
                <a:gd name="T42" fmla="*/ 255 w 293"/>
                <a:gd name="T43" fmla="*/ 77 h 133"/>
                <a:gd name="T44" fmla="*/ 286 w 293"/>
                <a:gd name="T45" fmla="*/ 84 h 133"/>
                <a:gd name="T46" fmla="*/ 293 w 293"/>
                <a:gd name="T47" fmla="*/ 80 h 133"/>
                <a:gd name="T48" fmla="*/ 259 w 293"/>
                <a:gd name="T49" fmla="*/ 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3" h="133">
                  <a:moveTo>
                    <a:pt x="259" y="26"/>
                  </a:moveTo>
                  <a:cubicBezTo>
                    <a:pt x="178" y="2"/>
                    <a:pt x="178" y="2"/>
                    <a:pt x="178" y="2"/>
                  </a:cubicBezTo>
                  <a:cubicBezTo>
                    <a:pt x="175" y="1"/>
                    <a:pt x="171" y="0"/>
                    <a:pt x="168" y="1"/>
                  </a:cubicBezTo>
                  <a:cubicBezTo>
                    <a:pt x="168" y="1"/>
                    <a:pt x="78" y="13"/>
                    <a:pt x="59" y="12"/>
                  </a:cubicBezTo>
                  <a:cubicBezTo>
                    <a:pt x="55" y="7"/>
                    <a:pt x="55" y="7"/>
                    <a:pt x="55" y="7"/>
                  </a:cubicBezTo>
                  <a:cubicBezTo>
                    <a:pt x="55" y="7"/>
                    <a:pt x="43" y="33"/>
                    <a:pt x="34" y="40"/>
                  </a:cubicBezTo>
                  <a:cubicBezTo>
                    <a:pt x="20" y="53"/>
                    <a:pt x="0" y="67"/>
                    <a:pt x="0" y="67"/>
                  </a:cubicBezTo>
                  <a:cubicBezTo>
                    <a:pt x="18" y="88"/>
                    <a:pt x="18" y="88"/>
                    <a:pt x="18" y="88"/>
                  </a:cubicBezTo>
                  <a:cubicBezTo>
                    <a:pt x="44" y="114"/>
                    <a:pt x="85" y="118"/>
                    <a:pt x="114" y="96"/>
                  </a:cubicBezTo>
                  <a:cubicBezTo>
                    <a:pt x="138" y="78"/>
                    <a:pt x="138" y="78"/>
                    <a:pt x="138" y="78"/>
                  </a:cubicBezTo>
                  <a:cubicBezTo>
                    <a:pt x="169" y="91"/>
                    <a:pt x="169" y="91"/>
                    <a:pt x="169" y="91"/>
                  </a:cubicBezTo>
                  <a:cubicBezTo>
                    <a:pt x="180" y="118"/>
                    <a:pt x="180" y="118"/>
                    <a:pt x="180" y="118"/>
                  </a:cubicBezTo>
                  <a:cubicBezTo>
                    <a:pt x="184" y="127"/>
                    <a:pt x="193" y="133"/>
                    <a:pt x="203" y="132"/>
                  </a:cubicBezTo>
                  <a:cubicBezTo>
                    <a:pt x="211" y="131"/>
                    <a:pt x="211" y="131"/>
                    <a:pt x="211" y="131"/>
                  </a:cubicBezTo>
                  <a:cubicBezTo>
                    <a:pt x="198" y="77"/>
                    <a:pt x="198" y="77"/>
                    <a:pt x="198" y="77"/>
                  </a:cubicBezTo>
                  <a:cubicBezTo>
                    <a:pt x="169" y="62"/>
                    <a:pt x="169" y="62"/>
                    <a:pt x="169" y="62"/>
                  </a:cubicBezTo>
                  <a:cubicBezTo>
                    <a:pt x="209" y="69"/>
                    <a:pt x="209" y="69"/>
                    <a:pt x="209" y="69"/>
                  </a:cubicBezTo>
                  <a:cubicBezTo>
                    <a:pt x="227" y="98"/>
                    <a:pt x="227" y="98"/>
                    <a:pt x="227" y="98"/>
                  </a:cubicBezTo>
                  <a:cubicBezTo>
                    <a:pt x="234" y="107"/>
                    <a:pt x="246" y="111"/>
                    <a:pt x="256" y="107"/>
                  </a:cubicBezTo>
                  <a:cubicBezTo>
                    <a:pt x="265" y="104"/>
                    <a:pt x="265" y="104"/>
                    <a:pt x="265" y="104"/>
                  </a:cubicBezTo>
                  <a:cubicBezTo>
                    <a:pt x="249" y="69"/>
                    <a:pt x="249" y="69"/>
                    <a:pt x="249" y="69"/>
                  </a:cubicBezTo>
                  <a:cubicBezTo>
                    <a:pt x="255" y="77"/>
                    <a:pt x="255" y="77"/>
                    <a:pt x="255" y="77"/>
                  </a:cubicBezTo>
                  <a:cubicBezTo>
                    <a:pt x="263" y="86"/>
                    <a:pt x="275" y="88"/>
                    <a:pt x="286" y="84"/>
                  </a:cubicBezTo>
                  <a:cubicBezTo>
                    <a:pt x="293" y="80"/>
                    <a:pt x="293" y="80"/>
                    <a:pt x="293" y="80"/>
                  </a:cubicBezTo>
                  <a:lnTo>
                    <a:pt x="259" y="26"/>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3" name="Freeform 261">
              <a:extLst>
                <a:ext uri="{FF2B5EF4-FFF2-40B4-BE49-F238E27FC236}">
                  <a16:creationId xmlns:a16="http://schemas.microsoft.com/office/drawing/2014/main" id="{60110AE6-07A3-4448-BED1-AA3625E660C2}"/>
                </a:ext>
              </a:extLst>
            </p:cNvPr>
            <p:cNvSpPr>
              <a:spLocks noEditPoints="1"/>
            </p:cNvSpPr>
            <p:nvPr/>
          </p:nvSpPr>
          <p:spPr bwMode="auto">
            <a:xfrm>
              <a:off x="4654560" y="3267405"/>
              <a:ext cx="69532" cy="116157"/>
            </a:xfrm>
            <a:custGeom>
              <a:avLst/>
              <a:gdLst>
                <a:gd name="T0" fmla="*/ 176 w 383"/>
                <a:gd name="T1" fmla="*/ 8 h 641"/>
                <a:gd name="T2" fmla="*/ 2 w 383"/>
                <a:gd name="T3" fmla="*/ 206 h 641"/>
                <a:gd name="T4" fmla="*/ 34 w 383"/>
                <a:gd name="T5" fmla="*/ 419 h 641"/>
                <a:gd name="T6" fmla="*/ 31 w 383"/>
                <a:gd name="T7" fmla="*/ 423 h 641"/>
                <a:gd name="T8" fmla="*/ 2 w 383"/>
                <a:gd name="T9" fmla="*/ 641 h 641"/>
                <a:gd name="T10" fmla="*/ 146 w 383"/>
                <a:gd name="T11" fmla="*/ 466 h 641"/>
                <a:gd name="T12" fmla="*/ 147 w 383"/>
                <a:gd name="T13" fmla="*/ 465 h 641"/>
                <a:gd name="T14" fmla="*/ 147 w 383"/>
                <a:gd name="T15" fmla="*/ 465 h 641"/>
                <a:gd name="T16" fmla="*/ 147 w 383"/>
                <a:gd name="T17" fmla="*/ 449 h 641"/>
                <a:gd name="T18" fmla="*/ 147 w 383"/>
                <a:gd name="T19" fmla="*/ 449 h 641"/>
                <a:gd name="T20" fmla="*/ 102 w 383"/>
                <a:gd name="T21" fmla="*/ 312 h 641"/>
                <a:gd name="T22" fmla="*/ 140 w 383"/>
                <a:gd name="T23" fmla="*/ 115 h 641"/>
                <a:gd name="T24" fmla="*/ 298 w 383"/>
                <a:gd name="T25" fmla="*/ 91 h 641"/>
                <a:gd name="T26" fmla="*/ 383 w 383"/>
                <a:gd name="T27" fmla="*/ 144 h 641"/>
                <a:gd name="T28" fmla="*/ 176 w 383"/>
                <a:gd name="T29" fmla="*/ 8 h 641"/>
                <a:gd name="T30" fmla="*/ 63 w 383"/>
                <a:gd name="T31" fmla="*/ 312 h 641"/>
                <a:gd name="T32" fmla="*/ 69 w 383"/>
                <a:gd name="T33" fmla="*/ 218 h 641"/>
                <a:gd name="T34" fmla="*/ 63 w 383"/>
                <a:gd name="T35" fmla="*/ 312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3" h="641">
                  <a:moveTo>
                    <a:pt x="176" y="8"/>
                  </a:moveTo>
                  <a:cubicBezTo>
                    <a:pt x="62" y="17"/>
                    <a:pt x="5" y="103"/>
                    <a:pt x="2" y="206"/>
                  </a:cubicBezTo>
                  <a:cubicBezTo>
                    <a:pt x="0" y="270"/>
                    <a:pt x="19" y="361"/>
                    <a:pt x="34" y="419"/>
                  </a:cubicBezTo>
                  <a:cubicBezTo>
                    <a:pt x="33" y="420"/>
                    <a:pt x="32" y="422"/>
                    <a:pt x="31" y="423"/>
                  </a:cubicBezTo>
                  <a:cubicBezTo>
                    <a:pt x="13" y="453"/>
                    <a:pt x="59" y="572"/>
                    <a:pt x="2" y="641"/>
                  </a:cubicBezTo>
                  <a:cubicBezTo>
                    <a:pt x="106" y="601"/>
                    <a:pt x="142" y="539"/>
                    <a:pt x="146" y="466"/>
                  </a:cubicBezTo>
                  <a:cubicBezTo>
                    <a:pt x="146" y="466"/>
                    <a:pt x="147" y="466"/>
                    <a:pt x="147" y="465"/>
                  </a:cubicBezTo>
                  <a:cubicBezTo>
                    <a:pt x="147" y="465"/>
                    <a:pt x="147" y="465"/>
                    <a:pt x="147" y="465"/>
                  </a:cubicBezTo>
                  <a:cubicBezTo>
                    <a:pt x="147" y="460"/>
                    <a:pt x="147" y="455"/>
                    <a:pt x="147" y="449"/>
                  </a:cubicBezTo>
                  <a:cubicBezTo>
                    <a:pt x="147" y="449"/>
                    <a:pt x="147" y="449"/>
                    <a:pt x="147" y="449"/>
                  </a:cubicBezTo>
                  <a:cubicBezTo>
                    <a:pt x="146" y="404"/>
                    <a:pt x="127" y="352"/>
                    <a:pt x="102" y="312"/>
                  </a:cubicBezTo>
                  <a:cubicBezTo>
                    <a:pt x="153" y="241"/>
                    <a:pt x="123" y="183"/>
                    <a:pt x="140" y="115"/>
                  </a:cubicBezTo>
                  <a:cubicBezTo>
                    <a:pt x="158" y="43"/>
                    <a:pt x="259" y="47"/>
                    <a:pt x="298" y="91"/>
                  </a:cubicBezTo>
                  <a:cubicBezTo>
                    <a:pt x="328" y="125"/>
                    <a:pt x="339" y="133"/>
                    <a:pt x="383" y="144"/>
                  </a:cubicBezTo>
                  <a:cubicBezTo>
                    <a:pt x="356" y="39"/>
                    <a:pt x="290" y="0"/>
                    <a:pt x="176" y="8"/>
                  </a:cubicBezTo>
                  <a:close/>
                  <a:moveTo>
                    <a:pt x="63" y="312"/>
                  </a:moveTo>
                  <a:cubicBezTo>
                    <a:pt x="12" y="291"/>
                    <a:pt x="27" y="214"/>
                    <a:pt x="69" y="218"/>
                  </a:cubicBezTo>
                  <a:cubicBezTo>
                    <a:pt x="78" y="259"/>
                    <a:pt x="63" y="312"/>
                    <a:pt x="63" y="312"/>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4" name="Freeform 262">
              <a:extLst>
                <a:ext uri="{FF2B5EF4-FFF2-40B4-BE49-F238E27FC236}">
                  <a16:creationId xmlns:a16="http://schemas.microsoft.com/office/drawing/2014/main" id="{FDFB9AB1-FAFD-4BF5-AC1B-7919D73C3EA7}"/>
                </a:ext>
              </a:extLst>
            </p:cNvPr>
            <p:cNvSpPr>
              <a:spLocks/>
            </p:cNvSpPr>
            <p:nvPr/>
          </p:nvSpPr>
          <p:spPr bwMode="auto">
            <a:xfrm>
              <a:off x="4700915" y="3376285"/>
              <a:ext cx="16979" cy="81930"/>
            </a:xfrm>
            <a:custGeom>
              <a:avLst/>
              <a:gdLst>
                <a:gd name="T0" fmla="*/ 92 w 93"/>
                <a:gd name="T1" fmla="*/ 243 h 451"/>
                <a:gd name="T2" fmla="*/ 54 w 93"/>
                <a:gd name="T3" fmla="*/ 0 h 451"/>
                <a:gd name="T4" fmla="*/ 45 w 93"/>
                <a:gd name="T5" fmla="*/ 23 h 451"/>
                <a:gd name="T6" fmla="*/ 70 w 93"/>
                <a:gd name="T7" fmla="*/ 132 h 451"/>
                <a:gd name="T8" fmla="*/ 69 w 93"/>
                <a:gd name="T9" fmla="*/ 220 h 451"/>
                <a:gd name="T10" fmla="*/ 67 w 93"/>
                <a:gd name="T11" fmla="*/ 228 h 451"/>
                <a:gd name="T12" fmla="*/ 0 w 93"/>
                <a:gd name="T13" fmla="*/ 328 h 451"/>
                <a:gd name="T14" fmla="*/ 3 w 93"/>
                <a:gd name="T15" fmla="*/ 451 h 451"/>
                <a:gd name="T16" fmla="*/ 92 w 93"/>
                <a:gd name="T17" fmla="*/ 243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451">
                  <a:moveTo>
                    <a:pt x="92" y="243"/>
                  </a:moveTo>
                  <a:cubicBezTo>
                    <a:pt x="93" y="131"/>
                    <a:pt x="54" y="0"/>
                    <a:pt x="54" y="0"/>
                  </a:cubicBezTo>
                  <a:cubicBezTo>
                    <a:pt x="45" y="23"/>
                    <a:pt x="45" y="23"/>
                    <a:pt x="45" y="23"/>
                  </a:cubicBezTo>
                  <a:cubicBezTo>
                    <a:pt x="70" y="132"/>
                    <a:pt x="70" y="132"/>
                    <a:pt x="70" y="132"/>
                  </a:cubicBezTo>
                  <a:cubicBezTo>
                    <a:pt x="77" y="161"/>
                    <a:pt x="77" y="191"/>
                    <a:pt x="69" y="220"/>
                  </a:cubicBezTo>
                  <a:cubicBezTo>
                    <a:pt x="67" y="228"/>
                    <a:pt x="67" y="228"/>
                    <a:pt x="67" y="228"/>
                  </a:cubicBezTo>
                  <a:cubicBezTo>
                    <a:pt x="57" y="268"/>
                    <a:pt x="33" y="303"/>
                    <a:pt x="0" y="328"/>
                  </a:cubicBezTo>
                  <a:cubicBezTo>
                    <a:pt x="6" y="395"/>
                    <a:pt x="3" y="451"/>
                    <a:pt x="3" y="451"/>
                  </a:cubicBezTo>
                  <a:cubicBezTo>
                    <a:pt x="3" y="451"/>
                    <a:pt x="91" y="355"/>
                    <a:pt x="92" y="24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5" name="Oval 229">
              <a:extLst>
                <a:ext uri="{FF2B5EF4-FFF2-40B4-BE49-F238E27FC236}">
                  <a16:creationId xmlns:a16="http://schemas.microsoft.com/office/drawing/2014/main" id="{25ABBFDC-82AE-43E4-8958-42F1608DB824}"/>
                </a:ext>
              </a:extLst>
            </p:cNvPr>
            <p:cNvSpPr>
              <a:spLocks noChangeArrowheads="1"/>
            </p:cNvSpPr>
            <p:nvPr/>
          </p:nvSpPr>
          <p:spPr bwMode="auto">
            <a:xfrm>
              <a:off x="4465637" y="2582862"/>
              <a:ext cx="457889" cy="457081"/>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grpSp>
    </p:spTree>
    <p:extLst>
      <p:ext uri="{BB962C8B-B14F-4D97-AF65-F5344CB8AC3E}">
        <p14:creationId xmlns:p14="http://schemas.microsoft.com/office/powerpoint/2010/main" val="236432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Overall approach</a:t>
            </a:r>
          </a:p>
        </p:txBody>
      </p:sp>
    </p:spTree>
    <p:extLst>
      <p:ext uri="{BB962C8B-B14F-4D97-AF65-F5344CB8AC3E}">
        <p14:creationId xmlns:p14="http://schemas.microsoft.com/office/powerpoint/2010/main" val="306625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94ACD02-028B-453E-8FE8-48A889329D64}"/>
              </a:ext>
              <a:ext uri="{C183D7F6-B498-43B3-948B-1728B52AA6E4}">
                <adec:decorative xmlns:adec="http://schemas.microsoft.com/office/drawing/2017/decorative" val="1"/>
              </a:ext>
            </a:extLst>
          </p:cNvPr>
          <p:cNvSpPr/>
          <p:nvPr/>
        </p:nvSpPr>
        <p:spPr>
          <a:xfrm>
            <a:off x="490207" y="1399519"/>
            <a:ext cx="11456059" cy="49118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endParaRPr lang="en-US" sz="1800" dirty="0" err="1">
              <a:solidFill>
                <a:schemeClr val="bg1"/>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5E859B09-EFC0-4767-9611-2302C69757B0}"/>
              </a:ext>
            </a:extLst>
          </p:cNvPr>
          <p:cNvSpPr>
            <a:spLocks noGrp="1"/>
          </p:cNvSpPr>
          <p:nvPr>
            <p:ph type="title"/>
          </p:nvPr>
        </p:nvSpPr>
        <p:spPr>
          <a:xfrm>
            <a:off x="275482" y="295275"/>
            <a:ext cx="10785565" cy="917575"/>
          </a:xfrm>
        </p:spPr>
        <p:txBody>
          <a:bodyPr lIns="182880"/>
          <a:lstStyle/>
          <a:p>
            <a:r>
              <a:rPr lang="en-US" dirty="0">
                <a:solidFill>
                  <a:srgbClr val="002060"/>
                </a:solidFill>
              </a:rPr>
              <a:t>Objective domains</a:t>
            </a:r>
          </a:p>
        </p:txBody>
      </p:sp>
      <p:pic>
        <p:nvPicPr>
          <p:cNvPr id="13" name="Graphic 12">
            <a:extLst>
              <a:ext uri="{FF2B5EF4-FFF2-40B4-BE49-F238E27FC236}">
                <a16:creationId xmlns:a16="http://schemas.microsoft.com/office/drawing/2014/main" id="{E6BE8F42-0482-4D1C-914D-A98AE3F07A3A}"/>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662371" y="1607107"/>
            <a:ext cx="853662" cy="853662"/>
          </a:xfrm>
          <a:prstGeom prst="rect">
            <a:avLst/>
          </a:prstGeom>
        </p:spPr>
      </p:pic>
      <p:sp>
        <p:nvSpPr>
          <p:cNvPr id="14" name="Text Placeholder 9">
            <a:extLst>
              <a:ext uri="{FF2B5EF4-FFF2-40B4-BE49-F238E27FC236}">
                <a16:creationId xmlns:a16="http://schemas.microsoft.com/office/drawing/2014/main" id="{0F3DD8D9-9B38-46D5-8DC0-612985A8B567}"/>
              </a:ext>
            </a:extLst>
          </p:cNvPr>
          <p:cNvSpPr txBox="1">
            <a:spLocks/>
          </p:cNvSpPr>
          <p:nvPr/>
        </p:nvSpPr>
        <p:spPr>
          <a:xfrm>
            <a:off x="1236894" y="2551194"/>
            <a:ext cx="180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dirty="0"/>
              <a:t>Module 1</a:t>
            </a:r>
          </a:p>
        </p:txBody>
      </p:sp>
      <p:sp>
        <p:nvSpPr>
          <p:cNvPr id="15" name="Text Placeholder 10">
            <a:extLst>
              <a:ext uri="{FF2B5EF4-FFF2-40B4-BE49-F238E27FC236}">
                <a16:creationId xmlns:a16="http://schemas.microsoft.com/office/drawing/2014/main" id="{8E4D4C8B-35EF-4920-A99E-FDB3C9170B5D}"/>
              </a:ext>
            </a:extLst>
          </p:cNvPr>
          <p:cNvSpPr txBox="1">
            <a:spLocks/>
          </p:cNvSpPr>
          <p:nvPr/>
        </p:nvSpPr>
        <p:spPr>
          <a:xfrm>
            <a:off x="1047340" y="2946801"/>
            <a:ext cx="2179108" cy="458362"/>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sz="1600" i="1" dirty="0">
                <a:solidFill>
                  <a:schemeClr val="bg1">
                    <a:lumMod val="50000"/>
                  </a:schemeClr>
                </a:solidFill>
              </a:rPr>
              <a:t>Cloud concepts</a:t>
            </a:r>
          </a:p>
        </p:txBody>
      </p:sp>
      <p:pic>
        <p:nvPicPr>
          <p:cNvPr id="17" name="Graphic 16">
            <a:extLst>
              <a:ext uri="{FF2B5EF4-FFF2-40B4-BE49-F238E27FC236}">
                <a16:creationId xmlns:a16="http://schemas.microsoft.com/office/drawing/2014/main" id="{DD44ADAF-ACD3-4AB5-9966-0AC6F7BE572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233864" y="1700367"/>
            <a:ext cx="749533" cy="749533"/>
          </a:xfrm>
          <a:prstGeom prst="rect">
            <a:avLst/>
          </a:prstGeom>
        </p:spPr>
      </p:pic>
      <p:sp>
        <p:nvSpPr>
          <p:cNvPr id="18" name="Text Placeholder 3">
            <a:extLst>
              <a:ext uri="{FF2B5EF4-FFF2-40B4-BE49-F238E27FC236}">
                <a16:creationId xmlns:a16="http://schemas.microsoft.com/office/drawing/2014/main" id="{C8246869-8252-4D1E-997D-3D7405C7CBDC}"/>
              </a:ext>
            </a:extLst>
          </p:cNvPr>
          <p:cNvSpPr txBox="1">
            <a:spLocks/>
          </p:cNvSpPr>
          <p:nvPr/>
        </p:nvSpPr>
        <p:spPr>
          <a:xfrm>
            <a:off x="4708630" y="2529329"/>
            <a:ext cx="180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dirty="0"/>
              <a:t>Module 2</a:t>
            </a:r>
          </a:p>
        </p:txBody>
      </p:sp>
      <p:sp>
        <p:nvSpPr>
          <p:cNvPr id="19" name="Text Placeholder 12">
            <a:extLst>
              <a:ext uri="{FF2B5EF4-FFF2-40B4-BE49-F238E27FC236}">
                <a16:creationId xmlns:a16="http://schemas.microsoft.com/office/drawing/2014/main" id="{AE570622-B916-4944-B59C-48996710ED52}"/>
              </a:ext>
            </a:extLst>
          </p:cNvPr>
          <p:cNvSpPr txBox="1">
            <a:spLocks/>
          </p:cNvSpPr>
          <p:nvPr/>
        </p:nvSpPr>
        <p:spPr>
          <a:xfrm>
            <a:off x="4575795" y="2875258"/>
            <a:ext cx="2068473" cy="72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sz="1600" i="1" dirty="0">
                <a:solidFill>
                  <a:schemeClr val="bg1">
                    <a:lumMod val="50000"/>
                  </a:schemeClr>
                </a:solidFill>
              </a:rPr>
              <a:t>Core Azure services</a:t>
            </a:r>
          </a:p>
        </p:txBody>
      </p:sp>
      <p:pic>
        <p:nvPicPr>
          <p:cNvPr id="21" name="Graphic 20">
            <a:extLst>
              <a:ext uri="{FF2B5EF4-FFF2-40B4-BE49-F238E27FC236}">
                <a16:creationId xmlns:a16="http://schemas.microsoft.com/office/drawing/2014/main" id="{FC1BD495-9865-4C1C-9678-4B6B2E7F8C9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691058" y="3680985"/>
            <a:ext cx="608995" cy="749533"/>
          </a:xfrm>
          <a:prstGeom prst="rect">
            <a:avLst/>
          </a:prstGeom>
        </p:spPr>
      </p:pic>
      <p:sp>
        <p:nvSpPr>
          <p:cNvPr id="22" name="Text Placeholder 5">
            <a:extLst>
              <a:ext uri="{FF2B5EF4-FFF2-40B4-BE49-F238E27FC236}">
                <a16:creationId xmlns:a16="http://schemas.microsoft.com/office/drawing/2014/main" id="{9BCD3981-9FF8-4843-89F5-B39CAE3DF02C}"/>
              </a:ext>
            </a:extLst>
          </p:cNvPr>
          <p:cNvSpPr txBox="1">
            <a:spLocks/>
          </p:cNvSpPr>
          <p:nvPr/>
        </p:nvSpPr>
        <p:spPr>
          <a:xfrm>
            <a:off x="8095151" y="2544874"/>
            <a:ext cx="180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dirty="0"/>
              <a:t>Module 3</a:t>
            </a:r>
          </a:p>
        </p:txBody>
      </p:sp>
      <p:sp>
        <p:nvSpPr>
          <p:cNvPr id="23" name="Text Placeholder 6">
            <a:extLst>
              <a:ext uri="{FF2B5EF4-FFF2-40B4-BE49-F238E27FC236}">
                <a16:creationId xmlns:a16="http://schemas.microsoft.com/office/drawing/2014/main" id="{766DA298-DF12-4CB2-BF60-7729F065A22B}"/>
              </a:ext>
            </a:extLst>
          </p:cNvPr>
          <p:cNvSpPr txBox="1">
            <a:spLocks/>
          </p:cNvSpPr>
          <p:nvPr/>
        </p:nvSpPr>
        <p:spPr>
          <a:xfrm>
            <a:off x="7901794" y="2875258"/>
            <a:ext cx="2185973" cy="72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sz="1600" i="1" dirty="0">
                <a:solidFill>
                  <a:schemeClr val="bg1">
                    <a:lumMod val="50000"/>
                  </a:schemeClr>
                </a:solidFill>
              </a:rPr>
              <a:t>Core solutions and management tools</a:t>
            </a:r>
          </a:p>
        </p:txBody>
      </p:sp>
      <p:pic>
        <p:nvPicPr>
          <p:cNvPr id="25" name="Graphic 24">
            <a:extLst>
              <a:ext uri="{FF2B5EF4-FFF2-40B4-BE49-F238E27FC236}">
                <a16:creationId xmlns:a16="http://schemas.microsoft.com/office/drawing/2014/main" id="{01A97C9E-BCEF-430B-9430-08DFEE9E851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614482" y="1730431"/>
            <a:ext cx="749533" cy="749533"/>
          </a:xfrm>
          <a:prstGeom prst="rect">
            <a:avLst/>
          </a:prstGeom>
        </p:spPr>
      </p:pic>
      <p:sp>
        <p:nvSpPr>
          <p:cNvPr id="26" name="Text Placeholder 7">
            <a:extLst>
              <a:ext uri="{FF2B5EF4-FFF2-40B4-BE49-F238E27FC236}">
                <a16:creationId xmlns:a16="http://schemas.microsoft.com/office/drawing/2014/main" id="{6A295905-7DD7-4CC9-93DE-52B0FFDFFC44}"/>
              </a:ext>
            </a:extLst>
          </p:cNvPr>
          <p:cNvSpPr txBox="1">
            <a:spLocks/>
          </p:cNvSpPr>
          <p:nvPr/>
        </p:nvSpPr>
        <p:spPr>
          <a:xfrm>
            <a:off x="1095556" y="4535784"/>
            <a:ext cx="180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dirty="0"/>
              <a:t>Module 4</a:t>
            </a:r>
          </a:p>
        </p:txBody>
      </p:sp>
      <p:sp>
        <p:nvSpPr>
          <p:cNvPr id="27" name="Text Placeholder 8">
            <a:extLst>
              <a:ext uri="{FF2B5EF4-FFF2-40B4-BE49-F238E27FC236}">
                <a16:creationId xmlns:a16="http://schemas.microsoft.com/office/drawing/2014/main" id="{B5613852-CAC9-4D0E-AE7C-01478433EF94}"/>
              </a:ext>
            </a:extLst>
          </p:cNvPr>
          <p:cNvSpPr txBox="1">
            <a:spLocks/>
          </p:cNvSpPr>
          <p:nvPr/>
        </p:nvSpPr>
        <p:spPr>
          <a:xfrm>
            <a:off x="955677" y="4931391"/>
            <a:ext cx="2079758" cy="907884"/>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lnSpc>
                <a:spcPct val="100000"/>
              </a:lnSpc>
              <a:buNone/>
            </a:pPr>
            <a:r>
              <a:rPr lang="en-US" sz="1600" i="1" dirty="0">
                <a:solidFill>
                  <a:schemeClr val="bg1">
                    <a:lumMod val="50000"/>
                  </a:schemeClr>
                </a:solidFill>
              </a:rPr>
              <a:t>General security and network security</a:t>
            </a:r>
          </a:p>
        </p:txBody>
      </p:sp>
      <p:cxnSp>
        <p:nvCxnSpPr>
          <p:cNvPr id="5" name="Straight Connector 4">
            <a:extLst>
              <a:ext uri="{FF2B5EF4-FFF2-40B4-BE49-F238E27FC236}">
                <a16:creationId xmlns:a16="http://schemas.microsoft.com/office/drawing/2014/main" id="{1CAA6854-D765-4D75-B905-F273A9E14A90}"/>
              </a:ext>
              <a:ext uri="{C183D7F6-B498-43B3-948B-1728B52AA6E4}">
                <adec:decorative xmlns:adec="http://schemas.microsoft.com/office/drawing/2017/decorative" val="1"/>
              </a:ext>
            </a:extLst>
          </p:cNvPr>
          <p:cNvCxnSpPr>
            <a:cxnSpLocks/>
          </p:cNvCxnSpPr>
          <p:nvPr/>
        </p:nvCxnSpPr>
        <p:spPr>
          <a:xfrm>
            <a:off x="1028838" y="2521529"/>
            <a:ext cx="207975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BD9BC4E-9B14-409A-BCEE-9801F7F84B1C}"/>
              </a:ext>
              <a:ext uri="{C183D7F6-B498-43B3-948B-1728B52AA6E4}">
                <adec:decorative xmlns:adec="http://schemas.microsoft.com/office/drawing/2017/decorative" val="1"/>
              </a:ext>
            </a:extLst>
          </p:cNvPr>
          <p:cNvCxnSpPr>
            <a:cxnSpLocks/>
          </p:cNvCxnSpPr>
          <p:nvPr/>
        </p:nvCxnSpPr>
        <p:spPr>
          <a:xfrm>
            <a:off x="4557864" y="2508575"/>
            <a:ext cx="2079758" cy="0"/>
          </a:xfrm>
          <a:prstGeom prst="line">
            <a:avLst/>
          </a:prstGeom>
          <a:ln w="19050">
            <a:solidFill>
              <a:srgbClr val="FFCC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9446B52-0066-4186-A746-9B3B82781A1B}"/>
              </a:ext>
              <a:ext uri="{C183D7F6-B498-43B3-948B-1728B52AA6E4}">
                <adec:decorative xmlns:adec="http://schemas.microsoft.com/office/drawing/2017/decorative" val="1"/>
              </a:ext>
            </a:extLst>
          </p:cNvPr>
          <p:cNvCxnSpPr>
            <a:cxnSpLocks/>
          </p:cNvCxnSpPr>
          <p:nvPr/>
        </p:nvCxnSpPr>
        <p:spPr>
          <a:xfrm>
            <a:off x="7959467" y="2542650"/>
            <a:ext cx="2079758"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4CA27AA-B8C3-402F-9650-1E92604D470B}"/>
              </a:ext>
              <a:ext uri="{C183D7F6-B498-43B3-948B-1728B52AA6E4}">
                <adec:decorative xmlns:adec="http://schemas.microsoft.com/office/drawing/2017/decorative" val="1"/>
              </a:ext>
            </a:extLst>
          </p:cNvPr>
          <p:cNvCxnSpPr>
            <a:cxnSpLocks/>
          </p:cNvCxnSpPr>
          <p:nvPr/>
        </p:nvCxnSpPr>
        <p:spPr>
          <a:xfrm>
            <a:off x="955677" y="4474318"/>
            <a:ext cx="2079758"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C83CACA-332A-4783-A6E4-682E84147701}"/>
              </a:ext>
              <a:ext uri="{C183D7F6-B498-43B3-948B-1728B52AA6E4}">
                <adec:decorative xmlns:adec="http://schemas.microsoft.com/office/drawing/2017/decorative" val="1"/>
              </a:ext>
            </a:extLst>
          </p:cNvPr>
          <p:cNvCxnSpPr>
            <a:cxnSpLocks/>
          </p:cNvCxnSpPr>
          <p:nvPr/>
        </p:nvCxnSpPr>
        <p:spPr>
          <a:xfrm>
            <a:off x="4475500" y="4474318"/>
            <a:ext cx="2079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9">
            <a:extLst>
              <a:ext uri="{FF2B5EF4-FFF2-40B4-BE49-F238E27FC236}">
                <a16:creationId xmlns:a16="http://schemas.microsoft.com/office/drawing/2014/main" id="{40DD8663-45A7-4E2F-875D-6811281C4917}"/>
              </a:ext>
            </a:extLst>
          </p:cNvPr>
          <p:cNvSpPr txBox="1">
            <a:spLocks/>
          </p:cNvSpPr>
          <p:nvPr/>
        </p:nvSpPr>
        <p:spPr>
          <a:xfrm>
            <a:off x="4615379" y="4532344"/>
            <a:ext cx="180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dirty="0"/>
              <a:t>Module 5</a:t>
            </a:r>
          </a:p>
        </p:txBody>
      </p:sp>
      <p:sp>
        <p:nvSpPr>
          <p:cNvPr id="8" name="Text Placeholder 10">
            <a:extLst>
              <a:ext uri="{FF2B5EF4-FFF2-40B4-BE49-F238E27FC236}">
                <a16:creationId xmlns:a16="http://schemas.microsoft.com/office/drawing/2014/main" id="{E944BF25-DE44-46BE-B8CA-5A049AC7F4DB}"/>
              </a:ext>
            </a:extLst>
          </p:cNvPr>
          <p:cNvSpPr txBox="1">
            <a:spLocks/>
          </p:cNvSpPr>
          <p:nvPr/>
        </p:nvSpPr>
        <p:spPr>
          <a:xfrm>
            <a:off x="4267096" y="4899584"/>
            <a:ext cx="2661293" cy="1264383"/>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lnSpc>
                <a:spcPct val="100000"/>
              </a:lnSpc>
              <a:buNone/>
            </a:pPr>
            <a:r>
              <a:rPr lang="en-US" sz="1600" i="1" dirty="0">
                <a:solidFill>
                  <a:schemeClr val="bg1">
                    <a:lumMod val="50000"/>
                  </a:schemeClr>
                </a:solidFill>
              </a:rPr>
              <a:t>Identity, governance, privacy, and compliance</a:t>
            </a:r>
          </a:p>
        </p:txBody>
      </p:sp>
      <p:cxnSp>
        <p:nvCxnSpPr>
          <p:cNvPr id="11" name="Straight Connector 10">
            <a:extLst>
              <a:ext uri="{FF2B5EF4-FFF2-40B4-BE49-F238E27FC236}">
                <a16:creationId xmlns:a16="http://schemas.microsoft.com/office/drawing/2014/main" id="{B43D67E9-DE5A-4D07-9271-4BFAC7DC3BEF}"/>
              </a:ext>
              <a:ext uri="{C183D7F6-B498-43B3-948B-1728B52AA6E4}">
                <adec:decorative xmlns:adec="http://schemas.microsoft.com/office/drawing/2017/decorative" val="1"/>
              </a:ext>
            </a:extLst>
          </p:cNvPr>
          <p:cNvCxnSpPr>
            <a:cxnSpLocks/>
          </p:cNvCxnSpPr>
          <p:nvPr/>
        </p:nvCxnSpPr>
        <p:spPr>
          <a:xfrm>
            <a:off x="7955271" y="4501094"/>
            <a:ext cx="2079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9">
            <a:extLst>
              <a:ext uri="{FF2B5EF4-FFF2-40B4-BE49-F238E27FC236}">
                <a16:creationId xmlns:a16="http://schemas.microsoft.com/office/drawing/2014/main" id="{BE9C87C8-6840-4162-A79D-4064FF930D7A}"/>
              </a:ext>
            </a:extLst>
          </p:cNvPr>
          <p:cNvSpPr txBox="1">
            <a:spLocks/>
          </p:cNvSpPr>
          <p:nvPr/>
        </p:nvSpPr>
        <p:spPr>
          <a:xfrm>
            <a:off x="8094782" y="4532344"/>
            <a:ext cx="180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dirty="0"/>
              <a:t>Module 6</a:t>
            </a:r>
          </a:p>
        </p:txBody>
      </p:sp>
      <p:sp>
        <p:nvSpPr>
          <p:cNvPr id="16" name="Text Placeholder 10">
            <a:extLst>
              <a:ext uri="{FF2B5EF4-FFF2-40B4-BE49-F238E27FC236}">
                <a16:creationId xmlns:a16="http://schemas.microsoft.com/office/drawing/2014/main" id="{28E18764-3427-469D-85AA-640EF20BD662}"/>
              </a:ext>
            </a:extLst>
          </p:cNvPr>
          <p:cNvSpPr txBox="1">
            <a:spLocks/>
          </p:cNvSpPr>
          <p:nvPr/>
        </p:nvSpPr>
        <p:spPr>
          <a:xfrm>
            <a:off x="7664135" y="4883504"/>
            <a:ext cx="2661293" cy="1264383"/>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lnSpc>
                <a:spcPct val="100000"/>
              </a:lnSpc>
              <a:buNone/>
            </a:pPr>
            <a:r>
              <a:rPr lang="en-US" sz="1600" i="1" dirty="0">
                <a:solidFill>
                  <a:schemeClr val="bg1">
                    <a:lumMod val="50000"/>
                  </a:schemeClr>
                </a:solidFill>
              </a:rPr>
              <a:t>Azure cost management and Service Level Agreements</a:t>
            </a:r>
          </a:p>
        </p:txBody>
      </p:sp>
      <p:pic>
        <p:nvPicPr>
          <p:cNvPr id="4" name="Graphic 3">
            <a:extLst>
              <a:ext uri="{FF2B5EF4-FFF2-40B4-BE49-F238E27FC236}">
                <a16:creationId xmlns:a16="http://schemas.microsoft.com/office/drawing/2014/main" id="{61356619-11A4-4BC3-AA08-D6696EC5F9B5}"/>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271638" y="3744483"/>
            <a:ext cx="672586" cy="672586"/>
          </a:xfrm>
          <a:prstGeom prst="rect">
            <a:avLst/>
          </a:prstGeom>
        </p:spPr>
      </p:pic>
      <p:pic>
        <p:nvPicPr>
          <p:cNvPr id="10" name="Graphic 9">
            <a:extLst>
              <a:ext uri="{FF2B5EF4-FFF2-40B4-BE49-F238E27FC236}">
                <a16:creationId xmlns:a16="http://schemas.microsoft.com/office/drawing/2014/main" id="{3A461656-CF8F-413E-862C-63E8CE09BE48}"/>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614482" y="3610145"/>
            <a:ext cx="816879" cy="816879"/>
          </a:xfrm>
          <a:prstGeom prst="rect">
            <a:avLst/>
          </a:prstGeom>
        </p:spPr>
      </p:pic>
      <p:sp>
        <p:nvSpPr>
          <p:cNvPr id="41" name="Straight Connector 40">
            <a:extLst>
              <a:ext uri="{FF2B5EF4-FFF2-40B4-BE49-F238E27FC236}">
                <a16:creationId xmlns:a16="http://schemas.microsoft.com/office/drawing/2014/main" id="{0B45B8F5-5674-4C45-84B5-D56D3FEA3728}"/>
              </a:ext>
              <a:ext uri="{C183D7F6-B498-43B3-948B-1728B52AA6E4}">
                <adec:decorative xmlns:adec="http://schemas.microsoft.com/office/drawing/2017/decorative" val="1"/>
              </a:ext>
            </a:extLst>
          </p:cNvPr>
          <p:cNvSpPr/>
          <p:nvPr/>
        </p:nvSpPr>
        <p:spPr>
          <a:xfrm>
            <a:off x="9363834" y="4680000"/>
            <a:ext cx="0" cy="0"/>
          </a:xfrm>
          <a:prstGeom prst="line">
            <a:avLst/>
          </a:prstGeom>
          <a:solidFill>
            <a:srgbClr val="E71224">
              <a:alpha val="5000"/>
            </a:srgbClr>
          </a:solidFill>
          <a:ln w="18000">
            <a:solidFill>
              <a:srgbClr val="E71224"/>
            </a:solidFill>
          </a:ln>
        </p:spPr>
        <p:style>
          <a:lnRef idx="1">
            <a:schemeClr val="accent1"/>
          </a:lnRef>
          <a:fillRef idx="0">
            <a:schemeClr val="accent1"/>
          </a:fillRef>
          <a:effectRef idx="0">
            <a:schemeClr val="accent1"/>
          </a:effectRef>
          <a:fontRef idx="minor">
            <a:schemeClr val="tx1"/>
          </a:fontRef>
        </p:style>
        <p:txBody>
          <a:bodyPr vert="horz" wrap="square" lIns="146304" tIns="91440" rIns="0" bIns="0" rtlCol="0" anchor="ctr" anchorCtr="1">
            <a:noAutofit/>
          </a:bodyPr>
          <a:lstStyle/>
          <a:p>
            <a:pPr algn="l">
              <a:defRPr sz="2000" dirty="0">
                <a:solidFill>
                  <a:srgbClr val="505050"/>
                </a:solidFill>
                <a:latin typeface="Segoe UI" panose="020B0502040204020203" pitchFamily="34" charset="0"/>
                <a:cs typeface="Segoe UI" panose="020B0502040204020203" pitchFamily="34" charset="0"/>
              </a:defRPr>
            </a:pPr>
            <a:endParaRPr lang="en-US" sz="2000" dirty="0">
              <a:solidFill>
                <a:srgbClr val="E7122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1240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dirty="0">
                <a:solidFill>
                  <a:srgbClr val="002060"/>
                </a:solidFill>
                <a:cs typeface="Segoe UI"/>
              </a:rPr>
              <a:t>Certification areas (AZ-900)</a:t>
            </a:r>
          </a:p>
        </p:txBody>
      </p:sp>
      <p:pic>
        <p:nvPicPr>
          <p:cNvPr id="7" name="Graphic 6">
            <a:extLst>
              <a:ext uri="{FF2B5EF4-FFF2-40B4-BE49-F238E27FC236}">
                <a16:creationId xmlns:a16="http://schemas.microsoft.com/office/drawing/2014/main" id="{CC5B9A57-0016-46E2-BCF9-7B415FE0753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85249" y="5190601"/>
            <a:ext cx="526317" cy="526317"/>
          </a:xfrm>
          <a:prstGeom prst="rect">
            <a:avLst/>
          </a:prstGeom>
        </p:spPr>
      </p:pic>
      <p:sp>
        <p:nvSpPr>
          <p:cNvPr id="9" name="TextBox 8">
            <a:extLst>
              <a:ext uri="{FF2B5EF4-FFF2-40B4-BE49-F238E27FC236}">
                <a16:creationId xmlns:a16="http://schemas.microsoft.com/office/drawing/2014/main" id="{C4BF0609-C6A1-4968-BB07-1233E64093DF}"/>
              </a:ext>
            </a:extLst>
          </p:cNvPr>
          <p:cNvSpPr txBox="1"/>
          <p:nvPr/>
        </p:nvSpPr>
        <p:spPr>
          <a:xfrm>
            <a:off x="520299" y="5621685"/>
            <a:ext cx="2856216" cy="1292662"/>
          </a:xfrm>
          <a:prstGeom prst="rect">
            <a:avLst/>
          </a:prstGeom>
          <a:noFill/>
        </p:spPr>
        <p:txBody>
          <a:bodyPr wrap="square" lIns="182880" tIns="146304" rIns="182880" bIns="146304" rtlCol="0">
            <a:spAutoFit/>
          </a:bodyPr>
          <a:lstStyle/>
          <a:p>
            <a:pPr>
              <a:lnSpc>
                <a:spcPct val="90000"/>
              </a:lnSpc>
              <a:spcAft>
                <a:spcPts val="600"/>
              </a:spcAft>
            </a:pPr>
            <a:r>
              <a:rPr lang="en-US" altLang="en-US" sz="1800" dirty="0">
                <a:solidFill>
                  <a:schemeClr val="tx1">
                    <a:lumMod val="85000"/>
                    <a:lumOff val="15000"/>
                  </a:schemeClr>
                </a:solidFill>
              </a:rPr>
              <a:t>This course maps directly to the exam AZ-900 Microsoft Azure Fundamentals</a:t>
            </a:r>
          </a:p>
        </p:txBody>
      </p:sp>
      <p:pic>
        <p:nvPicPr>
          <p:cNvPr id="20" name="Graphic 19">
            <a:extLst>
              <a:ext uri="{FF2B5EF4-FFF2-40B4-BE49-F238E27FC236}">
                <a16:creationId xmlns:a16="http://schemas.microsoft.com/office/drawing/2014/main" id="{BDFF173B-38C6-4017-86EF-44B8930553B8}"/>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33773" y="5178172"/>
            <a:ext cx="551175" cy="551175"/>
          </a:xfrm>
          <a:prstGeom prst="rect">
            <a:avLst/>
          </a:prstGeom>
        </p:spPr>
      </p:pic>
      <p:sp>
        <p:nvSpPr>
          <p:cNvPr id="22" name="TextBox 21">
            <a:extLst>
              <a:ext uri="{FF2B5EF4-FFF2-40B4-BE49-F238E27FC236}">
                <a16:creationId xmlns:a16="http://schemas.microsoft.com/office/drawing/2014/main" id="{B0F64992-5571-45C4-96D3-69FBDF05D247}"/>
              </a:ext>
            </a:extLst>
          </p:cNvPr>
          <p:cNvSpPr txBox="1"/>
          <p:nvPr/>
        </p:nvSpPr>
        <p:spPr>
          <a:xfrm>
            <a:off x="4381252" y="5621685"/>
            <a:ext cx="2856216" cy="1126462"/>
          </a:xfrm>
          <a:prstGeom prst="rect">
            <a:avLst/>
          </a:prstGeom>
          <a:noFill/>
        </p:spPr>
        <p:txBody>
          <a:bodyPr wrap="square" lIns="182880" tIns="146304" rIns="182880" bIns="146304" rtlCol="0">
            <a:spAutoFit/>
          </a:bodyPr>
          <a:lstStyle/>
          <a:p>
            <a:r>
              <a:rPr lang="en-US" altLang="en-US" sz="1800" dirty="0">
                <a:solidFill>
                  <a:schemeClr val="tx1">
                    <a:lumMod val="85000"/>
                    <a:lumOff val="15000"/>
                  </a:schemeClr>
                </a:solidFill>
              </a:rPr>
              <a:t>Percentages indicate the relative weight of each area on the exam</a:t>
            </a:r>
          </a:p>
        </p:txBody>
      </p:sp>
      <p:pic>
        <p:nvPicPr>
          <p:cNvPr id="23" name="Graphic 22">
            <a:extLst>
              <a:ext uri="{FF2B5EF4-FFF2-40B4-BE49-F238E27FC236}">
                <a16:creationId xmlns:a16="http://schemas.microsoft.com/office/drawing/2014/main" id="{C6294F57-06B8-4C29-93F0-F16C3260ABA3}"/>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01762" y="5130096"/>
            <a:ext cx="647327" cy="647327"/>
          </a:xfrm>
          <a:prstGeom prst="rect">
            <a:avLst/>
          </a:prstGeom>
        </p:spPr>
      </p:pic>
      <p:sp>
        <p:nvSpPr>
          <p:cNvPr id="25" name="TextBox 24">
            <a:extLst>
              <a:ext uri="{FF2B5EF4-FFF2-40B4-BE49-F238E27FC236}">
                <a16:creationId xmlns:a16="http://schemas.microsoft.com/office/drawing/2014/main" id="{DD0BF44F-2012-4C95-9FC5-0223D630C58E}"/>
              </a:ext>
            </a:extLst>
          </p:cNvPr>
          <p:cNvSpPr txBox="1"/>
          <p:nvPr/>
        </p:nvSpPr>
        <p:spPr>
          <a:xfrm>
            <a:off x="8375876" y="5621685"/>
            <a:ext cx="3299098" cy="1126462"/>
          </a:xfrm>
          <a:prstGeom prst="rect">
            <a:avLst/>
          </a:prstGeom>
          <a:noFill/>
        </p:spPr>
        <p:txBody>
          <a:bodyPr wrap="square" lIns="182880" tIns="146304" rIns="182880" bIns="146304" rtlCol="0">
            <a:spAutoFit/>
          </a:bodyPr>
          <a:lstStyle/>
          <a:p>
            <a:r>
              <a:rPr lang="en-US" altLang="en-US" sz="1800" dirty="0">
                <a:solidFill>
                  <a:schemeClr val="tx1">
                    <a:lumMod val="85000"/>
                    <a:lumOff val="15000"/>
                  </a:schemeClr>
                </a:solidFill>
              </a:rPr>
              <a:t>The higher the percentage, the more questions you are likely to see in that area</a:t>
            </a:r>
          </a:p>
        </p:txBody>
      </p:sp>
      <p:graphicFrame>
        <p:nvGraphicFramePr>
          <p:cNvPr id="2" name="Table 3">
            <a:extLst>
              <a:ext uri="{FF2B5EF4-FFF2-40B4-BE49-F238E27FC236}">
                <a16:creationId xmlns:a16="http://schemas.microsoft.com/office/drawing/2014/main" id="{2EE3D436-C6DC-49AD-890A-7347B637E172}"/>
              </a:ext>
            </a:extLst>
          </p:cNvPr>
          <p:cNvGraphicFramePr>
            <a:graphicFrameLocks noGrp="1"/>
          </p:cNvGraphicFramePr>
          <p:nvPr>
            <p:extLst>
              <p:ext uri="{D42A27DB-BD31-4B8C-83A1-F6EECF244321}">
                <p14:modId xmlns:p14="http://schemas.microsoft.com/office/powerpoint/2010/main" val="3612412945"/>
              </p:ext>
            </p:extLst>
          </p:nvPr>
        </p:nvGraphicFramePr>
        <p:xfrm>
          <a:off x="445612" y="1000759"/>
          <a:ext cx="10994065" cy="3901965"/>
        </p:xfrm>
        <a:graphic>
          <a:graphicData uri="http://schemas.openxmlformats.org/drawingml/2006/table">
            <a:tbl>
              <a:tblPr firstRow="1" bandRow="1" bandCol="1">
                <a:tableStyleId>{5A111915-BE36-4E01-A7E5-04B1672EAD32}</a:tableStyleId>
              </a:tblPr>
              <a:tblGrid>
                <a:gridCol w="7889358">
                  <a:extLst>
                    <a:ext uri="{9D8B030D-6E8A-4147-A177-3AD203B41FA5}">
                      <a16:colId xmlns:a16="http://schemas.microsoft.com/office/drawing/2014/main" val="551330297"/>
                    </a:ext>
                  </a:extLst>
                </a:gridCol>
                <a:gridCol w="3104707">
                  <a:extLst>
                    <a:ext uri="{9D8B030D-6E8A-4147-A177-3AD203B41FA5}">
                      <a16:colId xmlns:a16="http://schemas.microsoft.com/office/drawing/2014/main" val="4121874801"/>
                    </a:ext>
                  </a:extLst>
                </a:gridCol>
              </a:tblGrid>
              <a:tr h="442279">
                <a:tc>
                  <a:txBody>
                    <a:bodyPr/>
                    <a:lstStyle/>
                    <a:p>
                      <a:r>
                        <a:rPr lang="en-US" sz="2000" b="0" dirty="0">
                          <a:latin typeface="+mj-lt"/>
                        </a:rPr>
                        <a:t>Study areas</a:t>
                      </a:r>
                    </a:p>
                  </a:txBody>
                  <a:tcPr anchor="ctr"/>
                </a:tc>
                <a:tc>
                  <a:txBody>
                    <a:bodyPr/>
                    <a:lstStyle/>
                    <a:p>
                      <a:r>
                        <a:rPr lang="en-US" sz="2000" b="0" dirty="0">
                          <a:latin typeface="+mj-lt"/>
                        </a:rPr>
                        <a:t>Weight</a:t>
                      </a:r>
                    </a:p>
                  </a:txBody>
                  <a:tcPr anchor="ctr"/>
                </a:tc>
                <a:extLst>
                  <a:ext uri="{0D108BD9-81ED-4DB2-BD59-A6C34878D82A}">
                    <a16:rowId xmlns:a16="http://schemas.microsoft.com/office/drawing/2014/main" val="1987152367"/>
                  </a:ext>
                </a:extLst>
              </a:tr>
              <a:tr h="495999">
                <a:tc>
                  <a:txBody>
                    <a:bodyPr/>
                    <a:lstStyle/>
                    <a:p>
                      <a:r>
                        <a:rPr lang="en-US" sz="1800" dirty="0"/>
                        <a:t>Describe Cloud concepts</a:t>
                      </a:r>
                    </a:p>
                  </a:txBody>
                  <a:tcPr/>
                </a:tc>
                <a:tc>
                  <a:txBody>
                    <a:bodyPr/>
                    <a:lstStyle/>
                    <a:p>
                      <a:r>
                        <a:rPr lang="en-US" sz="1800" dirty="0"/>
                        <a:t>20-25%</a:t>
                      </a:r>
                    </a:p>
                  </a:txBody>
                  <a:tcPr/>
                </a:tc>
                <a:extLst>
                  <a:ext uri="{0D108BD9-81ED-4DB2-BD59-A6C34878D82A}">
                    <a16:rowId xmlns:a16="http://schemas.microsoft.com/office/drawing/2014/main" val="3904334983"/>
                  </a:ext>
                </a:extLst>
              </a:tr>
              <a:tr h="492455">
                <a:tc>
                  <a:txBody>
                    <a:bodyPr/>
                    <a:lstStyle/>
                    <a:p>
                      <a:r>
                        <a:rPr lang="en-US" sz="1800" dirty="0"/>
                        <a:t>Describe core Azure services</a:t>
                      </a:r>
                    </a:p>
                  </a:txBody>
                  <a:tcPr/>
                </a:tc>
                <a:tc>
                  <a:txBody>
                    <a:bodyPr/>
                    <a:lstStyle/>
                    <a:p>
                      <a:r>
                        <a:rPr lang="en-US" sz="1800" dirty="0"/>
                        <a:t>15-20%</a:t>
                      </a:r>
                    </a:p>
                  </a:txBody>
                  <a:tcPr/>
                </a:tc>
                <a:extLst>
                  <a:ext uri="{0D108BD9-81ED-4DB2-BD59-A6C34878D82A}">
                    <a16:rowId xmlns:a16="http://schemas.microsoft.com/office/drawing/2014/main" val="3683164118"/>
                  </a:ext>
                </a:extLst>
              </a:tr>
              <a:tr h="534366">
                <a:tc>
                  <a:txBody>
                    <a:bodyPr/>
                    <a:lstStyle/>
                    <a:p>
                      <a:r>
                        <a:rPr lang="en-US" sz="1800" dirty="0"/>
                        <a:t>Describe core solutions and management tools</a:t>
                      </a:r>
                    </a:p>
                  </a:txBody>
                  <a:tcPr/>
                </a:tc>
                <a:tc>
                  <a:txBody>
                    <a:bodyPr/>
                    <a:lstStyle/>
                    <a:p>
                      <a:r>
                        <a:rPr lang="en-US" sz="1800" dirty="0"/>
                        <a:t>10-15%</a:t>
                      </a:r>
                    </a:p>
                  </a:txBody>
                  <a:tcPr/>
                </a:tc>
                <a:extLst>
                  <a:ext uri="{0D108BD9-81ED-4DB2-BD59-A6C34878D82A}">
                    <a16:rowId xmlns:a16="http://schemas.microsoft.com/office/drawing/2014/main" val="3947704521"/>
                  </a:ext>
                </a:extLst>
              </a:tr>
              <a:tr h="645622">
                <a:tc>
                  <a:txBody>
                    <a:bodyPr/>
                    <a:lstStyle/>
                    <a:p>
                      <a:r>
                        <a:rPr lang="en-US" sz="1800" dirty="0"/>
                        <a:t>Describe general security and network security </a:t>
                      </a:r>
                    </a:p>
                  </a:txBody>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800" dirty="0"/>
                        <a:t>10-15%</a:t>
                      </a:r>
                    </a:p>
                    <a:p>
                      <a:endParaRPr lang="en-US" sz="1800" dirty="0"/>
                    </a:p>
                  </a:txBody>
                  <a:tcPr/>
                </a:tc>
                <a:extLst>
                  <a:ext uri="{0D108BD9-81ED-4DB2-BD59-A6C34878D82A}">
                    <a16:rowId xmlns:a16="http://schemas.microsoft.com/office/drawing/2014/main" val="350489874"/>
                  </a:ext>
                </a:extLst>
              </a:tr>
              <a:tr h="645622">
                <a:tc>
                  <a:txBody>
                    <a:bodyPr/>
                    <a:lstStyle/>
                    <a:p>
                      <a:r>
                        <a:rPr lang="en-US" sz="1800" dirty="0"/>
                        <a:t>Describe identity, governance, privacy, and compliance</a:t>
                      </a:r>
                    </a:p>
                  </a:txBody>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800" dirty="0"/>
                        <a:t>20-25%</a:t>
                      </a:r>
                    </a:p>
                    <a:p>
                      <a:endParaRPr lang="en-US" sz="1800" dirty="0"/>
                    </a:p>
                  </a:txBody>
                  <a:tcPr/>
                </a:tc>
                <a:extLst>
                  <a:ext uri="{0D108BD9-81ED-4DB2-BD59-A6C34878D82A}">
                    <a16:rowId xmlns:a16="http://schemas.microsoft.com/office/drawing/2014/main" val="732922132"/>
                  </a:ext>
                </a:extLst>
              </a:tr>
              <a:tr h="645622">
                <a:tc>
                  <a:txBody>
                    <a:bodyPr/>
                    <a:lstStyle/>
                    <a:p>
                      <a:r>
                        <a:rPr lang="en-US" sz="1800" dirty="0"/>
                        <a:t>Describe Azure cost management and Service Level Agreements</a:t>
                      </a:r>
                    </a:p>
                  </a:txBody>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en-US" sz="1800" dirty="0"/>
                        <a:t>10-15%</a:t>
                      </a:r>
                    </a:p>
                    <a:p>
                      <a:endParaRPr lang="en-US" sz="1800" dirty="0"/>
                    </a:p>
                  </a:txBody>
                  <a:tcPr/>
                </a:tc>
                <a:extLst>
                  <a:ext uri="{0D108BD9-81ED-4DB2-BD59-A6C34878D82A}">
                    <a16:rowId xmlns:a16="http://schemas.microsoft.com/office/drawing/2014/main" val="882259667"/>
                  </a:ext>
                </a:extLst>
              </a:tr>
            </a:tbl>
          </a:graphicData>
        </a:graphic>
      </p:graphicFrame>
    </p:spTree>
    <p:extLst>
      <p:ext uri="{BB962C8B-B14F-4D97-AF65-F5344CB8AC3E}">
        <p14:creationId xmlns:p14="http://schemas.microsoft.com/office/powerpoint/2010/main" val="253863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859B09-EFC0-4767-9611-2302C69757B0}"/>
              </a:ext>
            </a:extLst>
          </p:cNvPr>
          <p:cNvSpPr>
            <a:spLocks noGrp="1"/>
          </p:cNvSpPr>
          <p:nvPr>
            <p:ph type="title"/>
          </p:nvPr>
        </p:nvSpPr>
        <p:spPr>
          <a:xfrm>
            <a:off x="275482" y="295275"/>
            <a:ext cx="10785565" cy="917575"/>
          </a:xfrm>
        </p:spPr>
        <p:txBody>
          <a:bodyPr lIns="182880">
            <a:normAutofit/>
          </a:bodyPr>
          <a:lstStyle/>
          <a:p>
            <a:r>
              <a:rPr lang="en-US" sz="3880" dirty="0">
                <a:solidFill>
                  <a:srgbClr val="002060"/>
                </a:solidFill>
              </a:rPr>
              <a:t>Overall approach – setting expectations</a:t>
            </a:r>
          </a:p>
        </p:txBody>
      </p:sp>
      <p:grpSp>
        <p:nvGrpSpPr>
          <p:cNvPr id="72" name="Group 71">
            <a:extLst>
              <a:ext uri="{FF2B5EF4-FFF2-40B4-BE49-F238E27FC236}">
                <a16:creationId xmlns:a16="http://schemas.microsoft.com/office/drawing/2014/main" id="{FD020F4A-B734-4D58-830F-BEA9BC5FA63C}"/>
              </a:ext>
              <a:ext uri="{C183D7F6-B498-43B3-948B-1728B52AA6E4}">
                <adec:decorative xmlns:adec="http://schemas.microsoft.com/office/drawing/2017/decorative" val="1"/>
              </a:ext>
            </a:extLst>
          </p:cNvPr>
          <p:cNvGrpSpPr/>
          <p:nvPr/>
        </p:nvGrpSpPr>
        <p:grpSpPr>
          <a:xfrm>
            <a:off x="372184" y="4082658"/>
            <a:ext cx="12434715" cy="2908039"/>
            <a:chOff x="0" y="4006722"/>
            <a:chExt cx="12192000" cy="2851278"/>
          </a:xfrm>
        </p:grpSpPr>
        <p:pic>
          <p:nvPicPr>
            <p:cNvPr id="73" name="Graphic 72">
              <a:extLst>
                <a:ext uri="{FF2B5EF4-FFF2-40B4-BE49-F238E27FC236}">
                  <a16:creationId xmlns:a16="http://schemas.microsoft.com/office/drawing/2014/main" id="{EA9DE61D-92E8-4FEE-8EB1-4A795E5FF9E5}"/>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57330" t="18683" r="22453" b="46159"/>
            <a:stretch/>
          </p:blipFill>
          <p:spPr>
            <a:xfrm>
              <a:off x="10844283" y="4284481"/>
              <a:ext cx="1347717" cy="1318259"/>
            </a:xfrm>
            <a:custGeom>
              <a:avLst/>
              <a:gdLst>
                <a:gd name="connsiteX0" fmla="*/ 1347717 w 1347717"/>
                <a:gd name="connsiteY0" fmla="*/ 0 h 1318259"/>
                <a:gd name="connsiteX1" fmla="*/ 1347717 w 1347717"/>
                <a:gd name="connsiteY1" fmla="*/ 1318259 h 1318259"/>
                <a:gd name="connsiteX2" fmla="*/ 0 w 1347717"/>
                <a:gd name="connsiteY2" fmla="*/ 1318259 h 1318259"/>
              </a:gdLst>
              <a:ahLst/>
              <a:cxnLst>
                <a:cxn ang="0">
                  <a:pos x="connsiteX0" y="connsiteY0"/>
                </a:cxn>
                <a:cxn ang="0">
                  <a:pos x="connsiteX1" y="connsiteY1"/>
                </a:cxn>
                <a:cxn ang="0">
                  <a:pos x="connsiteX2" y="connsiteY2"/>
                </a:cxn>
              </a:cxnLst>
              <a:rect l="l" t="t" r="r" b="b"/>
              <a:pathLst>
                <a:path w="1347717" h="1318259">
                  <a:moveTo>
                    <a:pt x="1347717" y="0"/>
                  </a:moveTo>
                  <a:lnTo>
                    <a:pt x="1347717" y="1318259"/>
                  </a:lnTo>
                  <a:lnTo>
                    <a:pt x="0" y="1318259"/>
                  </a:lnTo>
                  <a:close/>
                </a:path>
              </a:pathLst>
            </a:custGeom>
          </p:spPr>
        </p:pic>
        <p:pic>
          <p:nvPicPr>
            <p:cNvPr id="74" name="Graphic 73">
              <a:extLst>
                <a:ext uri="{FF2B5EF4-FFF2-40B4-BE49-F238E27FC236}">
                  <a16:creationId xmlns:a16="http://schemas.microsoft.com/office/drawing/2014/main" id="{5FE31EDD-A519-4725-9576-4FEF7E7D4124}"/>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32" t="22548" b="66173"/>
            <a:stretch/>
          </p:blipFill>
          <p:spPr>
            <a:xfrm>
              <a:off x="0" y="6435726"/>
              <a:ext cx="6614167" cy="422274"/>
            </a:xfrm>
            <a:custGeom>
              <a:avLst/>
              <a:gdLst>
                <a:gd name="connsiteX0" fmla="*/ 0 w 6614167"/>
                <a:gd name="connsiteY0" fmla="*/ 0 h 422274"/>
                <a:gd name="connsiteX1" fmla="*/ 6614167 w 6614167"/>
                <a:gd name="connsiteY1" fmla="*/ 0 h 422274"/>
                <a:gd name="connsiteX2" fmla="*/ 6614167 w 6614167"/>
                <a:gd name="connsiteY2" fmla="*/ 422274 h 422274"/>
                <a:gd name="connsiteX3" fmla="*/ 0 w 6614167"/>
                <a:gd name="connsiteY3" fmla="*/ 422274 h 422274"/>
              </a:gdLst>
              <a:ahLst/>
              <a:cxnLst>
                <a:cxn ang="0">
                  <a:pos x="connsiteX0" y="connsiteY0"/>
                </a:cxn>
                <a:cxn ang="0">
                  <a:pos x="connsiteX1" y="connsiteY1"/>
                </a:cxn>
                <a:cxn ang="0">
                  <a:pos x="connsiteX2" y="connsiteY2"/>
                </a:cxn>
                <a:cxn ang="0">
                  <a:pos x="connsiteX3" y="connsiteY3"/>
                </a:cxn>
              </a:cxnLst>
              <a:rect l="l" t="t" r="r" b="b"/>
              <a:pathLst>
                <a:path w="6614167" h="422274">
                  <a:moveTo>
                    <a:pt x="0" y="0"/>
                  </a:moveTo>
                  <a:lnTo>
                    <a:pt x="6614167" y="0"/>
                  </a:lnTo>
                  <a:lnTo>
                    <a:pt x="6614167" y="422274"/>
                  </a:lnTo>
                  <a:lnTo>
                    <a:pt x="0" y="422274"/>
                  </a:lnTo>
                  <a:close/>
                </a:path>
              </a:pathLst>
            </a:custGeom>
          </p:spPr>
        </p:pic>
        <p:pic>
          <p:nvPicPr>
            <p:cNvPr id="75" name="Graphic 74">
              <a:extLst>
                <a:ext uri="{FF2B5EF4-FFF2-40B4-BE49-F238E27FC236}">
                  <a16:creationId xmlns:a16="http://schemas.microsoft.com/office/drawing/2014/main" id="{13D9EB05-A1C6-4936-B074-7D7337213E92}"/>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r="16311" b="66173"/>
            <a:stretch/>
          </p:blipFill>
          <p:spPr>
            <a:xfrm>
              <a:off x="6601605" y="5591531"/>
              <a:ext cx="5570481" cy="1266469"/>
            </a:xfrm>
            <a:custGeom>
              <a:avLst/>
              <a:gdLst>
                <a:gd name="connsiteX0" fmla="*/ 4225979 w 5570481"/>
                <a:gd name="connsiteY0" fmla="*/ 0 h 1266469"/>
                <a:gd name="connsiteX1" fmla="*/ 5570481 w 5570481"/>
                <a:gd name="connsiteY1" fmla="*/ 0 h 1266469"/>
                <a:gd name="connsiteX2" fmla="*/ 5570481 w 5570481"/>
                <a:gd name="connsiteY2" fmla="*/ 1266469 h 1266469"/>
                <a:gd name="connsiteX3" fmla="*/ 0 w 5570481"/>
                <a:gd name="connsiteY3" fmla="*/ 1266469 h 1266469"/>
                <a:gd name="connsiteX4" fmla="*/ 0 w 5570481"/>
                <a:gd name="connsiteY4" fmla="*/ 861735 h 1266469"/>
                <a:gd name="connsiteX5" fmla="*/ 3182183 w 5570481"/>
                <a:gd name="connsiteY5" fmla="*/ 861735 h 1266469"/>
                <a:gd name="connsiteX6" fmla="*/ 3182183 w 5570481"/>
                <a:gd name="connsiteY6" fmla="*/ 627170 h 1266469"/>
                <a:gd name="connsiteX7" fmla="*/ 3280583 w 5570481"/>
                <a:gd name="connsiteY7" fmla="*/ 739419 h 1266469"/>
                <a:gd name="connsiteX8" fmla="*/ 3690158 w 5570481"/>
                <a:gd name="connsiteY8" fmla="*/ 553682 h 126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481" h="1266469">
                  <a:moveTo>
                    <a:pt x="4225979" y="0"/>
                  </a:moveTo>
                  <a:lnTo>
                    <a:pt x="5570481" y="0"/>
                  </a:lnTo>
                  <a:lnTo>
                    <a:pt x="5570481" y="1266469"/>
                  </a:lnTo>
                  <a:lnTo>
                    <a:pt x="0" y="1266469"/>
                  </a:lnTo>
                  <a:lnTo>
                    <a:pt x="0" y="861735"/>
                  </a:lnTo>
                  <a:lnTo>
                    <a:pt x="3182183" y="861735"/>
                  </a:lnTo>
                  <a:lnTo>
                    <a:pt x="3182183" y="627170"/>
                  </a:lnTo>
                  <a:lnTo>
                    <a:pt x="3280583" y="739419"/>
                  </a:lnTo>
                  <a:lnTo>
                    <a:pt x="3690158" y="553682"/>
                  </a:lnTo>
                  <a:close/>
                </a:path>
              </a:pathLst>
            </a:custGeom>
          </p:spPr>
        </p:pic>
        <p:grpSp>
          <p:nvGrpSpPr>
            <p:cNvPr id="76" name="Group 75">
              <a:extLst>
                <a:ext uri="{FF2B5EF4-FFF2-40B4-BE49-F238E27FC236}">
                  <a16:creationId xmlns:a16="http://schemas.microsoft.com/office/drawing/2014/main" id="{AA119717-B4B9-4BD7-9926-D8153FA22F11}"/>
                </a:ext>
              </a:extLst>
            </p:cNvPr>
            <p:cNvGrpSpPr/>
            <p:nvPr/>
          </p:nvGrpSpPr>
          <p:grpSpPr>
            <a:xfrm>
              <a:off x="0" y="4006722"/>
              <a:ext cx="12192000" cy="2800385"/>
              <a:chOff x="0" y="2395590"/>
              <a:chExt cx="12192000" cy="2800385"/>
            </a:xfrm>
          </p:grpSpPr>
          <p:pic>
            <p:nvPicPr>
              <p:cNvPr id="77" name="Graphic 76">
                <a:extLst>
                  <a:ext uri="{FF2B5EF4-FFF2-40B4-BE49-F238E27FC236}">
                    <a16:creationId xmlns:a16="http://schemas.microsoft.com/office/drawing/2014/main" id="{43EF7310-2772-4B49-B9E5-F1114E619B7E}"/>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b="59166"/>
              <a:stretch/>
            </p:blipFill>
            <p:spPr>
              <a:xfrm>
                <a:off x="0" y="2395590"/>
                <a:ext cx="12192000" cy="2800385"/>
              </a:xfrm>
              <a:prstGeom prst="rect">
                <a:avLst/>
              </a:prstGeom>
            </p:spPr>
          </p:pic>
          <p:sp>
            <p:nvSpPr>
              <p:cNvPr id="78" name="Oval 77">
                <a:extLst>
                  <a:ext uri="{FF2B5EF4-FFF2-40B4-BE49-F238E27FC236}">
                    <a16:creationId xmlns:a16="http://schemas.microsoft.com/office/drawing/2014/main" id="{C8A0C635-C59E-4185-B8AA-1D80704F8D45}"/>
                  </a:ext>
                  <a:ext uri="{C183D7F6-B498-43B3-948B-1728B52AA6E4}">
                    <adec:decorative xmlns:adec="http://schemas.microsoft.com/office/drawing/2017/decorative" val="1"/>
                  </a:ext>
                </a:extLst>
              </p:cNvPr>
              <p:cNvSpPr/>
              <p:nvPr/>
            </p:nvSpPr>
            <p:spPr bwMode="auto">
              <a:xfrm>
                <a:off x="2662455" y="4804246"/>
                <a:ext cx="121291" cy="121291"/>
              </a:xfrm>
              <a:prstGeom prst="ellipse">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a:extLst>
                  <a:ext uri="{FF2B5EF4-FFF2-40B4-BE49-F238E27FC236}">
                    <a16:creationId xmlns:a16="http://schemas.microsoft.com/office/drawing/2014/main" id="{45C270F3-1E5D-4810-A894-AFF99B9F0688}"/>
                  </a:ext>
                  <a:ext uri="{C183D7F6-B498-43B3-948B-1728B52AA6E4}">
                    <adec:decorative xmlns:adec="http://schemas.microsoft.com/office/drawing/2017/decorative" val="1"/>
                  </a:ext>
                </a:extLst>
              </p:cNvPr>
              <p:cNvSpPr/>
              <p:nvPr/>
            </p:nvSpPr>
            <p:spPr bwMode="auto">
              <a:xfrm>
                <a:off x="6248011" y="4804246"/>
                <a:ext cx="121291" cy="121291"/>
              </a:xfrm>
              <a:prstGeom prst="ellipse">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pic>
        <p:nvPicPr>
          <p:cNvPr id="3" name="Picture 2">
            <a:extLst>
              <a:ext uri="{FF2B5EF4-FFF2-40B4-BE49-F238E27FC236}">
                <a16:creationId xmlns:a16="http://schemas.microsoft.com/office/drawing/2014/main" id="{89420C40-4B19-4F12-8E2B-0E5C4B83A0BC}"/>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t="-372"/>
          <a:stretch/>
        </p:blipFill>
        <p:spPr>
          <a:xfrm>
            <a:off x="546432" y="1548917"/>
            <a:ext cx="2041877" cy="1961600"/>
          </a:xfrm>
          <a:prstGeom prst="rect">
            <a:avLst/>
          </a:prstGeom>
        </p:spPr>
      </p:pic>
      <p:pic>
        <p:nvPicPr>
          <p:cNvPr id="4" name="Picture 3">
            <a:extLst>
              <a:ext uri="{FF2B5EF4-FFF2-40B4-BE49-F238E27FC236}">
                <a16:creationId xmlns:a16="http://schemas.microsoft.com/office/drawing/2014/main" id="{E59CB812-0F8A-49CA-9E31-7244C651FEB4}"/>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6655156" y="1548917"/>
            <a:ext cx="2041877" cy="1955440"/>
          </a:xfrm>
          <a:prstGeom prst="rect">
            <a:avLst/>
          </a:prstGeom>
        </p:spPr>
      </p:pic>
      <p:pic>
        <p:nvPicPr>
          <p:cNvPr id="26" name="Picture 8">
            <a:extLst>
              <a:ext uri="{FF2B5EF4-FFF2-40B4-BE49-F238E27FC236}">
                <a16:creationId xmlns:a16="http://schemas.microsoft.com/office/drawing/2014/main" id="{B61083D3-9DF4-42FA-B2F3-C65B687DC406}"/>
              </a:ext>
              <a:ext uri="{C183D7F6-B498-43B3-948B-1728B52AA6E4}">
                <adec:decorative xmlns:adec="http://schemas.microsoft.com/office/drawing/2017/decorative" val="1"/>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3602364" y="1548918"/>
            <a:ext cx="2041877" cy="1959264"/>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12">
            <a:extLst>
              <a:ext uri="{FF2B5EF4-FFF2-40B4-BE49-F238E27FC236}">
                <a16:creationId xmlns:a16="http://schemas.microsoft.com/office/drawing/2014/main" id="{8446C74F-BC9C-441C-AAD6-6F9E71F00529}"/>
              </a:ext>
              <a:ext uri="{C183D7F6-B498-43B3-948B-1728B52AA6E4}">
                <adec:decorative xmlns:adec="http://schemas.microsoft.com/office/drawing/2017/decorative" val="1"/>
              </a:ext>
            </a:extLst>
          </p:cNvPr>
          <p:cNvPicPr>
            <a:picLocks noChangeAspect="1" noChangeArrowheads="1"/>
          </p:cNvPicPr>
          <p:nvPr/>
        </p:nvPicPr>
        <p:blipFill rotWithShape="1">
          <a:blip r:embed="rId10" cstate="screen">
            <a:extLst>
              <a:ext uri="{28A0092B-C50C-407E-A947-70E740481C1C}">
                <a14:useLocalDpi xmlns:a14="http://schemas.microsoft.com/office/drawing/2010/main" val="0"/>
              </a:ext>
            </a:extLst>
          </a:blip>
          <a:srcRect/>
          <a:stretch/>
        </p:blipFill>
        <p:spPr bwMode="auto">
          <a:xfrm>
            <a:off x="9707947" y="1518393"/>
            <a:ext cx="2040376" cy="1955440"/>
          </a:xfrm>
          <a:prstGeom prst="rect">
            <a:avLst/>
          </a:prstGeom>
          <a:noFill/>
          <a:extLst>
            <a:ext uri="{909E8E84-426E-40dd-AFC4-6F175D3DCCD1}">
              <a14:hiddenFill xmlns:a14="http://schemas.microsoft.com/office/drawing/2010/main" xmlns="">
                <a:solidFill>
                  <a:srgbClr val="FFFFFF"/>
                </a:solidFill>
              </a14:hiddenFill>
            </a:ext>
          </a:extLst>
        </p:spPr>
      </p:pic>
      <p:sp>
        <p:nvSpPr>
          <p:cNvPr id="31" name="Text Placeholder 4">
            <a:extLst>
              <a:ext uri="{FF2B5EF4-FFF2-40B4-BE49-F238E27FC236}">
                <a16:creationId xmlns:a16="http://schemas.microsoft.com/office/drawing/2014/main" id="{6479710E-CC5E-42DF-A7E5-FA63CE83A4ED}"/>
              </a:ext>
            </a:extLst>
          </p:cNvPr>
          <p:cNvSpPr txBox="1">
            <a:spLocks/>
          </p:cNvSpPr>
          <p:nvPr/>
        </p:nvSpPr>
        <p:spPr>
          <a:xfrm>
            <a:off x="839418" y="3666584"/>
            <a:ext cx="2236972"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buNone/>
            </a:pPr>
            <a:r>
              <a:rPr lang="en-US" dirty="0"/>
              <a:t>Who is the audience?</a:t>
            </a:r>
          </a:p>
        </p:txBody>
      </p:sp>
      <p:sp>
        <p:nvSpPr>
          <p:cNvPr id="32" name="Text Placeholder 6">
            <a:extLst>
              <a:ext uri="{FF2B5EF4-FFF2-40B4-BE49-F238E27FC236}">
                <a16:creationId xmlns:a16="http://schemas.microsoft.com/office/drawing/2014/main" id="{4FB7BFFF-0734-4F3C-9202-0316652D710D}"/>
              </a:ext>
            </a:extLst>
          </p:cNvPr>
          <p:cNvSpPr txBox="1">
            <a:spLocks/>
          </p:cNvSpPr>
          <p:nvPr/>
        </p:nvSpPr>
        <p:spPr>
          <a:xfrm>
            <a:off x="3633302" y="3615420"/>
            <a:ext cx="198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dirty="0"/>
              <a:t>What are the prerequisites?</a:t>
            </a:r>
          </a:p>
        </p:txBody>
      </p:sp>
      <p:sp>
        <p:nvSpPr>
          <p:cNvPr id="34" name="Text Placeholder 8">
            <a:extLst>
              <a:ext uri="{FF2B5EF4-FFF2-40B4-BE49-F238E27FC236}">
                <a16:creationId xmlns:a16="http://schemas.microsoft.com/office/drawing/2014/main" id="{1AD44517-BE27-44D6-8033-B4E4ECEBFDA2}"/>
              </a:ext>
            </a:extLst>
          </p:cNvPr>
          <p:cNvSpPr txBox="1">
            <a:spLocks/>
          </p:cNvSpPr>
          <p:nvPr/>
        </p:nvSpPr>
        <p:spPr>
          <a:xfrm>
            <a:off x="6744579" y="3660424"/>
            <a:ext cx="198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lgn="ctr">
              <a:buNone/>
            </a:pPr>
            <a:r>
              <a:rPr lang="en-US" dirty="0"/>
              <a:t>Hands-on Labs</a:t>
            </a:r>
          </a:p>
        </p:txBody>
      </p:sp>
      <p:sp>
        <p:nvSpPr>
          <p:cNvPr id="38" name="Text Placeholder 12">
            <a:extLst>
              <a:ext uri="{FF2B5EF4-FFF2-40B4-BE49-F238E27FC236}">
                <a16:creationId xmlns:a16="http://schemas.microsoft.com/office/drawing/2014/main" id="{E3530460-EE55-4B72-9D1E-D55D509BEFAD}"/>
              </a:ext>
            </a:extLst>
          </p:cNvPr>
          <p:cNvSpPr txBox="1">
            <a:spLocks/>
          </p:cNvSpPr>
          <p:nvPr/>
        </p:nvSpPr>
        <p:spPr>
          <a:xfrm>
            <a:off x="9945900" y="3620299"/>
            <a:ext cx="1980000" cy="360000"/>
          </a:xfrm>
          <a:prstGeom prst="rect">
            <a:avLst/>
          </a:prstGeom>
        </p:spPr>
        <p:txBody>
          <a:bodyPr/>
          <a:lst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0" indent="0">
              <a:buNone/>
            </a:pPr>
            <a:r>
              <a:rPr lang="en-US" dirty="0"/>
              <a:t>Goal: Azure Certification</a:t>
            </a:r>
          </a:p>
        </p:txBody>
      </p:sp>
    </p:spTree>
    <p:extLst>
      <p:ext uri="{BB962C8B-B14F-4D97-AF65-F5344CB8AC3E}">
        <p14:creationId xmlns:p14="http://schemas.microsoft.com/office/powerpoint/2010/main" val="148527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sz="3880" dirty="0">
                <a:solidFill>
                  <a:srgbClr val="002060"/>
                </a:solidFill>
              </a:rPr>
              <a:t>Customize content to fit your environment</a:t>
            </a:r>
          </a:p>
        </p:txBody>
      </p:sp>
      <p:sp>
        <p:nvSpPr>
          <p:cNvPr id="3" name="TextBox 2">
            <a:extLst>
              <a:ext uri="{FF2B5EF4-FFF2-40B4-BE49-F238E27FC236}">
                <a16:creationId xmlns:a16="http://schemas.microsoft.com/office/drawing/2014/main" id="{3E75F632-9179-4BC4-80C0-169D19A84420}"/>
              </a:ext>
            </a:extLst>
          </p:cNvPr>
          <p:cNvSpPr txBox="1"/>
          <p:nvPr/>
        </p:nvSpPr>
        <p:spPr>
          <a:xfrm>
            <a:off x="477672" y="1344304"/>
            <a:ext cx="10699844" cy="2265236"/>
          </a:xfrm>
          <a:prstGeom prst="rect">
            <a:avLst/>
          </a:prstGeom>
          <a:noFill/>
        </p:spPr>
        <p:txBody>
          <a:bodyPr wrap="square" lIns="182880" tIns="146304" rIns="182880" bIns="146304" rtlCol="0">
            <a:spAutoFit/>
          </a:bodyPr>
          <a:lstStyle/>
          <a:p>
            <a:pPr>
              <a:spcAft>
                <a:spcPts val="600"/>
              </a:spcAft>
            </a:pPr>
            <a:r>
              <a:rPr lang="en-US" sz="1800">
                <a:gradFill>
                  <a:gsLst>
                    <a:gs pos="2917">
                      <a:schemeClr val="tx1"/>
                    </a:gs>
                    <a:gs pos="30000">
                      <a:schemeClr val="tx1"/>
                    </a:gs>
                  </a:gsLst>
                  <a:lin ang="5400000" scaled="0"/>
                </a:gradFill>
              </a:rPr>
              <a:t>Azure Fundamentals </a:t>
            </a:r>
            <a:r>
              <a:rPr lang="en-US" sz="1800" dirty="0">
                <a:gradFill>
                  <a:gsLst>
                    <a:gs pos="2917">
                      <a:schemeClr val="tx1"/>
                    </a:gs>
                    <a:gs pos="30000">
                      <a:schemeClr val="tx1"/>
                    </a:gs>
                  </a:gsLst>
                  <a:lin ang="5400000" scaled="0"/>
                </a:gradFill>
              </a:rPr>
              <a:t>provides approximately 16 hours of content that can be used in many environments, including:</a:t>
            </a:r>
          </a:p>
          <a:p>
            <a:pPr marL="285750" indent="-285750">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Inside an existing course</a:t>
            </a:r>
          </a:p>
          <a:p>
            <a:pPr marL="285750" indent="-285750">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Alongside a course where learning objectives are broadly aligned</a:t>
            </a:r>
          </a:p>
          <a:p>
            <a:pPr marL="285750" indent="-285750">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As a standalone course</a:t>
            </a:r>
          </a:p>
          <a:p>
            <a:pPr>
              <a:spcAft>
                <a:spcPts val="600"/>
              </a:spcAft>
            </a:pPr>
            <a:r>
              <a:rPr lang="en-US" sz="1800" dirty="0">
                <a:gradFill>
                  <a:gsLst>
                    <a:gs pos="2917">
                      <a:schemeClr val="tx1"/>
                    </a:gs>
                    <a:gs pos="30000">
                      <a:schemeClr val="tx1"/>
                    </a:gs>
                  </a:gsLst>
                  <a:lin ang="5400000" scaled="0"/>
                </a:gradFill>
              </a:rPr>
              <a:t>Time required will vary based on approach and labs</a:t>
            </a:r>
          </a:p>
        </p:txBody>
      </p:sp>
      <p:pic>
        <p:nvPicPr>
          <p:cNvPr id="5" name="Picture 4">
            <a:extLst>
              <a:ext uri="{FF2B5EF4-FFF2-40B4-BE49-F238E27FC236}">
                <a16:creationId xmlns:a16="http://schemas.microsoft.com/office/drawing/2014/main" id="{F84584F2-2FFE-4205-ABA7-E7B2C33E014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343286" y="1595663"/>
            <a:ext cx="9739461" cy="4638404"/>
          </a:xfrm>
          <a:prstGeom prst="rect">
            <a:avLst/>
          </a:prstGeom>
        </p:spPr>
      </p:pic>
      <p:grpSp>
        <p:nvGrpSpPr>
          <p:cNvPr id="9" name="Group 8">
            <a:extLst>
              <a:ext uri="{FF2B5EF4-FFF2-40B4-BE49-F238E27FC236}">
                <a16:creationId xmlns:a16="http://schemas.microsoft.com/office/drawing/2014/main" id="{163578D5-20EB-4B96-94A1-F43579DFC559}"/>
              </a:ext>
              <a:ext uri="{C183D7F6-B498-43B3-948B-1728B52AA6E4}">
                <adec:decorative xmlns:adec="http://schemas.microsoft.com/office/drawing/2017/decorative" val="1"/>
              </a:ext>
            </a:extLst>
          </p:cNvPr>
          <p:cNvGrpSpPr/>
          <p:nvPr/>
        </p:nvGrpSpPr>
        <p:grpSpPr>
          <a:xfrm>
            <a:off x="882" y="5747271"/>
            <a:ext cx="12434711" cy="1247254"/>
            <a:chOff x="882" y="5747271"/>
            <a:chExt cx="12434711" cy="1247254"/>
          </a:xfrm>
        </p:grpSpPr>
        <p:grpSp>
          <p:nvGrpSpPr>
            <p:cNvPr id="10" name="Group 9">
              <a:extLst>
                <a:ext uri="{FF2B5EF4-FFF2-40B4-BE49-F238E27FC236}">
                  <a16:creationId xmlns:a16="http://schemas.microsoft.com/office/drawing/2014/main" id="{9D0224A2-462C-42EC-8F5D-755A8F86317C}"/>
                </a:ext>
                <a:ext uri="{C183D7F6-B498-43B3-948B-1728B52AA6E4}">
                  <adec:decorative xmlns:adec="http://schemas.microsoft.com/office/drawing/2017/decorative" val="1"/>
                </a:ext>
              </a:extLst>
            </p:cNvPr>
            <p:cNvGrpSpPr/>
            <p:nvPr/>
          </p:nvGrpSpPr>
          <p:grpSpPr>
            <a:xfrm>
              <a:off x="882" y="5747271"/>
              <a:ext cx="12434711" cy="1247254"/>
              <a:chOff x="0" y="5635091"/>
              <a:chExt cx="12192000" cy="1222909"/>
            </a:xfrm>
          </p:grpSpPr>
          <p:pic>
            <p:nvPicPr>
              <p:cNvPr id="17" name="Graphic 16">
                <a:extLst>
                  <a:ext uri="{FF2B5EF4-FFF2-40B4-BE49-F238E27FC236}">
                    <a16:creationId xmlns:a16="http://schemas.microsoft.com/office/drawing/2014/main" id="{4A7147F1-504B-4816-BAE1-F0AAC6F92C4E}"/>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l="20729" t="29173" r="-83499" b="46159"/>
              <a:stretch/>
            </p:blipFill>
            <p:spPr>
              <a:xfrm>
                <a:off x="1337735" y="5934456"/>
                <a:ext cx="10834351" cy="923544"/>
              </a:xfrm>
              <a:custGeom>
                <a:avLst/>
                <a:gdLst>
                  <a:gd name="connsiteX0" fmla="*/ 1202266 w 10834351"/>
                  <a:gd name="connsiteY0" fmla="*/ 0 h 923544"/>
                  <a:gd name="connsiteX1" fmla="*/ 10834351 w 10834351"/>
                  <a:gd name="connsiteY1" fmla="*/ 0 h 923544"/>
                  <a:gd name="connsiteX2" fmla="*/ 10834351 w 10834351"/>
                  <a:gd name="connsiteY2" fmla="*/ 923544 h 923544"/>
                  <a:gd name="connsiteX3" fmla="*/ 5276432 w 10834351"/>
                  <a:gd name="connsiteY3" fmla="*/ 923544 h 923544"/>
                  <a:gd name="connsiteX4" fmla="*/ 5263870 w 10834351"/>
                  <a:gd name="connsiteY4" fmla="*/ 923544 h 923544"/>
                  <a:gd name="connsiteX5" fmla="*/ 0 w 10834351"/>
                  <a:gd name="connsiteY5" fmla="*/ 923544 h 923544"/>
                  <a:gd name="connsiteX6" fmla="*/ 694266 w 10834351"/>
                  <a:gd name="connsiteY6" fmla="*/ 263144 h 923544"/>
                  <a:gd name="connsiteX7" fmla="*/ 1202266 w 10834351"/>
                  <a:gd name="connsiteY7" fmla="*/ 110744 h 92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4351" h="923544">
                    <a:moveTo>
                      <a:pt x="1202266" y="0"/>
                    </a:moveTo>
                    <a:lnTo>
                      <a:pt x="10834351" y="0"/>
                    </a:lnTo>
                    <a:lnTo>
                      <a:pt x="10834351" y="923544"/>
                    </a:lnTo>
                    <a:lnTo>
                      <a:pt x="5276432" y="923544"/>
                    </a:lnTo>
                    <a:lnTo>
                      <a:pt x="5263870" y="923544"/>
                    </a:lnTo>
                    <a:lnTo>
                      <a:pt x="0" y="923544"/>
                    </a:lnTo>
                    <a:lnTo>
                      <a:pt x="694266" y="263144"/>
                    </a:lnTo>
                    <a:lnTo>
                      <a:pt x="1202266" y="110744"/>
                    </a:lnTo>
                    <a:close/>
                  </a:path>
                </a:pathLst>
              </a:custGeom>
            </p:spPr>
          </p:pic>
          <p:pic>
            <p:nvPicPr>
              <p:cNvPr id="18" name="Graphic 17">
                <a:extLst>
                  <a:ext uri="{FF2B5EF4-FFF2-40B4-BE49-F238E27FC236}">
                    <a16:creationId xmlns:a16="http://schemas.microsoft.com/office/drawing/2014/main" id="{F827024E-5E12-4626-8C92-5911877CB3D1}"/>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t="21933" r="16311" b="59332"/>
              <a:stretch/>
            </p:blipFill>
            <p:spPr>
              <a:xfrm>
                <a:off x="6601605" y="6045200"/>
                <a:ext cx="5570481" cy="812800"/>
              </a:xfrm>
              <a:custGeom>
                <a:avLst/>
                <a:gdLst>
                  <a:gd name="connsiteX0" fmla="*/ 0 w 5570481"/>
                  <a:gd name="connsiteY0" fmla="*/ 0 h 812800"/>
                  <a:gd name="connsiteX1" fmla="*/ 5570481 w 5570481"/>
                  <a:gd name="connsiteY1" fmla="*/ 0 h 812800"/>
                  <a:gd name="connsiteX2" fmla="*/ 5570481 w 5570481"/>
                  <a:gd name="connsiteY2" fmla="*/ 812800 h 812800"/>
                  <a:gd name="connsiteX3" fmla="*/ 0 w 5570481"/>
                  <a:gd name="connsiteY3" fmla="*/ 812800 h 812800"/>
                </a:gdLst>
                <a:ahLst/>
                <a:cxnLst>
                  <a:cxn ang="0">
                    <a:pos x="connsiteX0" y="connsiteY0"/>
                  </a:cxn>
                  <a:cxn ang="0">
                    <a:pos x="connsiteX1" y="connsiteY1"/>
                  </a:cxn>
                  <a:cxn ang="0">
                    <a:pos x="connsiteX2" y="connsiteY2"/>
                  </a:cxn>
                  <a:cxn ang="0">
                    <a:pos x="connsiteX3" y="connsiteY3"/>
                  </a:cxn>
                </a:cxnLst>
                <a:rect l="l" t="t" r="r" b="b"/>
                <a:pathLst>
                  <a:path w="5570481" h="812800">
                    <a:moveTo>
                      <a:pt x="0" y="0"/>
                    </a:moveTo>
                    <a:lnTo>
                      <a:pt x="5570481" y="0"/>
                    </a:lnTo>
                    <a:lnTo>
                      <a:pt x="5570481" y="812800"/>
                    </a:lnTo>
                    <a:lnTo>
                      <a:pt x="0" y="812800"/>
                    </a:lnTo>
                    <a:close/>
                  </a:path>
                </a:pathLst>
              </a:custGeom>
            </p:spPr>
          </p:pic>
          <p:pic>
            <p:nvPicPr>
              <p:cNvPr id="19" name="Graphic 18">
                <a:extLst>
                  <a:ext uri="{FF2B5EF4-FFF2-40B4-BE49-F238E27FC236}">
                    <a16:creationId xmlns:a16="http://schemas.microsoft.com/office/drawing/2014/main" id="{4DE19E7E-BA01-4C91-83DD-F81F544D0397}"/>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t="23002" b="59166"/>
              <a:stretch/>
            </p:blipFill>
            <p:spPr>
              <a:xfrm rot="10800000">
                <a:off x="0" y="5635091"/>
                <a:ext cx="12192000" cy="1222909"/>
              </a:xfrm>
              <a:custGeom>
                <a:avLst/>
                <a:gdLst>
                  <a:gd name="connsiteX0" fmla="*/ 12192000 w 12192000"/>
                  <a:gd name="connsiteY0" fmla="*/ 1222909 h 1222909"/>
                  <a:gd name="connsiteX1" fmla="*/ 0 w 12192000"/>
                  <a:gd name="connsiteY1" fmla="*/ 1222909 h 1222909"/>
                  <a:gd name="connsiteX2" fmla="*/ 0 w 12192000"/>
                  <a:gd name="connsiteY2" fmla="*/ 0 h 1222909"/>
                  <a:gd name="connsiteX3" fmla="*/ 12192000 w 12192000"/>
                  <a:gd name="connsiteY3" fmla="*/ 0 h 1222909"/>
                </a:gdLst>
                <a:ahLst/>
                <a:cxnLst>
                  <a:cxn ang="0">
                    <a:pos x="connsiteX0" y="connsiteY0"/>
                  </a:cxn>
                  <a:cxn ang="0">
                    <a:pos x="connsiteX1" y="connsiteY1"/>
                  </a:cxn>
                  <a:cxn ang="0">
                    <a:pos x="connsiteX2" y="connsiteY2"/>
                  </a:cxn>
                  <a:cxn ang="0">
                    <a:pos x="connsiteX3" y="connsiteY3"/>
                  </a:cxn>
                </a:cxnLst>
                <a:rect l="l" t="t" r="r" b="b"/>
                <a:pathLst>
                  <a:path w="12192000" h="1222909">
                    <a:moveTo>
                      <a:pt x="12192000" y="1222909"/>
                    </a:moveTo>
                    <a:lnTo>
                      <a:pt x="0" y="1222909"/>
                    </a:lnTo>
                    <a:lnTo>
                      <a:pt x="0" y="0"/>
                    </a:lnTo>
                    <a:lnTo>
                      <a:pt x="12192000" y="0"/>
                    </a:lnTo>
                    <a:close/>
                  </a:path>
                </a:pathLst>
              </a:custGeom>
            </p:spPr>
          </p:pic>
        </p:grpSp>
        <p:sp>
          <p:nvSpPr>
            <p:cNvPr id="15" name="Oval 14">
              <a:extLst>
                <a:ext uri="{FF2B5EF4-FFF2-40B4-BE49-F238E27FC236}">
                  <a16:creationId xmlns:a16="http://schemas.microsoft.com/office/drawing/2014/main" id="{5634521B-11F3-45B5-90F4-2CA2ED0F7FAF}"/>
                </a:ext>
                <a:ext uri="{C183D7F6-B498-43B3-948B-1728B52AA6E4}">
                  <adec:decorative xmlns:adec="http://schemas.microsoft.com/office/drawing/2017/decorative" val="1"/>
                </a:ext>
              </a:extLst>
            </p:cNvPr>
            <p:cNvSpPr/>
            <p:nvPr/>
          </p:nvSpPr>
          <p:spPr bwMode="auto">
            <a:xfrm>
              <a:off x="10341645" y="6024026"/>
              <a:ext cx="123653" cy="12365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Oval 15">
              <a:extLst>
                <a:ext uri="{FF2B5EF4-FFF2-40B4-BE49-F238E27FC236}">
                  <a16:creationId xmlns:a16="http://schemas.microsoft.com/office/drawing/2014/main" id="{5F903E6C-CEF7-4D29-B90D-63B85488C0B5}"/>
                </a:ext>
                <a:ext uri="{C183D7F6-B498-43B3-948B-1728B52AA6E4}">
                  <adec:decorative xmlns:adec="http://schemas.microsoft.com/office/drawing/2017/decorative" val="1"/>
                </a:ext>
              </a:extLst>
            </p:cNvPr>
            <p:cNvSpPr/>
            <p:nvPr/>
          </p:nvSpPr>
          <p:spPr bwMode="auto">
            <a:xfrm>
              <a:off x="2557852" y="6053595"/>
              <a:ext cx="123653" cy="123653"/>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64963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Technical requirements</a:t>
            </a:r>
          </a:p>
        </p:txBody>
      </p:sp>
    </p:spTree>
    <p:extLst>
      <p:ext uri="{BB962C8B-B14F-4D97-AF65-F5344CB8AC3E}">
        <p14:creationId xmlns:p14="http://schemas.microsoft.com/office/powerpoint/2010/main" val="357131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FBAD80F-12AC-4C48-87A5-BEDDFFD88B0B}"/>
              </a:ext>
            </a:extLst>
          </p:cNvPr>
          <p:cNvSpPr>
            <a:spLocks noGrp="1"/>
          </p:cNvSpPr>
          <p:nvPr>
            <p:ph type="title" idx="4294967295"/>
          </p:nvPr>
        </p:nvSpPr>
        <p:spPr>
          <a:xfrm>
            <a:off x="681337" y="1603786"/>
            <a:ext cx="9084099" cy="1601036"/>
          </a:xfrm>
          <a:prstGeom prst="rect">
            <a:avLst/>
          </a:prstGeom>
          <a:noFill/>
          <a:ln>
            <a:noFill/>
            <a:prstDash/>
          </a:ln>
          <a:effectLst/>
        </p:spPr>
        <p:txBody>
          <a:bodyPr rot="0" spcFirstLastPara="0" vertOverflow="overflow" horzOverflow="overflow" vert="horz" wrap="square" lIns="0" tIns="93260" rIns="149217" bIns="93260" numCol="1" spcCol="0" rtlCol="0" fromWordArt="0" anchor="t" anchorCtr="0" forceAA="0" compatLnSpc="1">
            <a:prstTxWarp prst="textNoShape">
              <a:avLst/>
            </a:prstTxWarp>
            <a:spAutoFit/>
          </a:bodyPr>
          <a:lstStyle/>
          <a:p>
            <a:pPr>
              <a:spcBef>
                <a:spcPct val="20000"/>
              </a:spcBef>
              <a:buSzPct val="90000"/>
              <a:defRPr/>
            </a:pPr>
            <a:r>
              <a:rPr lang="en-US" sz="5100" spc="0" dirty="0">
                <a:ln>
                  <a:noFill/>
                </a:ln>
                <a:solidFill>
                  <a:schemeClr val="bg1"/>
                </a:solidFill>
              </a:rPr>
              <a:t>Microsoft Learn for Educators Virtual Educator Prep Session</a:t>
            </a:r>
          </a:p>
        </p:txBody>
      </p:sp>
      <p:sp>
        <p:nvSpPr>
          <p:cNvPr id="4" name="WHO WE ARE • OUR MISSION • OUR BRAND PROMISE">
            <a:extLst>
              <a:ext uri="{FF2B5EF4-FFF2-40B4-BE49-F238E27FC236}">
                <a16:creationId xmlns:a16="http://schemas.microsoft.com/office/drawing/2014/main" id="{CBDED822-FAFD-4F01-BCF6-9B684D7184A5}"/>
              </a:ext>
            </a:extLst>
          </p:cNvPr>
          <p:cNvSpPr txBox="1"/>
          <p:nvPr/>
        </p:nvSpPr>
        <p:spPr>
          <a:xfrm>
            <a:off x="681338" y="3464840"/>
            <a:ext cx="4225964" cy="318164"/>
          </a:xfrm>
          <a:prstGeom prst="rect">
            <a:avLst/>
          </a:prstGeom>
          <a:ln w="12700">
            <a:miter lim="400000"/>
          </a:ln>
          <a:extLst>
            <a:ext uri="{C572A759-6A51-4108-AA02-DFA0A04FC94B}">
              <ma14:wrappingTextBoxFlag xmlns:lc="http://schemas.openxmlformats.org/drawingml/2006/lockedCanvas"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412750" hangingPunct="0">
              <a:lnSpc>
                <a:spcPct val="140000"/>
              </a:lnSpc>
              <a:defRPr sz="1400" cap="all" spc="350">
                <a:solidFill>
                  <a:srgbClr val="50E6FF"/>
                </a:solidFill>
                <a:latin typeface="Segoe UI"/>
                <a:ea typeface="Segoe UI"/>
                <a:cs typeface="Segoe UI"/>
                <a:sym typeface="Segoe UI"/>
              </a:defRPr>
            </a:pPr>
            <a:r>
              <a:rPr lang="en-US" sz="1400" kern="0" cap="all" spc="175" dirty="0">
                <a:solidFill>
                  <a:srgbClr val="50E6FF"/>
                </a:solidFill>
                <a:latin typeface="Segoe UI"/>
                <a:cs typeface="Segoe UI"/>
                <a:sym typeface="Segoe UI"/>
              </a:rPr>
              <a:t>Azure Fundamentals (AZ-900)</a:t>
            </a:r>
            <a:endParaRPr sz="1050" kern="0" cap="all" spc="175" dirty="0">
              <a:solidFill>
                <a:srgbClr val="50E6FF"/>
              </a:solidFill>
              <a:latin typeface="Segoe UI"/>
              <a:cs typeface="Segoe UI"/>
              <a:sym typeface="Segoe UI"/>
            </a:endParaRPr>
          </a:p>
        </p:txBody>
      </p:sp>
    </p:spTree>
    <p:extLst>
      <p:ext uri="{BB962C8B-B14F-4D97-AF65-F5344CB8AC3E}">
        <p14:creationId xmlns:p14="http://schemas.microsoft.com/office/powerpoint/2010/main" val="132381603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dirty="0">
                <a:solidFill>
                  <a:srgbClr val="002060"/>
                </a:solidFill>
                <a:cs typeface="Segoe UI"/>
              </a:rPr>
              <a:t>Technical requirements for Educators and Students</a:t>
            </a:r>
          </a:p>
        </p:txBody>
      </p:sp>
      <p:sp>
        <p:nvSpPr>
          <p:cNvPr id="4" name="Rectangle 3">
            <a:extLst>
              <a:ext uri="{FF2B5EF4-FFF2-40B4-BE49-F238E27FC236}">
                <a16:creationId xmlns:a16="http://schemas.microsoft.com/office/drawing/2014/main" id="{274B7E01-41EC-41EE-90E8-B27714D04043}"/>
              </a:ext>
              <a:ext uri="{C183D7F6-B498-43B3-948B-1728B52AA6E4}">
                <adec:decorative xmlns:adec="http://schemas.microsoft.com/office/drawing/2017/decorative" val="1"/>
              </a:ext>
            </a:extLst>
          </p:cNvPr>
          <p:cNvSpPr/>
          <p:nvPr/>
        </p:nvSpPr>
        <p:spPr bwMode="auto">
          <a:xfrm>
            <a:off x="447675" y="1212851"/>
            <a:ext cx="11439187" cy="41390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24F0EE30-698C-4CCF-A1F9-77E3710FD91B}"/>
              </a:ext>
            </a:extLst>
          </p:cNvPr>
          <p:cNvSpPr txBox="1"/>
          <p:nvPr/>
        </p:nvSpPr>
        <p:spPr>
          <a:xfrm>
            <a:off x="549613" y="1287190"/>
            <a:ext cx="5115207" cy="5589394"/>
          </a:xfrm>
          <a:prstGeom prst="rect">
            <a:avLst/>
          </a:prstGeom>
        </p:spPr>
        <p:txBody>
          <a:bodyPr vert="horz" wrap="square" lIns="146304" tIns="91440" rIns="0" bIns="0" rtlCol="0">
            <a:noAutofit/>
          </a:bodyPr>
          <a:lstStyle/>
          <a:p>
            <a:pPr>
              <a:spcAft>
                <a:spcPts val="600"/>
              </a:spcAft>
            </a:pPr>
            <a:r>
              <a:rPr lang="en-US" sz="1800" dirty="0">
                <a:solidFill>
                  <a:srgbClr val="0078D4"/>
                </a:solidFill>
                <a:latin typeface="Segoe UI Semibold" panose="020B0702040204020203" pitchFamily="34" charset="0"/>
                <a:cs typeface="Segoe UI Semibold" panose="020B0702040204020203" pitchFamily="34" charset="0"/>
              </a:rPr>
              <a:t>Educator hardware and software requirements:</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PC or laptop</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Access to the internet</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Modern operating system</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Modern browser </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Microsoft PowerPoint</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Ability to display PowerPoint slides to students</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Azure subscription </a:t>
            </a:r>
          </a:p>
          <a:p>
            <a:pPr algn="l"/>
            <a:endParaRPr lang="en-US" sz="1800" dirty="0">
              <a:solidFill>
                <a:srgbClr val="505050"/>
              </a:solidFill>
              <a:latin typeface="Segoe UI" panose="020B0502040204020203" pitchFamily="34" charset="0"/>
              <a:cs typeface="Segoe UI" panose="020B0502040204020203" pitchFamily="34" charset="0"/>
            </a:endParaRPr>
          </a:p>
          <a:p>
            <a:pPr algn="l"/>
            <a:endParaRPr lang="en-US" sz="2000" dirty="0">
              <a:solidFill>
                <a:srgbClr val="505050"/>
              </a:solidFill>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7549F296-E54D-42A8-8A1C-74569ABEDD43}"/>
              </a:ext>
            </a:extLst>
          </p:cNvPr>
          <p:cNvSpPr txBox="1"/>
          <p:nvPr/>
        </p:nvSpPr>
        <p:spPr>
          <a:xfrm>
            <a:off x="6085440" y="1323508"/>
            <a:ext cx="5582685" cy="3013818"/>
          </a:xfrm>
          <a:prstGeom prst="rect">
            <a:avLst/>
          </a:prstGeom>
        </p:spPr>
        <p:txBody>
          <a:bodyPr vert="horz" wrap="square" lIns="146304" tIns="91440" rIns="0" bIns="0" rtlCol="0">
            <a:noAutofit/>
          </a:bodyPr>
          <a:lstStyle/>
          <a:p>
            <a:pPr>
              <a:spcAft>
                <a:spcPts val="600"/>
              </a:spcAft>
            </a:pPr>
            <a:r>
              <a:rPr lang="en-US" sz="1800" dirty="0">
                <a:solidFill>
                  <a:srgbClr val="0078D4"/>
                </a:solidFill>
                <a:latin typeface="Segoe UI Semibold" panose="020B0702040204020203" pitchFamily="34" charset="0"/>
                <a:cs typeface="Segoe UI Semibold" panose="020B0702040204020203" pitchFamily="34" charset="0"/>
              </a:rPr>
              <a:t>Student hardware and software requirements </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PC or laptop</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Access to the internet</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Modern operating system</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Modern browser </a:t>
            </a:r>
          </a:p>
          <a:p>
            <a:pPr marL="457200" indent="-457200">
              <a:spcAft>
                <a:spcPts val="1200"/>
              </a:spcAft>
              <a:buFontTx/>
              <a:buAutoNum type="arabicPeriod"/>
            </a:pPr>
            <a:r>
              <a:rPr lang="en-US" sz="1800" dirty="0">
                <a:solidFill>
                  <a:srgbClr val="505050"/>
                </a:solidFill>
                <a:latin typeface="Segoe UI" panose="020B0502040204020203" pitchFamily="34" charset="0"/>
                <a:cs typeface="Segoe UI" panose="020B0502040204020203" pitchFamily="34" charset="0"/>
              </a:rPr>
              <a:t>Azure subscription recommended for lab practice</a:t>
            </a:r>
          </a:p>
          <a:p>
            <a:pPr>
              <a:spcAft>
                <a:spcPts val="600"/>
              </a:spcAft>
            </a:pPr>
            <a:r>
              <a:rPr lang="en-US" sz="1800" dirty="0">
                <a:solidFill>
                  <a:srgbClr val="0078D4"/>
                </a:solidFill>
                <a:latin typeface="Segoe UI Semibold" panose="020B0702040204020203" pitchFamily="34" charset="0"/>
                <a:cs typeface="Segoe UI Semibold" panose="020B0702040204020203" pitchFamily="34" charset="0"/>
              </a:rPr>
              <a:t>Classroom hardware and software requirements:</a:t>
            </a:r>
          </a:p>
          <a:p>
            <a:pPr>
              <a:spcAft>
                <a:spcPts val="600"/>
              </a:spcAft>
            </a:pPr>
            <a:r>
              <a:rPr lang="en-US" sz="1100" b="1" dirty="0">
                <a:solidFill>
                  <a:srgbClr val="0078D4"/>
                </a:solidFill>
                <a:latin typeface="Segoe UI"/>
                <a:cs typeface="Segoe UI" pitchFamily="34" charset="0"/>
              </a:rPr>
              <a:t> </a:t>
            </a:r>
            <a:r>
              <a:rPr lang="en-US" sz="1800" dirty="0">
                <a:solidFill>
                  <a:srgbClr val="505050"/>
                </a:solidFill>
                <a:latin typeface="Segoe UI" panose="020B0502040204020203" pitchFamily="34" charset="0"/>
                <a:cs typeface="Segoe UI" panose="020B0502040204020203" pitchFamily="34" charset="0"/>
              </a:rPr>
              <a:t>Access to the internet</a:t>
            </a:r>
          </a:p>
          <a:p>
            <a:pPr marL="457200" indent="-457200" algn="l">
              <a:spcAft>
                <a:spcPts val="600"/>
              </a:spcAft>
              <a:buAutoNum type="arabicPeriod"/>
            </a:pPr>
            <a:r>
              <a:rPr lang="en-US" sz="1800" dirty="0">
                <a:solidFill>
                  <a:srgbClr val="505050"/>
                </a:solidFill>
                <a:latin typeface="Segoe UI" panose="020B0502040204020203" pitchFamily="34" charset="0"/>
                <a:cs typeface="Segoe UI" panose="020B0502040204020203" pitchFamily="34" charset="0"/>
              </a:rPr>
              <a:t>An open Port 80 and Port 443 so you and your students can access Azure via a modern web browser</a:t>
            </a:r>
          </a:p>
          <a:p>
            <a:pPr algn="l"/>
            <a:endParaRPr lang="en-US" sz="2000" dirty="0">
              <a:solidFill>
                <a:srgbClr val="505050"/>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2FD212DC-6A12-4DBD-8B61-C594FEDBE5D7}"/>
              </a:ext>
              <a:ext uri="{C183D7F6-B498-43B3-948B-1728B52AA6E4}">
                <adec:decorative xmlns:adec="http://schemas.microsoft.com/office/drawing/2017/decorative" val="1"/>
              </a:ext>
            </a:extLst>
          </p:cNvPr>
          <p:cNvGrpSpPr/>
          <p:nvPr/>
        </p:nvGrpSpPr>
        <p:grpSpPr>
          <a:xfrm>
            <a:off x="28308" y="4086486"/>
            <a:ext cx="12434715" cy="2908039"/>
            <a:chOff x="0" y="4006722"/>
            <a:chExt cx="12192000" cy="2851278"/>
          </a:xfrm>
          <a:solidFill>
            <a:schemeClr val="bg1">
              <a:alpha val="40000"/>
            </a:schemeClr>
          </a:solidFill>
        </p:grpSpPr>
        <p:pic>
          <p:nvPicPr>
            <p:cNvPr id="10" name="Graphic 9">
              <a:extLst>
                <a:ext uri="{FF2B5EF4-FFF2-40B4-BE49-F238E27FC236}">
                  <a16:creationId xmlns:a16="http://schemas.microsoft.com/office/drawing/2014/main" id="{A94ECC83-16C5-4F38-A7A3-4D4257CA27FC}"/>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57330" t="18683" r="22453" b="46159"/>
            <a:stretch/>
          </p:blipFill>
          <p:spPr>
            <a:xfrm>
              <a:off x="10844283" y="4284481"/>
              <a:ext cx="1347717" cy="1318259"/>
            </a:xfrm>
            <a:custGeom>
              <a:avLst/>
              <a:gdLst>
                <a:gd name="connsiteX0" fmla="*/ 1347717 w 1347717"/>
                <a:gd name="connsiteY0" fmla="*/ 0 h 1318259"/>
                <a:gd name="connsiteX1" fmla="*/ 1347717 w 1347717"/>
                <a:gd name="connsiteY1" fmla="*/ 1318259 h 1318259"/>
                <a:gd name="connsiteX2" fmla="*/ 0 w 1347717"/>
                <a:gd name="connsiteY2" fmla="*/ 1318259 h 1318259"/>
              </a:gdLst>
              <a:ahLst/>
              <a:cxnLst>
                <a:cxn ang="0">
                  <a:pos x="connsiteX0" y="connsiteY0"/>
                </a:cxn>
                <a:cxn ang="0">
                  <a:pos x="connsiteX1" y="connsiteY1"/>
                </a:cxn>
                <a:cxn ang="0">
                  <a:pos x="connsiteX2" y="connsiteY2"/>
                </a:cxn>
              </a:cxnLst>
              <a:rect l="l" t="t" r="r" b="b"/>
              <a:pathLst>
                <a:path w="1347717" h="1318259">
                  <a:moveTo>
                    <a:pt x="1347717" y="0"/>
                  </a:moveTo>
                  <a:lnTo>
                    <a:pt x="1347717" y="1318259"/>
                  </a:lnTo>
                  <a:lnTo>
                    <a:pt x="0" y="1318259"/>
                  </a:lnTo>
                  <a:close/>
                </a:path>
              </a:pathLst>
            </a:custGeom>
          </p:spPr>
        </p:pic>
        <p:pic>
          <p:nvPicPr>
            <p:cNvPr id="15" name="Graphic 14">
              <a:extLst>
                <a:ext uri="{FF2B5EF4-FFF2-40B4-BE49-F238E27FC236}">
                  <a16:creationId xmlns:a16="http://schemas.microsoft.com/office/drawing/2014/main" id="{CF44CE90-E63F-4B1B-9417-6BCA3D54E1AF}"/>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32" t="22548" b="66173"/>
            <a:stretch/>
          </p:blipFill>
          <p:spPr>
            <a:xfrm>
              <a:off x="0" y="6435726"/>
              <a:ext cx="6614167" cy="422274"/>
            </a:xfrm>
            <a:custGeom>
              <a:avLst/>
              <a:gdLst>
                <a:gd name="connsiteX0" fmla="*/ 0 w 6614167"/>
                <a:gd name="connsiteY0" fmla="*/ 0 h 422274"/>
                <a:gd name="connsiteX1" fmla="*/ 6614167 w 6614167"/>
                <a:gd name="connsiteY1" fmla="*/ 0 h 422274"/>
                <a:gd name="connsiteX2" fmla="*/ 6614167 w 6614167"/>
                <a:gd name="connsiteY2" fmla="*/ 422274 h 422274"/>
                <a:gd name="connsiteX3" fmla="*/ 0 w 6614167"/>
                <a:gd name="connsiteY3" fmla="*/ 422274 h 422274"/>
              </a:gdLst>
              <a:ahLst/>
              <a:cxnLst>
                <a:cxn ang="0">
                  <a:pos x="connsiteX0" y="connsiteY0"/>
                </a:cxn>
                <a:cxn ang="0">
                  <a:pos x="connsiteX1" y="connsiteY1"/>
                </a:cxn>
                <a:cxn ang="0">
                  <a:pos x="connsiteX2" y="connsiteY2"/>
                </a:cxn>
                <a:cxn ang="0">
                  <a:pos x="connsiteX3" y="connsiteY3"/>
                </a:cxn>
              </a:cxnLst>
              <a:rect l="l" t="t" r="r" b="b"/>
              <a:pathLst>
                <a:path w="6614167" h="422274">
                  <a:moveTo>
                    <a:pt x="0" y="0"/>
                  </a:moveTo>
                  <a:lnTo>
                    <a:pt x="6614167" y="0"/>
                  </a:lnTo>
                  <a:lnTo>
                    <a:pt x="6614167" y="422274"/>
                  </a:lnTo>
                  <a:lnTo>
                    <a:pt x="0" y="422274"/>
                  </a:lnTo>
                  <a:close/>
                </a:path>
              </a:pathLst>
            </a:custGeom>
          </p:spPr>
        </p:pic>
        <p:pic>
          <p:nvPicPr>
            <p:cNvPr id="16" name="Graphic 15">
              <a:extLst>
                <a:ext uri="{FF2B5EF4-FFF2-40B4-BE49-F238E27FC236}">
                  <a16:creationId xmlns:a16="http://schemas.microsoft.com/office/drawing/2014/main" id="{9631BC70-8346-4C98-B733-13D32CFDCC99}"/>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r="16311" b="66173"/>
            <a:stretch/>
          </p:blipFill>
          <p:spPr>
            <a:xfrm>
              <a:off x="6601605" y="5591531"/>
              <a:ext cx="5570481" cy="1266469"/>
            </a:xfrm>
            <a:custGeom>
              <a:avLst/>
              <a:gdLst>
                <a:gd name="connsiteX0" fmla="*/ 4225979 w 5570481"/>
                <a:gd name="connsiteY0" fmla="*/ 0 h 1266469"/>
                <a:gd name="connsiteX1" fmla="*/ 5570481 w 5570481"/>
                <a:gd name="connsiteY1" fmla="*/ 0 h 1266469"/>
                <a:gd name="connsiteX2" fmla="*/ 5570481 w 5570481"/>
                <a:gd name="connsiteY2" fmla="*/ 1266469 h 1266469"/>
                <a:gd name="connsiteX3" fmla="*/ 0 w 5570481"/>
                <a:gd name="connsiteY3" fmla="*/ 1266469 h 1266469"/>
                <a:gd name="connsiteX4" fmla="*/ 0 w 5570481"/>
                <a:gd name="connsiteY4" fmla="*/ 861735 h 1266469"/>
                <a:gd name="connsiteX5" fmla="*/ 3182183 w 5570481"/>
                <a:gd name="connsiteY5" fmla="*/ 861735 h 1266469"/>
                <a:gd name="connsiteX6" fmla="*/ 3182183 w 5570481"/>
                <a:gd name="connsiteY6" fmla="*/ 627170 h 1266469"/>
                <a:gd name="connsiteX7" fmla="*/ 3280583 w 5570481"/>
                <a:gd name="connsiteY7" fmla="*/ 739419 h 1266469"/>
                <a:gd name="connsiteX8" fmla="*/ 3690158 w 5570481"/>
                <a:gd name="connsiteY8" fmla="*/ 553682 h 126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481" h="1266469">
                  <a:moveTo>
                    <a:pt x="4225979" y="0"/>
                  </a:moveTo>
                  <a:lnTo>
                    <a:pt x="5570481" y="0"/>
                  </a:lnTo>
                  <a:lnTo>
                    <a:pt x="5570481" y="1266469"/>
                  </a:lnTo>
                  <a:lnTo>
                    <a:pt x="0" y="1266469"/>
                  </a:lnTo>
                  <a:lnTo>
                    <a:pt x="0" y="861735"/>
                  </a:lnTo>
                  <a:lnTo>
                    <a:pt x="3182183" y="861735"/>
                  </a:lnTo>
                  <a:lnTo>
                    <a:pt x="3182183" y="627170"/>
                  </a:lnTo>
                  <a:lnTo>
                    <a:pt x="3280583" y="739419"/>
                  </a:lnTo>
                  <a:lnTo>
                    <a:pt x="3690158" y="553682"/>
                  </a:lnTo>
                  <a:close/>
                </a:path>
              </a:pathLst>
            </a:custGeom>
          </p:spPr>
        </p:pic>
        <p:grpSp>
          <p:nvGrpSpPr>
            <p:cNvPr id="17" name="Group 16">
              <a:extLst>
                <a:ext uri="{FF2B5EF4-FFF2-40B4-BE49-F238E27FC236}">
                  <a16:creationId xmlns:a16="http://schemas.microsoft.com/office/drawing/2014/main" id="{58ADF1E7-27A6-42EC-A7DB-2E2970441B73}"/>
                </a:ext>
              </a:extLst>
            </p:cNvPr>
            <p:cNvGrpSpPr/>
            <p:nvPr/>
          </p:nvGrpSpPr>
          <p:grpSpPr>
            <a:xfrm>
              <a:off x="0" y="4006722"/>
              <a:ext cx="12192000" cy="2800385"/>
              <a:chOff x="0" y="2395590"/>
              <a:chExt cx="12192000" cy="2800385"/>
            </a:xfrm>
            <a:grpFill/>
          </p:grpSpPr>
          <p:pic>
            <p:nvPicPr>
              <p:cNvPr id="18" name="Graphic 17">
                <a:extLst>
                  <a:ext uri="{FF2B5EF4-FFF2-40B4-BE49-F238E27FC236}">
                    <a16:creationId xmlns:a16="http://schemas.microsoft.com/office/drawing/2014/main" id="{4601AAA2-0D73-4810-A6FE-0B7919A90C66}"/>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b="59166"/>
              <a:stretch/>
            </p:blipFill>
            <p:spPr>
              <a:xfrm>
                <a:off x="0" y="2395590"/>
                <a:ext cx="12192000" cy="2800385"/>
              </a:xfrm>
              <a:prstGeom prst="rect">
                <a:avLst/>
              </a:prstGeom>
            </p:spPr>
          </p:pic>
          <p:sp>
            <p:nvSpPr>
              <p:cNvPr id="19" name="Oval 18">
                <a:extLst>
                  <a:ext uri="{FF2B5EF4-FFF2-40B4-BE49-F238E27FC236}">
                    <a16:creationId xmlns:a16="http://schemas.microsoft.com/office/drawing/2014/main" id="{D64B3F28-A8C7-410C-A0AD-457EA457AE42}"/>
                  </a:ext>
                  <a:ext uri="{C183D7F6-B498-43B3-948B-1728B52AA6E4}">
                    <adec:decorative xmlns:adec="http://schemas.microsoft.com/office/drawing/2017/decorative" val="1"/>
                  </a:ext>
                </a:extLst>
              </p:cNvPr>
              <p:cNvSpPr/>
              <p:nvPr/>
            </p:nvSpPr>
            <p:spPr bwMode="auto">
              <a:xfrm>
                <a:off x="2662455" y="4804246"/>
                <a:ext cx="121291" cy="12129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a:extLst>
                  <a:ext uri="{FF2B5EF4-FFF2-40B4-BE49-F238E27FC236}">
                    <a16:creationId xmlns:a16="http://schemas.microsoft.com/office/drawing/2014/main" id="{134EEA2D-9AEC-4C2D-ACE7-587CDE633A63}"/>
                  </a:ext>
                  <a:ext uri="{C183D7F6-B498-43B3-948B-1728B52AA6E4}">
                    <adec:decorative xmlns:adec="http://schemas.microsoft.com/office/drawing/2017/decorative" val="1"/>
                  </a:ext>
                </a:extLst>
              </p:cNvPr>
              <p:cNvSpPr/>
              <p:nvPr/>
            </p:nvSpPr>
            <p:spPr bwMode="auto">
              <a:xfrm>
                <a:off x="6248011" y="4804246"/>
                <a:ext cx="121291" cy="12129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371174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Course flow</a:t>
            </a:r>
          </a:p>
        </p:txBody>
      </p:sp>
    </p:spTree>
    <p:extLst>
      <p:ext uri="{BB962C8B-B14F-4D97-AF65-F5344CB8AC3E}">
        <p14:creationId xmlns:p14="http://schemas.microsoft.com/office/powerpoint/2010/main" val="105745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EA62E78A-C1BE-0A46-8375-B2019224971F}"/>
              </a:ext>
              <a:ext uri="{C183D7F6-B498-43B3-948B-1728B52AA6E4}">
                <adec:decorative xmlns:adec="http://schemas.microsoft.com/office/drawing/2017/decorative" val="1"/>
              </a:ext>
            </a:extLst>
          </p:cNvPr>
          <p:cNvSpPr/>
          <p:nvPr/>
        </p:nvSpPr>
        <p:spPr bwMode="auto">
          <a:xfrm>
            <a:off x="484859" y="1596372"/>
            <a:ext cx="11679344" cy="2578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rder deck for optimal flow</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eliver all modules in multiple sessions</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lign time spent with relative weights</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onduct review questions after each module</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evelop slide deck notes</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Whiteboarding where appropriate</a:t>
            </a:r>
            <a:endParaRPr lang="en-US" sz="1800" dirty="0">
              <a:solidFill>
                <a:srgbClr val="1A1A1A"/>
              </a:solidFill>
              <a:latin typeface="Segoe UI Semilight"/>
              <a:ea typeface="Segoe UI" pitchFamily="34" charset="0"/>
              <a:cs typeface="Segoe UI" pitchFamily="34" charset="0"/>
            </a:endParaRPr>
          </a:p>
        </p:txBody>
      </p:sp>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dirty="0">
                <a:solidFill>
                  <a:srgbClr val="002060"/>
                </a:solidFill>
                <a:cs typeface="Segoe UI"/>
              </a:rPr>
              <a:t>Going with the flow</a:t>
            </a:r>
          </a:p>
        </p:txBody>
      </p:sp>
      <p:pic>
        <p:nvPicPr>
          <p:cNvPr id="5" name="Picture 2">
            <a:extLst>
              <a:ext uri="{FF2B5EF4-FFF2-40B4-BE49-F238E27FC236}">
                <a16:creationId xmlns:a16="http://schemas.microsoft.com/office/drawing/2014/main" id="{75D5AF7E-C1C3-422C-8E8F-9AA29DEAC460}"/>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t="16093"/>
          <a:stretch/>
        </p:blipFill>
        <p:spPr bwMode="auto">
          <a:xfrm>
            <a:off x="6689836" y="1596371"/>
            <a:ext cx="5472000" cy="2578814"/>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0" name="Group 9">
            <a:extLst>
              <a:ext uri="{FF2B5EF4-FFF2-40B4-BE49-F238E27FC236}">
                <a16:creationId xmlns:a16="http://schemas.microsoft.com/office/drawing/2014/main" id="{04F7C55C-A362-4619-A0D3-33ACDC4B36DE}"/>
              </a:ext>
              <a:ext uri="{C183D7F6-B498-43B3-948B-1728B52AA6E4}">
                <adec:decorative xmlns:adec="http://schemas.microsoft.com/office/drawing/2017/decorative" val="1"/>
              </a:ext>
            </a:extLst>
          </p:cNvPr>
          <p:cNvGrpSpPr/>
          <p:nvPr/>
        </p:nvGrpSpPr>
        <p:grpSpPr>
          <a:xfrm>
            <a:off x="274638" y="5009632"/>
            <a:ext cx="12160953" cy="1984894"/>
            <a:chOff x="274638" y="5009632"/>
            <a:chExt cx="12160953" cy="1984894"/>
          </a:xfrm>
        </p:grpSpPr>
        <p:grpSp>
          <p:nvGrpSpPr>
            <p:cNvPr id="11" name="Group 10">
              <a:extLst>
                <a:ext uri="{FF2B5EF4-FFF2-40B4-BE49-F238E27FC236}">
                  <a16:creationId xmlns:a16="http://schemas.microsoft.com/office/drawing/2014/main" id="{A88FCCEB-6D13-45A0-882A-E2E83BC338CA}"/>
                </a:ext>
                <a:ext uri="{C183D7F6-B498-43B3-948B-1728B52AA6E4}">
                  <adec:decorative xmlns:adec="http://schemas.microsoft.com/office/drawing/2017/decorative" val="1"/>
                </a:ext>
              </a:extLst>
            </p:cNvPr>
            <p:cNvGrpSpPr/>
            <p:nvPr/>
          </p:nvGrpSpPr>
          <p:grpSpPr>
            <a:xfrm>
              <a:off x="274638" y="5029201"/>
              <a:ext cx="12160953" cy="1965325"/>
              <a:chOff x="274638" y="5029201"/>
              <a:chExt cx="12160953" cy="1965325"/>
            </a:xfrm>
          </p:grpSpPr>
          <p:grpSp>
            <p:nvGrpSpPr>
              <p:cNvPr id="14" name="Group 13">
                <a:extLst>
                  <a:ext uri="{FF2B5EF4-FFF2-40B4-BE49-F238E27FC236}">
                    <a16:creationId xmlns:a16="http://schemas.microsoft.com/office/drawing/2014/main" id="{0229801E-BBDA-44E5-AFF1-EDEF2EE3D138}"/>
                  </a:ext>
                </a:extLst>
              </p:cNvPr>
              <p:cNvGrpSpPr/>
              <p:nvPr/>
            </p:nvGrpSpPr>
            <p:grpSpPr>
              <a:xfrm>
                <a:off x="275482" y="5029201"/>
                <a:ext cx="12148452" cy="1965325"/>
                <a:chOff x="269241" y="4842232"/>
                <a:chExt cx="11911328" cy="1926964"/>
              </a:xfrm>
            </p:grpSpPr>
            <p:pic>
              <p:nvPicPr>
                <p:cNvPr id="16" name="Graphic 15">
                  <a:extLst>
                    <a:ext uri="{FF2B5EF4-FFF2-40B4-BE49-F238E27FC236}">
                      <a16:creationId xmlns:a16="http://schemas.microsoft.com/office/drawing/2014/main" id="{B75CB8E5-8CAA-4D7F-A17B-E836F5D06B5F}"/>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t="1" r="16311" b="48531"/>
                <a:stretch/>
              </p:blipFill>
              <p:spPr>
                <a:xfrm>
                  <a:off x="6610088" y="4842232"/>
                  <a:ext cx="5570481" cy="1926963"/>
                </a:xfrm>
                <a:prstGeom prst="rect">
                  <a:avLst/>
                </a:prstGeom>
              </p:spPr>
            </p:pic>
            <p:pic>
              <p:nvPicPr>
                <p:cNvPr id="17" name="Graphic 16">
                  <a:extLst>
                    <a:ext uri="{FF2B5EF4-FFF2-40B4-BE49-F238E27FC236}">
                      <a16:creationId xmlns:a16="http://schemas.microsoft.com/office/drawing/2014/main" id="{6C6C0ADC-4414-4F5F-BCDD-2FE5AC9AF018}"/>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6928" t="1602" b="49765"/>
                <a:stretch/>
              </p:blipFill>
              <p:spPr>
                <a:xfrm>
                  <a:off x="269241" y="4902201"/>
                  <a:ext cx="6352278" cy="1866995"/>
                </a:xfrm>
                <a:custGeom>
                  <a:avLst/>
                  <a:gdLst>
                    <a:gd name="connsiteX0" fmla="*/ 1097537 w 6352278"/>
                    <a:gd name="connsiteY0" fmla="*/ 0 h 1955800"/>
                    <a:gd name="connsiteX1" fmla="*/ 6352278 w 6352278"/>
                    <a:gd name="connsiteY1" fmla="*/ 0 h 1955800"/>
                    <a:gd name="connsiteX2" fmla="*/ 6352278 w 6352278"/>
                    <a:gd name="connsiteY2" fmla="*/ 1955800 h 1955800"/>
                    <a:gd name="connsiteX3" fmla="*/ 30416 w 6352278"/>
                    <a:gd name="connsiteY3" fmla="*/ 1955800 h 1955800"/>
                    <a:gd name="connsiteX4" fmla="*/ 22298 w 6352278"/>
                    <a:gd name="connsiteY4" fmla="*/ 1929650 h 1955800"/>
                    <a:gd name="connsiteX5" fmla="*/ 0 w 6352278"/>
                    <a:gd name="connsiteY5" fmla="*/ 1708457 h 1955800"/>
                    <a:gd name="connsiteX6" fmla="*/ 0 w 6352278"/>
                    <a:gd name="connsiteY6" fmla="*/ 1097537 h 1955800"/>
                    <a:gd name="connsiteX7" fmla="*/ 1097537 w 6352278"/>
                    <a:gd name="connsiteY7" fmla="*/ 0 h 195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2278" h="1955800">
                      <a:moveTo>
                        <a:pt x="1097537" y="0"/>
                      </a:moveTo>
                      <a:lnTo>
                        <a:pt x="6352278" y="0"/>
                      </a:lnTo>
                      <a:lnTo>
                        <a:pt x="6352278" y="1955800"/>
                      </a:lnTo>
                      <a:lnTo>
                        <a:pt x="30416" y="1955800"/>
                      </a:lnTo>
                      <a:lnTo>
                        <a:pt x="22298" y="1929650"/>
                      </a:lnTo>
                      <a:cubicBezTo>
                        <a:pt x="7678" y="1858202"/>
                        <a:pt x="0" y="1784227"/>
                        <a:pt x="0" y="1708457"/>
                      </a:cubicBezTo>
                      <a:lnTo>
                        <a:pt x="0" y="1097537"/>
                      </a:lnTo>
                      <a:cubicBezTo>
                        <a:pt x="0" y="491384"/>
                        <a:pt x="491384" y="0"/>
                        <a:pt x="1097537" y="0"/>
                      </a:cubicBezTo>
                      <a:close/>
                    </a:path>
                  </a:pathLst>
                </a:custGeom>
              </p:spPr>
            </p:pic>
          </p:grpSp>
          <p:sp>
            <p:nvSpPr>
              <p:cNvPr id="15" name="Freeform: Shape 14">
                <a:extLst>
                  <a:ext uri="{FF2B5EF4-FFF2-40B4-BE49-F238E27FC236}">
                    <a16:creationId xmlns:a16="http://schemas.microsoft.com/office/drawing/2014/main" id="{DA1C8058-0ECC-4BF4-B494-E66D3723A0E8}"/>
                  </a:ext>
                  <a:ext uri="{C183D7F6-B498-43B3-948B-1728B52AA6E4}">
                    <adec:decorative xmlns:adec="http://schemas.microsoft.com/office/drawing/2017/decorative" val="1"/>
                  </a:ext>
                </a:extLst>
              </p:cNvPr>
              <p:cNvSpPr/>
              <p:nvPr/>
            </p:nvSpPr>
            <p:spPr>
              <a:xfrm rot="10800000">
                <a:off x="274638" y="5077609"/>
                <a:ext cx="12160953" cy="1916916"/>
              </a:xfrm>
              <a:custGeom>
                <a:avLst/>
                <a:gdLst>
                  <a:gd name="connsiteX0" fmla="*/ 10669828 w 11724030"/>
                  <a:gd name="connsiteY0" fmla="*/ 1968304 h 1968304"/>
                  <a:gd name="connsiteX1" fmla="*/ 0 w 11724030"/>
                  <a:gd name="connsiteY1" fmla="*/ 1968304 h 1968304"/>
                  <a:gd name="connsiteX2" fmla="*/ 3103706 w 11724030"/>
                  <a:gd name="connsiteY2" fmla="*/ 0 h 1968304"/>
                  <a:gd name="connsiteX3" fmla="*/ 11724030 w 11724030"/>
                  <a:gd name="connsiteY3" fmla="*/ 0 h 1968304"/>
                  <a:gd name="connsiteX4" fmla="*/ 11724030 w 11724030"/>
                  <a:gd name="connsiteY4" fmla="*/ 914085 h 1968304"/>
                  <a:gd name="connsiteX5" fmla="*/ 10669828 w 11724030"/>
                  <a:gd name="connsiteY5" fmla="*/ 1968304 h 1968304"/>
                  <a:gd name="connsiteX0" fmla="*/ 3103706 w 11724030"/>
                  <a:gd name="connsiteY0" fmla="*/ 0 h 1968304"/>
                  <a:gd name="connsiteX1" fmla="*/ 11724030 w 11724030"/>
                  <a:gd name="connsiteY1" fmla="*/ 0 h 1968304"/>
                  <a:gd name="connsiteX2" fmla="*/ 11724030 w 11724030"/>
                  <a:gd name="connsiteY2" fmla="*/ 914085 h 1968304"/>
                  <a:gd name="connsiteX3" fmla="*/ 10669828 w 11724030"/>
                  <a:gd name="connsiteY3" fmla="*/ 1968304 h 1968304"/>
                  <a:gd name="connsiteX4" fmla="*/ 0 w 11724030"/>
                  <a:gd name="connsiteY4" fmla="*/ 1968304 h 1968304"/>
                  <a:gd name="connsiteX5" fmla="*/ 3195146 w 11724030"/>
                  <a:gd name="connsiteY5" fmla="*/ 91440 h 1968304"/>
                  <a:gd name="connsiteX0" fmla="*/ 3103706 w 11724030"/>
                  <a:gd name="connsiteY0" fmla="*/ 0 h 1968304"/>
                  <a:gd name="connsiteX1" fmla="*/ 11724030 w 11724030"/>
                  <a:gd name="connsiteY1" fmla="*/ 0 h 1968304"/>
                  <a:gd name="connsiteX2" fmla="*/ 11724030 w 11724030"/>
                  <a:gd name="connsiteY2" fmla="*/ 914085 h 1968304"/>
                  <a:gd name="connsiteX3" fmla="*/ 10669828 w 11724030"/>
                  <a:gd name="connsiteY3" fmla="*/ 1968304 h 1968304"/>
                  <a:gd name="connsiteX4" fmla="*/ 0 w 11724030"/>
                  <a:gd name="connsiteY4" fmla="*/ 1968304 h 1968304"/>
                  <a:gd name="connsiteX0" fmla="*/ 11724030 w 11724030"/>
                  <a:gd name="connsiteY0" fmla="*/ 0 h 1968304"/>
                  <a:gd name="connsiteX1" fmla="*/ 11724030 w 11724030"/>
                  <a:gd name="connsiteY1" fmla="*/ 914085 h 1968304"/>
                  <a:gd name="connsiteX2" fmla="*/ 10669828 w 11724030"/>
                  <a:gd name="connsiteY2" fmla="*/ 1968304 h 1968304"/>
                  <a:gd name="connsiteX3" fmla="*/ 0 w 11724030"/>
                  <a:gd name="connsiteY3" fmla="*/ 1968304 h 1968304"/>
                </a:gdLst>
                <a:ahLst/>
                <a:cxnLst>
                  <a:cxn ang="0">
                    <a:pos x="connsiteX0" y="connsiteY0"/>
                  </a:cxn>
                  <a:cxn ang="0">
                    <a:pos x="connsiteX1" y="connsiteY1"/>
                  </a:cxn>
                  <a:cxn ang="0">
                    <a:pos x="connsiteX2" y="connsiteY2"/>
                  </a:cxn>
                  <a:cxn ang="0">
                    <a:pos x="connsiteX3" y="connsiteY3"/>
                  </a:cxn>
                </a:cxnLst>
                <a:rect l="l" t="t" r="r" b="b"/>
                <a:pathLst>
                  <a:path w="11724030" h="1968304">
                    <a:moveTo>
                      <a:pt x="11724030" y="0"/>
                    </a:moveTo>
                    <a:lnTo>
                      <a:pt x="11724030" y="914085"/>
                    </a:lnTo>
                    <a:cubicBezTo>
                      <a:pt x="11724030" y="1496304"/>
                      <a:pt x="11252037" y="1968304"/>
                      <a:pt x="10669828" y="1968304"/>
                    </a:cubicBezTo>
                    <a:lnTo>
                      <a:pt x="0" y="1968304"/>
                    </a:lnTo>
                  </a:path>
                </a:pathLst>
              </a:custGeom>
              <a:noFill/>
              <a:ln w="127000" cap="flat">
                <a:solidFill>
                  <a:srgbClr val="FFC000"/>
                </a:solidFill>
                <a:prstDash val="solid"/>
                <a:miter/>
              </a:ln>
            </p:spPr>
            <p:txBody>
              <a:bodyPr rtlCol="0" anchor="ctr"/>
              <a:lstStyle/>
              <a:p>
                <a:pPr defTabSz="932597"/>
                <a:endParaRPr lang="en-US" sz="1836" dirty="0">
                  <a:solidFill>
                    <a:srgbClr val="1A1A1A"/>
                  </a:solidFill>
                  <a:latin typeface="Segoe UI"/>
                </a:endParaRPr>
              </a:p>
            </p:txBody>
          </p:sp>
        </p:grpSp>
        <p:sp>
          <p:nvSpPr>
            <p:cNvPr id="12" name="Oval 11">
              <a:extLst>
                <a:ext uri="{FF2B5EF4-FFF2-40B4-BE49-F238E27FC236}">
                  <a16:creationId xmlns:a16="http://schemas.microsoft.com/office/drawing/2014/main" id="{995AE3A0-9DE5-4C22-A69F-E9C02D3C563E}"/>
                </a:ext>
              </a:extLst>
            </p:cNvPr>
            <p:cNvSpPr/>
            <p:nvPr/>
          </p:nvSpPr>
          <p:spPr bwMode="auto">
            <a:xfrm>
              <a:off x="1677797" y="5016623"/>
              <a:ext cx="128016" cy="128016"/>
            </a:xfrm>
            <a:prstGeom prst="ellipse">
              <a:avLst/>
            </a:prstGeom>
            <a:solidFill>
              <a:srgbClr val="FEF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E4AAB896-74FA-438D-83E2-4007930357CA}"/>
                </a:ext>
              </a:extLst>
            </p:cNvPr>
            <p:cNvSpPr/>
            <p:nvPr/>
          </p:nvSpPr>
          <p:spPr bwMode="auto">
            <a:xfrm>
              <a:off x="7912222" y="5009632"/>
              <a:ext cx="128016" cy="128016"/>
            </a:xfrm>
            <a:prstGeom prst="ellipse">
              <a:avLst/>
            </a:prstGeom>
            <a:solidFill>
              <a:srgbClr val="FEF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963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Module best practices </a:t>
            </a:r>
          </a:p>
        </p:txBody>
      </p:sp>
    </p:spTree>
    <p:extLst>
      <p:ext uri="{BB962C8B-B14F-4D97-AF65-F5344CB8AC3E}">
        <p14:creationId xmlns:p14="http://schemas.microsoft.com/office/powerpoint/2010/main" val="67518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sz="3600" dirty="0">
                <a:solidFill>
                  <a:srgbClr val="002060"/>
                </a:solidFill>
                <a:cs typeface="Segoe UI"/>
              </a:rPr>
              <a:t>Tips for Module 1 – Core Azure concepts</a:t>
            </a:r>
          </a:p>
        </p:txBody>
      </p:sp>
      <p:grpSp>
        <p:nvGrpSpPr>
          <p:cNvPr id="24" name="Group 23">
            <a:extLst>
              <a:ext uri="{FF2B5EF4-FFF2-40B4-BE49-F238E27FC236}">
                <a16:creationId xmlns:a16="http://schemas.microsoft.com/office/drawing/2014/main" id="{1341B864-36CB-4DD9-B7DF-73E293CD8BA9}"/>
              </a:ext>
              <a:ext uri="{C183D7F6-B498-43B3-948B-1728B52AA6E4}">
                <adec:decorative xmlns:adec="http://schemas.microsoft.com/office/drawing/2017/decorative" val="1"/>
              </a:ext>
            </a:extLst>
          </p:cNvPr>
          <p:cNvGrpSpPr/>
          <p:nvPr/>
        </p:nvGrpSpPr>
        <p:grpSpPr>
          <a:xfrm>
            <a:off x="0" y="3591611"/>
            <a:ext cx="12415781" cy="3741226"/>
            <a:chOff x="-1353" y="3155242"/>
            <a:chExt cx="12173439" cy="3668202"/>
          </a:xfrm>
        </p:grpSpPr>
        <p:grpSp>
          <p:nvGrpSpPr>
            <p:cNvPr id="25" name="Group 24">
              <a:extLst>
                <a:ext uri="{FF2B5EF4-FFF2-40B4-BE49-F238E27FC236}">
                  <a16:creationId xmlns:a16="http://schemas.microsoft.com/office/drawing/2014/main" id="{097500E3-BB86-4374-B767-1BAAEDC3681C}"/>
                </a:ext>
                <a:ext uri="{C183D7F6-B498-43B3-948B-1728B52AA6E4}">
                  <adec:decorative xmlns:adec="http://schemas.microsoft.com/office/drawing/2017/decorative" val="1"/>
                </a:ext>
              </a:extLst>
            </p:cNvPr>
            <p:cNvGrpSpPr/>
            <p:nvPr/>
          </p:nvGrpSpPr>
          <p:grpSpPr>
            <a:xfrm>
              <a:off x="0" y="5698819"/>
              <a:ext cx="12172086" cy="1124625"/>
              <a:chOff x="0" y="5679322"/>
              <a:chExt cx="12172086" cy="1178678"/>
            </a:xfrm>
          </p:grpSpPr>
          <p:pic>
            <p:nvPicPr>
              <p:cNvPr id="31" name="Graphic 30">
                <a:extLst>
                  <a:ext uri="{FF2B5EF4-FFF2-40B4-BE49-F238E27FC236}">
                    <a16:creationId xmlns:a16="http://schemas.microsoft.com/office/drawing/2014/main" id="{C007971B-7E40-40DD-A87A-107FBEDCE29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32" t="22359" b="46159"/>
              <a:stretch/>
            </p:blipFill>
            <p:spPr>
              <a:xfrm>
                <a:off x="0" y="5679322"/>
                <a:ext cx="6614167" cy="1178677"/>
              </a:xfrm>
              <a:prstGeom prst="rect">
                <a:avLst/>
              </a:prstGeom>
            </p:spPr>
          </p:pic>
          <p:pic>
            <p:nvPicPr>
              <p:cNvPr id="32" name="Graphic 31">
                <a:extLst>
                  <a:ext uri="{FF2B5EF4-FFF2-40B4-BE49-F238E27FC236}">
                    <a16:creationId xmlns:a16="http://schemas.microsoft.com/office/drawing/2014/main" id="{66911C37-C015-42A5-A491-CF392B9A654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t="22359" r="16311" b="46159"/>
              <a:stretch/>
            </p:blipFill>
            <p:spPr>
              <a:xfrm>
                <a:off x="6601605" y="5679324"/>
                <a:ext cx="5570481" cy="1178676"/>
              </a:xfrm>
              <a:prstGeom prst="rect">
                <a:avLst/>
              </a:prstGeom>
            </p:spPr>
          </p:pic>
        </p:grpSp>
        <p:grpSp>
          <p:nvGrpSpPr>
            <p:cNvPr id="26" name="Group 25">
              <a:extLst>
                <a:ext uri="{FF2B5EF4-FFF2-40B4-BE49-F238E27FC236}">
                  <a16:creationId xmlns:a16="http://schemas.microsoft.com/office/drawing/2014/main" id="{F6AAF251-F8B7-4142-8ACA-5525325EA098}"/>
                </a:ext>
              </a:extLst>
            </p:cNvPr>
            <p:cNvGrpSpPr/>
            <p:nvPr/>
          </p:nvGrpSpPr>
          <p:grpSpPr>
            <a:xfrm>
              <a:off x="-1353" y="3155242"/>
              <a:ext cx="1419811" cy="3593281"/>
              <a:chOff x="-1353" y="3155242"/>
              <a:chExt cx="1419811" cy="3593281"/>
            </a:xfrm>
          </p:grpSpPr>
          <p:sp>
            <p:nvSpPr>
              <p:cNvPr id="27" name="Freeform: Shape 26">
                <a:extLst>
                  <a:ext uri="{FF2B5EF4-FFF2-40B4-BE49-F238E27FC236}">
                    <a16:creationId xmlns:a16="http://schemas.microsoft.com/office/drawing/2014/main" id="{BED5F083-C587-4701-BC79-9681829F7E98}"/>
                  </a:ext>
                  <a:ext uri="{C183D7F6-B498-43B3-948B-1728B52AA6E4}">
                    <adec:decorative xmlns:adec="http://schemas.microsoft.com/office/drawing/2017/decorative" val="1"/>
                  </a:ext>
                </a:extLst>
              </p:cNvPr>
              <p:cNvSpPr/>
              <p:nvPr/>
            </p:nvSpPr>
            <p:spPr bwMode="auto">
              <a:xfrm>
                <a:off x="-1" y="4444409"/>
                <a:ext cx="1169581" cy="1828800"/>
              </a:xfrm>
              <a:custGeom>
                <a:avLst/>
                <a:gdLst>
                  <a:gd name="connsiteX0" fmla="*/ 0 w 1190846"/>
                  <a:gd name="connsiteY0" fmla="*/ 244549 h 1828800"/>
                  <a:gd name="connsiteX1" fmla="*/ 0 w 1190846"/>
                  <a:gd name="connsiteY1" fmla="*/ 1828800 h 1828800"/>
                  <a:gd name="connsiteX2" fmla="*/ 558209 w 1190846"/>
                  <a:gd name="connsiteY2" fmla="*/ 1302489 h 1828800"/>
                  <a:gd name="connsiteX3" fmla="*/ 1190846 w 1190846"/>
                  <a:gd name="connsiteY3" fmla="*/ 584791 h 1828800"/>
                  <a:gd name="connsiteX4" fmla="*/ 1121735 w 1190846"/>
                  <a:gd name="connsiteY4" fmla="*/ 202019 h 1828800"/>
                  <a:gd name="connsiteX5" fmla="*/ 1010093 w 1190846"/>
                  <a:gd name="connsiteY5" fmla="*/ 0 h 1828800"/>
                  <a:gd name="connsiteX6" fmla="*/ 0 w 1190846"/>
                  <a:gd name="connsiteY6" fmla="*/ 244549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0846" h="1828800">
                    <a:moveTo>
                      <a:pt x="0" y="244549"/>
                    </a:moveTo>
                    <a:lnTo>
                      <a:pt x="0" y="1828800"/>
                    </a:lnTo>
                    <a:lnTo>
                      <a:pt x="558209" y="1302489"/>
                    </a:lnTo>
                    <a:lnTo>
                      <a:pt x="1190846" y="584791"/>
                    </a:lnTo>
                    <a:lnTo>
                      <a:pt x="1121735" y="202019"/>
                    </a:lnTo>
                    <a:lnTo>
                      <a:pt x="1010093" y="0"/>
                    </a:lnTo>
                    <a:lnTo>
                      <a:pt x="0" y="244549"/>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C2200CF0-2418-47D0-8468-E19C18925ECF}"/>
                  </a:ext>
                </a:extLst>
              </p:cNvPr>
              <p:cNvGrpSpPr/>
              <p:nvPr/>
            </p:nvGrpSpPr>
            <p:grpSpPr>
              <a:xfrm>
                <a:off x="-1353" y="3155242"/>
                <a:ext cx="1419811" cy="3593281"/>
                <a:chOff x="-1353" y="3155242"/>
                <a:chExt cx="1419811" cy="3593281"/>
              </a:xfrm>
            </p:grpSpPr>
            <p:pic>
              <p:nvPicPr>
                <p:cNvPr id="29" name="Graphic 28">
                  <a:extLst>
                    <a:ext uri="{FF2B5EF4-FFF2-40B4-BE49-F238E27FC236}">
                      <a16:creationId xmlns:a16="http://schemas.microsoft.com/office/drawing/2014/main" id="{728F061B-A6AC-4D80-AFE6-3B984D40AB41}"/>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l="14928" t="24838" r="73426" b="22767"/>
                <a:stretch/>
              </p:blipFill>
              <p:spPr>
                <a:xfrm rot="10800000">
                  <a:off x="-1353" y="3155242"/>
                  <a:ext cx="1419811" cy="3593281"/>
                </a:xfrm>
                <a:prstGeom prst="rect">
                  <a:avLst/>
                </a:prstGeom>
              </p:spPr>
            </p:pic>
            <p:sp>
              <p:nvSpPr>
                <p:cNvPr id="30" name="Oval 29">
                  <a:extLst>
                    <a:ext uri="{FF2B5EF4-FFF2-40B4-BE49-F238E27FC236}">
                      <a16:creationId xmlns:a16="http://schemas.microsoft.com/office/drawing/2014/main" id="{29373917-C9F7-4F8B-B6A8-47BDE59ED832}"/>
                    </a:ext>
                    <a:ext uri="{C183D7F6-B498-43B3-948B-1728B52AA6E4}">
                      <adec:decorative xmlns:adec="http://schemas.microsoft.com/office/drawing/2017/decorative" val="1"/>
                    </a:ext>
                  </a:extLst>
                </p:cNvPr>
                <p:cNvSpPr/>
                <p:nvPr/>
              </p:nvSpPr>
              <p:spPr bwMode="auto">
                <a:xfrm>
                  <a:off x="183810" y="3600697"/>
                  <a:ext cx="121291" cy="121291"/>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sp>
        <p:nvSpPr>
          <p:cNvPr id="4" name="Text Placeholder 2">
            <a:extLst>
              <a:ext uri="{FF2B5EF4-FFF2-40B4-BE49-F238E27FC236}">
                <a16:creationId xmlns:a16="http://schemas.microsoft.com/office/drawing/2014/main" id="{3001A362-CFC3-4203-9C34-D8EB01D02E29}"/>
              </a:ext>
            </a:extLst>
          </p:cNvPr>
          <p:cNvSpPr txBox="1">
            <a:spLocks/>
          </p:cNvSpPr>
          <p:nvPr/>
        </p:nvSpPr>
        <p:spPr>
          <a:xfrm>
            <a:off x="587031" y="1532301"/>
            <a:ext cx="5800232" cy="2690075"/>
          </a:xfrm>
          <a:prstGeom prst="rect">
            <a:avLst/>
          </a:prstGeom>
          <a:solidFill>
            <a:schemeClr val="bg1"/>
          </a:solidFill>
        </p:spPr>
        <p:txBody>
          <a:bodyPr wrap="square" lIns="182880" tIns="182880" rIns="186521" bIns="182880"/>
          <a:lst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Building the foundation of the cloud</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Key terms, Cloud services, Cloud Models</a:t>
            </a:r>
          </a:p>
          <a:p>
            <a:pPr>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rchitectural Components</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ubscriptions, Resources groups, Regions, Availability Zones</a:t>
            </a:r>
          </a:p>
          <a:p>
            <a:pPr marL="285750" lvl="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Use storytelling and case studies </a:t>
            </a:r>
          </a:p>
          <a:p>
            <a:pPr marL="285750" lvl="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ocus on real institution examples</a:t>
            </a:r>
          </a:p>
        </p:txBody>
      </p:sp>
      <p:pic>
        <p:nvPicPr>
          <p:cNvPr id="3" name="Picture 2">
            <a:extLst>
              <a:ext uri="{FF2B5EF4-FFF2-40B4-BE49-F238E27FC236}">
                <a16:creationId xmlns:a16="http://schemas.microsoft.com/office/drawing/2014/main" id="{BE8A4ABB-F6C8-49A6-9B55-6C332FD3F450}"/>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7874598" y="1532301"/>
            <a:ext cx="2578314" cy="2576055"/>
          </a:xfrm>
          <a:prstGeom prst="rect">
            <a:avLst/>
          </a:prstGeom>
        </p:spPr>
      </p:pic>
    </p:spTree>
    <p:extLst>
      <p:ext uri="{BB962C8B-B14F-4D97-AF65-F5344CB8AC3E}">
        <p14:creationId xmlns:p14="http://schemas.microsoft.com/office/powerpoint/2010/main" val="363022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sz="3600" dirty="0">
                <a:solidFill>
                  <a:srgbClr val="002060"/>
                </a:solidFill>
                <a:cs typeface="Segoe UI"/>
              </a:rPr>
              <a:t>Tips for Module 2 – Core Azure services</a:t>
            </a:r>
          </a:p>
        </p:txBody>
      </p:sp>
      <p:sp>
        <p:nvSpPr>
          <p:cNvPr id="4" name="Text Placeholder 2">
            <a:extLst>
              <a:ext uri="{FF2B5EF4-FFF2-40B4-BE49-F238E27FC236}">
                <a16:creationId xmlns:a16="http://schemas.microsoft.com/office/drawing/2014/main" id="{3001A362-CFC3-4203-9C34-D8EB01D02E29}"/>
              </a:ext>
            </a:extLst>
          </p:cNvPr>
          <p:cNvSpPr txBox="1">
            <a:spLocks/>
          </p:cNvSpPr>
          <p:nvPr/>
        </p:nvSpPr>
        <p:spPr>
          <a:xfrm>
            <a:off x="587031" y="1465547"/>
            <a:ext cx="5800232" cy="2885922"/>
          </a:xfrm>
          <a:prstGeom prst="rect">
            <a:avLst/>
          </a:prstGeom>
          <a:solidFill>
            <a:schemeClr val="bg1"/>
          </a:solidFill>
        </p:spPr>
        <p:txBody>
          <a:bodyPr wrap="square" lIns="182880" tIns="182880" rIns="186521" bIns="182880"/>
          <a:lst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Break up into multiple sessions </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Use storytelling and case studies</a:t>
            </a:r>
          </a:p>
          <a:p>
            <a:pPr marL="285750" lvl="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Explore databases</a:t>
            </a:r>
          </a:p>
          <a:p>
            <a:pPr marL="285750" lvl="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Explore compute services </a:t>
            </a:r>
          </a:p>
          <a:p>
            <a:pPr marL="285750" lvl="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Explore storage services</a:t>
            </a:r>
          </a:p>
          <a:p>
            <a:pPr marL="285750" lvl="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Explore networking services</a:t>
            </a:r>
          </a:p>
          <a:p>
            <a:pPr marL="285750" lvl="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hoose most appropriate demos</a:t>
            </a:r>
          </a:p>
          <a:p>
            <a:pPr marL="285750" lvl="0" indent="-285750">
              <a:lnSpc>
                <a:spcPct val="100000"/>
              </a:lnSpc>
              <a:spcBef>
                <a:spcPts val="0"/>
              </a:spcBef>
              <a:spcAft>
                <a:spcPts val="300"/>
              </a:spcAft>
              <a:buFont typeface="Arial" panose="020B0604020202020204" pitchFamily="34" charset="0"/>
              <a:buChar char="•"/>
            </a:pPr>
            <a:endPar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779EB91C-AA8C-46CD-BE78-EA9B4086218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40934" y="1609305"/>
            <a:ext cx="2731496" cy="2742164"/>
          </a:xfrm>
          <a:prstGeom prst="rect">
            <a:avLst/>
          </a:prstGeom>
        </p:spPr>
      </p:pic>
    </p:spTree>
    <p:extLst>
      <p:ext uri="{BB962C8B-B14F-4D97-AF65-F5344CB8AC3E}">
        <p14:creationId xmlns:p14="http://schemas.microsoft.com/office/powerpoint/2010/main" val="2363983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sz="3600" dirty="0">
                <a:solidFill>
                  <a:srgbClr val="002060"/>
                </a:solidFill>
                <a:cs typeface="Segoe UI"/>
              </a:rPr>
              <a:t>Tips for Module 3 – Core solutions and management tools</a:t>
            </a:r>
          </a:p>
        </p:txBody>
      </p:sp>
      <p:grpSp>
        <p:nvGrpSpPr>
          <p:cNvPr id="24" name="Group 23">
            <a:extLst>
              <a:ext uri="{FF2B5EF4-FFF2-40B4-BE49-F238E27FC236}">
                <a16:creationId xmlns:a16="http://schemas.microsoft.com/office/drawing/2014/main" id="{1341B864-36CB-4DD9-B7DF-73E293CD8BA9}"/>
              </a:ext>
              <a:ext uri="{C183D7F6-B498-43B3-948B-1728B52AA6E4}">
                <adec:decorative xmlns:adec="http://schemas.microsoft.com/office/drawing/2017/decorative" val="1"/>
              </a:ext>
            </a:extLst>
          </p:cNvPr>
          <p:cNvGrpSpPr/>
          <p:nvPr/>
        </p:nvGrpSpPr>
        <p:grpSpPr>
          <a:xfrm>
            <a:off x="-6618" y="4480183"/>
            <a:ext cx="12415781" cy="3741226"/>
            <a:chOff x="-1353" y="3155242"/>
            <a:chExt cx="12173439" cy="3668202"/>
          </a:xfrm>
        </p:grpSpPr>
        <p:grpSp>
          <p:nvGrpSpPr>
            <p:cNvPr id="25" name="Group 24">
              <a:extLst>
                <a:ext uri="{FF2B5EF4-FFF2-40B4-BE49-F238E27FC236}">
                  <a16:creationId xmlns:a16="http://schemas.microsoft.com/office/drawing/2014/main" id="{097500E3-BB86-4374-B767-1BAAEDC3681C}"/>
                </a:ext>
                <a:ext uri="{C183D7F6-B498-43B3-948B-1728B52AA6E4}">
                  <adec:decorative xmlns:adec="http://schemas.microsoft.com/office/drawing/2017/decorative" val="1"/>
                </a:ext>
              </a:extLst>
            </p:cNvPr>
            <p:cNvGrpSpPr/>
            <p:nvPr/>
          </p:nvGrpSpPr>
          <p:grpSpPr>
            <a:xfrm>
              <a:off x="0" y="5698819"/>
              <a:ext cx="12172086" cy="1124625"/>
              <a:chOff x="0" y="5679322"/>
              <a:chExt cx="12172086" cy="1178678"/>
            </a:xfrm>
          </p:grpSpPr>
          <p:pic>
            <p:nvPicPr>
              <p:cNvPr id="31" name="Graphic 30">
                <a:extLst>
                  <a:ext uri="{FF2B5EF4-FFF2-40B4-BE49-F238E27FC236}">
                    <a16:creationId xmlns:a16="http://schemas.microsoft.com/office/drawing/2014/main" id="{C007971B-7E40-40DD-A87A-107FBEDCE29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32" t="22359" b="46159"/>
              <a:stretch/>
            </p:blipFill>
            <p:spPr>
              <a:xfrm>
                <a:off x="0" y="5679322"/>
                <a:ext cx="6614167" cy="1178677"/>
              </a:xfrm>
              <a:prstGeom prst="rect">
                <a:avLst/>
              </a:prstGeom>
            </p:spPr>
          </p:pic>
          <p:pic>
            <p:nvPicPr>
              <p:cNvPr id="32" name="Graphic 31">
                <a:extLst>
                  <a:ext uri="{FF2B5EF4-FFF2-40B4-BE49-F238E27FC236}">
                    <a16:creationId xmlns:a16="http://schemas.microsoft.com/office/drawing/2014/main" id="{66911C37-C015-42A5-A491-CF392B9A654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t="22359" r="16311" b="46159"/>
              <a:stretch/>
            </p:blipFill>
            <p:spPr>
              <a:xfrm>
                <a:off x="6601605" y="5679324"/>
                <a:ext cx="5570481" cy="1178676"/>
              </a:xfrm>
              <a:prstGeom prst="rect">
                <a:avLst/>
              </a:prstGeom>
            </p:spPr>
          </p:pic>
        </p:grpSp>
        <p:grpSp>
          <p:nvGrpSpPr>
            <p:cNvPr id="26" name="Group 25">
              <a:extLst>
                <a:ext uri="{FF2B5EF4-FFF2-40B4-BE49-F238E27FC236}">
                  <a16:creationId xmlns:a16="http://schemas.microsoft.com/office/drawing/2014/main" id="{F6AAF251-F8B7-4142-8ACA-5525325EA098}"/>
                </a:ext>
              </a:extLst>
            </p:cNvPr>
            <p:cNvGrpSpPr/>
            <p:nvPr/>
          </p:nvGrpSpPr>
          <p:grpSpPr>
            <a:xfrm>
              <a:off x="-1353" y="3155242"/>
              <a:ext cx="1419811" cy="3593281"/>
              <a:chOff x="-1353" y="3155242"/>
              <a:chExt cx="1419811" cy="3593281"/>
            </a:xfrm>
          </p:grpSpPr>
          <p:sp>
            <p:nvSpPr>
              <p:cNvPr id="27" name="Freeform: Shape 26">
                <a:extLst>
                  <a:ext uri="{FF2B5EF4-FFF2-40B4-BE49-F238E27FC236}">
                    <a16:creationId xmlns:a16="http://schemas.microsoft.com/office/drawing/2014/main" id="{BED5F083-C587-4701-BC79-9681829F7E98}"/>
                  </a:ext>
                  <a:ext uri="{C183D7F6-B498-43B3-948B-1728B52AA6E4}">
                    <adec:decorative xmlns:adec="http://schemas.microsoft.com/office/drawing/2017/decorative" val="1"/>
                  </a:ext>
                </a:extLst>
              </p:cNvPr>
              <p:cNvSpPr/>
              <p:nvPr/>
            </p:nvSpPr>
            <p:spPr bwMode="auto">
              <a:xfrm>
                <a:off x="-1" y="4444409"/>
                <a:ext cx="1169581" cy="1828800"/>
              </a:xfrm>
              <a:custGeom>
                <a:avLst/>
                <a:gdLst>
                  <a:gd name="connsiteX0" fmla="*/ 0 w 1190846"/>
                  <a:gd name="connsiteY0" fmla="*/ 244549 h 1828800"/>
                  <a:gd name="connsiteX1" fmla="*/ 0 w 1190846"/>
                  <a:gd name="connsiteY1" fmla="*/ 1828800 h 1828800"/>
                  <a:gd name="connsiteX2" fmla="*/ 558209 w 1190846"/>
                  <a:gd name="connsiteY2" fmla="*/ 1302489 h 1828800"/>
                  <a:gd name="connsiteX3" fmla="*/ 1190846 w 1190846"/>
                  <a:gd name="connsiteY3" fmla="*/ 584791 h 1828800"/>
                  <a:gd name="connsiteX4" fmla="*/ 1121735 w 1190846"/>
                  <a:gd name="connsiteY4" fmla="*/ 202019 h 1828800"/>
                  <a:gd name="connsiteX5" fmla="*/ 1010093 w 1190846"/>
                  <a:gd name="connsiteY5" fmla="*/ 0 h 1828800"/>
                  <a:gd name="connsiteX6" fmla="*/ 0 w 1190846"/>
                  <a:gd name="connsiteY6" fmla="*/ 244549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0846" h="1828800">
                    <a:moveTo>
                      <a:pt x="0" y="244549"/>
                    </a:moveTo>
                    <a:lnTo>
                      <a:pt x="0" y="1828800"/>
                    </a:lnTo>
                    <a:lnTo>
                      <a:pt x="558209" y="1302489"/>
                    </a:lnTo>
                    <a:lnTo>
                      <a:pt x="1190846" y="584791"/>
                    </a:lnTo>
                    <a:lnTo>
                      <a:pt x="1121735" y="202019"/>
                    </a:lnTo>
                    <a:lnTo>
                      <a:pt x="1010093" y="0"/>
                    </a:lnTo>
                    <a:lnTo>
                      <a:pt x="0" y="244549"/>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C2200CF0-2418-47D0-8468-E19C18925ECF}"/>
                  </a:ext>
                </a:extLst>
              </p:cNvPr>
              <p:cNvGrpSpPr/>
              <p:nvPr/>
            </p:nvGrpSpPr>
            <p:grpSpPr>
              <a:xfrm>
                <a:off x="-1353" y="3155242"/>
                <a:ext cx="1419811" cy="3593281"/>
                <a:chOff x="-1353" y="3155242"/>
                <a:chExt cx="1419811" cy="3593281"/>
              </a:xfrm>
            </p:grpSpPr>
            <p:pic>
              <p:nvPicPr>
                <p:cNvPr id="29" name="Graphic 28">
                  <a:extLst>
                    <a:ext uri="{FF2B5EF4-FFF2-40B4-BE49-F238E27FC236}">
                      <a16:creationId xmlns:a16="http://schemas.microsoft.com/office/drawing/2014/main" id="{728F061B-A6AC-4D80-AFE6-3B984D40AB41}"/>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l="14928" t="24838" r="73426" b="22767"/>
                <a:stretch/>
              </p:blipFill>
              <p:spPr>
                <a:xfrm rot="10800000">
                  <a:off x="-1353" y="3155242"/>
                  <a:ext cx="1419811" cy="3593281"/>
                </a:xfrm>
                <a:prstGeom prst="rect">
                  <a:avLst/>
                </a:prstGeom>
              </p:spPr>
            </p:pic>
            <p:sp>
              <p:nvSpPr>
                <p:cNvPr id="30" name="Oval 29">
                  <a:extLst>
                    <a:ext uri="{FF2B5EF4-FFF2-40B4-BE49-F238E27FC236}">
                      <a16:creationId xmlns:a16="http://schemas.microsoft.com/office/drawing/2014/main" id="{29373917-C9F7-4F8B-B6A8-47BDE59ED832}"/>
                    </a:ext>
                    <a:ext uri="{C183D7F6-B498-43B3-948B-1728B52AA6E4}">
                      <adec:decorative xmlns:adec="http://schemas.microsoft.com/office/drawing/2017/decorative" val="1"/>
                    </a:ext>
                  </a:extLst>
                </p:cNvPr>
                <p:cNvSpPr/>
                <p:nvPr/>
              </p:nvSpPr>
              <p:spPr bwMode="auto">
                <a:xfrm>
                  <a:off x="183810" y="3600697"/>
                  <a:ext cx="121291" cy="121291"/>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sp>
        <p:nvSpPr>
          <p:cNvPr id="4" name="Text Placeholder 2">
            <a:extLst>
              <a:ext uri="{FF2B5EF4-FFF2-40B4-BE49-F238E27FC236}">
                <a16:creationId xmlns:a16="http://schemas.microsoft.com/office/drawing/2014/main" id="{3001A362-CFC3-4203-9C34-D8EB01D02E29}"/>
              </a:ext>
            </a:extLst>
          </p:cNvPr>
          <p:cNvSpPr txBox="1">
            <a:spLocks/>
          </p:cNvSpPr>
          <p:nvPr/>
        </p:nvSpPr>
        <p:spPr>
          <a:xfrm>
            <a:off x="597313" y="1247438"/>
            <a:ext cx="5800232" cy="3840930"/>
          </a:xfrm>
          <a:prstGeom prst="rect">
            <a:avLst/>
          </a:prstGeom>
          <a:solidFill>
            <a:schemeClr val="bg1"/>
          </a:solidFill>
        </p:spPr>
        <p:txBody>
          <a:bodyPr wrap="square" lIns="182880" tIns="182880" rIns="186521" bIns="182880"/>
          <a:lst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rtificial Intelligence services</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Tools for organization </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evops, Github, DevTest Labs</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onitoring services</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dvisor, Monitor, Service Health</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zure Management tools</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cripting languages</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erverless Computing </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IoT services </a:t>
            </a:r>
          </a:p>
          <a:p>
            <a:pPr marL="285750" lvl="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hoose most appropriate demos</a:t>
            </a:r>
          </a:p>
        </p:txBody>
      </p:sp>
      <p:pic>
        <p:nvPicPr>
          <p:cNvPr id="5" name="Graphic 4">
            <a:extLst>
              <a:ext uri="{FF2B5EF4-FFF2-40B4-BE49-F238E27FC236}">
                <a16:creationId xmlns:a16="http://schemas.microsoft.com/office/drawing/2014/main" id="{69A0138C-77D9-40F2-ACF6-5D98049C3E94}"/>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899835" y="1571925"/>
            <a:ext cx="3199966" cy="3199966"/>
          </a:xfrm>
          <a:prstGeom prst="rect">
            <a:avLst/>
          </a:prstGeom>
        </p:spPr>
      </p:pic>
    </p:spTree>
    <p:extLst>
      <p:ext uri="{BB962C8B-B14F-4D97-AF65-F5344CB8AC3E}">
        <p14:creationId xmlns:p14="http://schemas.microsoft.com/office/powerpoint/2010/main" val="2551010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sz="3600" dirty="0">
                <a:solidFill>
                  <a:srgbClr val="002060"/>
                </a:solidFill>
                <a:cs typeface="Segoe UI"/>
              </a:rPr>
              <a:t>Tips for Module 4 – General security and network security features</a:t>
            </a:r>
          </a:p>
        </p:txBody>
      </p:sp>
      <p:sp>
        <p:nvSpPr>
          <p:cNvPr id="4" name="Text Placeholder 2">
            <a:extLst>
              <a:ext uri="{FF2B5EF4-FFF2-40B4-BE49-F238E27FC236}">
                <a16:creationId xmlns:a16="http://schemas.microsoft.com/office/drawing/2014/main" id="{3001A362-CFC3-4203-9C34-D8EB01D02E29}"/>
              </a:ext>
            </a:extLst>
          </p:cNvPr>
          <p:cNvSpPr txBox="1">
            <a:spLocks/>
          </p:cNvSpPr>
          <p:nvPr/>
        </p:nvSpPr>
        <p:spPr>
          <a:xfrm>
            <a:off x="394990" y="1654082"/>
            <a:ext cx="6136084" cy="2044926"/>
          </a:xfrm>
          <a:prstGeom prst="rect">
            <a:avLst/>
          </a:prstGeom>
          <a:solidFill>
            <a:schemeClr val="bg1"/>
          </a:solidFill>
        </p:spPr>
        <p:txBody>
          <a:bodyPr wrap="square" lIns="182880" tIns="182880" rIns="186521" bIns="182880"/>
          <a:lst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lvl="0" indent="-228600" defTabSz="950846" fontAlgn="base">
              <a:lnSpc>
                <a:spcPct val="100000"/>
              </a:lnSpc>
              <a:spcBef>
                <a:spcPts val="0"/>
              </a:spcBef>
              <a:spcAft>
                <a:spcPts val="600"/>
              </a:spcAft>
              <a:buSzTx/>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Incorporate whiteboarding or diagrams (Firewall versus Network Security Group) </a:t>
            </a:r>
          </a:p>
          <a:p>
            <a:pPr marL="342900" lvl="0" indent="-228600" defTabSz="950846" fontAlgn="base">
              <a:lnSpc>
                <a:spcPct val="100000"/>
              </a:lnSpc>
              <a:spcBef>
                <a:spcPts val="0"/>
              </a:spcBef>
              <a:spcAft>
                <a:spcPts val="600"/>
              </a:spcAft>
              <a:buSzTx/>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Use examples around security solutions</a:t>
            </a:r>
          </a:p>
          <a:p>
            <a:pPr marL="342900" lvl="0" indent="-228600" defTabSz="950846" fontAlgn="base">
              <a:lnSpc>
                <a:spcPct val="100000"/>
              </a:lnSpc>
              <a:spcBef>
                <a:spcPts val="0"/>
              </a:spcBef>
              <a:spcAft>
                <a:spcPts val="600"/>
              </a:spcAft>
              <a:buSzTx/>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emo Azure Security Center</a:t>
            </a:r>
          </a:p>
          <a:p>
            <a:pPr marL="342900" lvl="0" indent="-228600" defTabSz="950846" fontAlgn="base">
              <a:lnSpc>
                <a:spcPct val="100000"/>
              </a:lnSpc>
              <a:spcBef>
                <a:spcPts val="0"/>
              </a:spcBef>
              <a:spcAft>
                <a:spcPts val="600"/>
              </a:spcAft>
              <a:buSzTx/>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emo Azure Key Vault </a:t>
            </a:r>
          </a:p>
        </p:txBody>
      </p:sp>
      <p:grpSp>
        <p:nvGrpSpPr>
          <p:cNvPr id="29" name="Group 28">
            <a:extLst>
              <a:ext uri="{FF2B5EF4-FFF2-40B4-BE49-F238E27FC236}">
                <a16:creationId xmlns:a16="http://schemas.microsoft.com/office/drawing/2014/main" id="{0F8AD78D-E2CE-4ABB-9601-81866EB073BC}"/>
              </a:ext>
              <a:ext uri="{C183D7F6-B498-43B3-948B-1728B52AA6E4}">
                <adec:decorative xmlns:adec="http://schemas.microsoft.com/office/drawing/2017/decorative" val="1"/>
              </a:ext>
            </a:extLst>
          </p:cNvPr>
          <p:cNvGrpSpPr/>
          <p:nvPr/>
        </p:nvGrpSpPr>
        <p:grpSpPr>
          <a:xfrm>
            <a:off x="3" y="3974829"/>
            <a:ext cx="12434715" cy="2908039"/>
            <a:chOff x="0" y="4006722"/>
            <a:chExt cx="12192000" cy="2851278"/>
          </a:xfrm>
          <a:solidFill>
            <a:schemeClr val="bg1">
              <a:alpha val="40000"/>
            </a:schemeClr>
          </a:solidFill>
        </p:grpSpPr>
        <p:pic>
          <p:nvPicPr>
            <p:cNvPr id="30" name="Graphic 29">
              <a:extLst>
                <a:ext uri="{FF2B5EF4-FFF2-40B4-BE49-F238E27FC236}">
                  <a16:creationId xmlns:a16="http://schemas.microsoft.com/office/drawing/2014/main" id="{52AC1C19-0571-449C-AC5B-EA2BCF4B061E}"/>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57330" t="18683" r="22453" b="46159"/>
            <a:stretch/>
          </p:blipFill>
          <p:spPr>
            <a:xfrm>
              <a:off x="10844283" y="4284481"/>
              <a:ext cx="1347717" cy="1318259"/>
            </a:xfrm>
            <a:custGeom>
              <a:avLst/>
              <a:gdLst>
                <a:gd name="connsiteX0" fmla="*/ 1347717 w 1347717"/>
                <a:gd name="connsiteY0" fmla="*/ 0 h 1318259"/>
                <a:gd name="connsiteX1" fmla="*/ 1347717 w 1347717"/>
                <a:gd name="connsiteY1" fmla="*/ 1318259 h 1318259"/>
                <a:gd name="connsiteX2" fmla="*/ 0 w 1347717"/>
                <a:gd name="connsiteY2" fmla="*/ 1318259 h 1318259"/>
              </a:gdLst>
              <a:ahLst/>
              <a:cxnLst>
                <a:cxn ang="0">
                  <a:pos x="connsiteX0" y="connsiteY0"/>
                </a:cxn>
                <a:cxn ang="0">
                  <a:pos x="connsiteX1" y="connsiteY1"/>
                </a:cxn>
                <a:cxn ang="0">
                  <a:pos x="connsiteX2" y="connsiteY2"/>
                </a:cxn>
              </a:cxnLst>
              <a:rect l="l" t="t" r="r" b="b"/>
              <a:pathLst>
                <a:path w="1347717" h="1318259">
                  <a:moveTo>
                    <a:pt x="1347717" y="0"/>
                  </a:moveTo>
                  <a:lnTo>
                    <a:pt x="1347717" y="1318259"/>
                  </a:lnTo>
                  <a:lnTo>
                    <a:pt x="0" y="1318259"/>
                  </a:lnTo>
                  <a:close/>
                </a:path>
              </a:pathLst>
            </a:custGeom>
          </p:spPr>
        </p:pic>
        <p:pic>
          <p:nvPicPr>
            <p:cNvPr id="31" name="Graphic 30">
              <a:extLst>
                <a:ext uri="{FF2B5EF4-FFF2-40B4-BE49-F238E27FC236}">
                  <a16:creationId xmlns:a16="http://schemas.microsoft.com/office/drawing/2014/main" id="{9FF37523-9681-48B0-9F59-4CE9185D6476}"/>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32" t="22548" b="66173"/>
            <a:stretch/>
          </p:blipFill>
          <p:spPr>
            <a:xfrm>
              <a:off x="0" y="6435726"/>
              <a:ext cx="6614167" cy="422274"/>
            </a:xfrm>
            <a:custGeom>
              <a:avLst/>
              <a:gdLst>
                <a:gd name="connsiteX0" fmla="*/ 0 w 6614167"/>
                <a:gd name="connsiteY0" fmla="*/ 0 h 422274"/>
                <a:gd name="connsiteX1" fmla="*/ 6614167 w 6614167"/>
                <a:gd name="connsiteY1" fmla="*/ 0 h 422274"/>
                <a:gd name="connsiteX2" fmla="*/ 6614167 w 6614167"/>
                <a:gd name="connsiteY2" fmla="*/ 422274 h 422274"/>
                <a:gd name="connsiteX3" fmla="*/ 0 w 6614167"/>
                <a:gd name="connsiteY3" fmla="*/ 422274 h 422274"/>
              </a:gdLst>
              <a:ahLst/>
              <a:cxnLst>
                <a:cxn ang="0">
                  <a:pos x="connsiteX0" y="connsiteY0"/>
                </a:cxn>
                <a:cxn ang="0">
                  <a:pos x="connsiteX1" y="connsiteY1"/>
                </a:cxn>
                <a:cxn ang="0">
                  <a:pos x="connsiteX2" y="connsiteY2"/>
                </a:cxn>
                <a:cxn ang="0">
                  <a:pos x="connsiteX3" y="connsiteY3"/>
                </a:cxn>
              </a:cxnLst>
              <a:rect l="l" t="t" r="r" b="b"/>
              <a:pathLst>
                <a:path w="6614167" h="422274">
                  <a:moveTo>
                    <a:pt x="0" y="0"/>
                  </a:moveTo>
                  <a:lnTo>
                    <a:pt x="6614167" y="0"/>
                  </a:lnTo>
                  <a:lnTo>
                    <a:pt x="6614167" y="422274"/>
                  </a:lnTo>
                  <a:lnTo>
                    <a:pt x="0" y="422274"/>
                  </a:lnTo>
                  <a:close/>
                </a:path>
              </a:pathLst>
            </a:custGeom>
          </p:spPr>
        </p:pic>
        <p:pic>
          <p:nvPicPr>
            <p:cNvPr id="32" name="Graphic 31">
              <a:extLst>
                <a:ext uri="{FF2B5EF4-FFF2-40B4-BE49-F238E27FC236}">
                  <a16:creationId xmlns:a16="http://schemas.microsoft.com/office/drawing/2014/main" id="{23959096-DEC0-4F90-90C1-70B4DF00BC6A}"/>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r="16311" b="66173"/>
            <a:stretch/>
          </p:blipFill>
          <p:spPr>
            <a:xfrm>
              <a:off x="6601605" y="5591531"/>
              <a:ext cx="5570481" cy="1266469"/>
            </a:xfrm>
            <a:custGeom>
              <a:avLst/>
              <a:gdLst>
                <a:gd name="connsiteX0" fmla="*/ 4225979 w 5570481"/>
                <a:gd name="connsiteY0" fmla="*/ 0 h 1266469"/>
                <a:gd name="connsiteX1" fmla="*/ 5570481 w 5570481"/>
                <a:gd name="connsiteY1" fmla="*/ 0 h 1266469"/>
                <a:gd name="connsiteX2" fmla="*/ 5570481 w 5570481"/>
                <a:gd name="connsiteY2" fmla="*/ 1266469 h 1266469"/>
                <a:gd name="connsiteX3" fmla="*/ 0 w 5570481"/>
                <a:gd name="connsiteY3" fmla="*/ 1266469 h 1266469"/>
                <a:gd name="connsiteX4" fmla="*/ 0 w 5570481"/>
                <a:gd name="connsiteY4" fmla="*/ 861735 h 1266469"/>
                <a:gd name="connsiteX5" fmla="*/ 3182183 w 5570481"/>
                <a:gd name="connsiteY5" fmla="*/ 861735 h 1266469"/>
                <a:gd name="connsiteX6" fmla="*/ 3182183 w 5570481"/>
                <a:gd name="connsiteY6" fmla="*/ 627170 h 1266469"/>
                <a:gd name="connsiteX7" fmla="*/ 3280583 w 5570481"/>
                <a:gd name="connsiteY7" fmla="*/ 739419 h 1266469"/>
                <a:gd name="connsiteX8" fmla="*/ 3690158 w 5570481"/>
                <a:gd name="connsiteY8" fmla="*/ 553682 h 126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481" h="1266469">
                  <a:moveTo>
                    <a:pt x="4225979" y="0"/>
                  </a:moveTo>
                  <a:lnTo>
                    <a:pt x="5570481" y="0"/>
                  </a:lnTo>
                  <a:lnTo>
                    <a:pt x="5570481" y="1266469"/>
                  </a:lnTo>
                  <a:lnTo>
                    <a:pt x="0" y="1266469"/>
                  </a:lnTo>
                  <a:lnTo>
                    <a:pt x="0" y="861735"/>
                  </a:lnTo>
                  <a:lnTo>
                    <a:pt x="3182183" y="861735"/>
                  </a:lnTo>
                  <a:lnTo>
                    <a:pt x="3182183" y="627170"/>
                  </a:lnTo>
                  <a:lnTo>
                    <a:pt x="3280583" y="739419"/>
                  </a:lnTo>
                  <a:lnTo>
                    <a:pt x="3690158" y="553682"/>
                  </a:lnTo>
                  <a:close/>
                </a:path>
              </a:pathLst>
            </a:custGeom>
          </p:spPr>
        </p:pic>
        <p:grpSp>
          <p:nvGrpSpPr>
            <p:cNvPr id="33" name="Group 32">
              <a:extLst>
                <a:ext uri="{FF2B5EF4-FFF2-40B4-BE49-F238E27FC236}">
                  <a16:creationId xmlns:a16="http://schemas.microsoft.com/office/drawing/2014/main" id="{8BC0F72F-6F0D-4BA6-BB8A-004650473D8C}"/>
                </a:ext>
              </a:extLst>
            </p:cNvPr>
            <p:cNvGrpSpPr/>
            <p:nvPr/>
          </p:nvGrpSpPr>
          <p:grpSpPr>
            <a:xfrm>
              <a:off x="0" y="4006722"/>
              <a:ext cx="12192000" cy="2800385"/>
              <a:chOff x="0" y="2395590"/>
              <a:chExt cx="12192000" cy="2800385"/>
            </a:xfrm>
            <a:grpFill/>
          </p:grpSpPr>
          <p:pic>
            <p:nvPicPr>
              <p:cNvPr id="34" name="Graphic 33">
                <a:extLst>
                  <a:ext uri="{FF2B5EF4-FFF2-40B4-BE49-F238E27FC236}">
                    <a16:creationId xmlns:a16="http://schemas.microsoft.com/office/drawing/2014/main" id="{CFE9C434-F1ED-4FCE-B9F7-B1C53269D7DE}"/>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b="59166"/>
              <a:stretch/>
            </p:blipFill>
            <p:spPr>
              <a:xfrm>
                <a:off x="0" y="2395590"/>
                <a:ext cx="12192000" cy="2800385"/>
              </a:xfrm>
              <a:prstGeom prst="rect">
                <a:avLst/>
              </a:prstGeom>
            </p:spPr>
          </p:pic>
          <p:sp>
            <p:nvSpPr>
              <p:cNvPr id="35" name="Oval 34">
                <a:extLst>
                  <a:ext uri="{FF2B5EF4-FFF2-40B4-BE49-F238E27FC236}">
                    <a16:creationId xmlns:a16="http://schemas.microsoft.com/office/drawing/2014/main" id="{9CE1890B-BD74-4EC2-AD79-AAFA10B62AC7}"/>
                  </a:ext>
                  <a:ext uri="{C183D7F6-B498-43B3-948B-1728B52AA6E4}">
                    <adec:decorative xmlns:adec="http://schemas.microsoft.com/office/drawing/2017/decorative" val="1"/>
                  </a:ext>
                </a:extLst>
              </p:cNvPr>
              <p:cNvSpPr/>
              <p:nvPr/>
            </p:nvSpPr>
            <p:spPr bwMode="auto">
              <a:xfrm>
                <a:off x="2662455" y="4804246"/>
                <a:ext cx="121291" cy="12129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6" name="Oval 35">
                <a:extLst>
                  <a:ext uri="{FF2B5EF4-FFF2-40B4-BE49-F238E27FC236}">
                    <a16:creationId xmlns:a16="http://schemas.microsoft.com/office/drawing/2014/main" id="{5FCC6CD8-88B3-49CC-9651-6FB84BA723BB}"/>
                  </a:ext>
                  <a:ext uri="{C183D7F6-B498-43B3-948B-1728B52AA6E4}">
                    <adec:decorative xmlns:adec="http://schemas.microsoft.com/office/drawing/2017/decorative" val="1"/>
                  </a:ext>
                </a:extLst>
              </p:cNvPr>
              <p:cNvSpPr/>
              <p:nvPr/>
            </p:nvSpPr>
            <p:spPr bwMode="auto">
              <a:xfrm>
                <a:off x="6248011" y="4804246"/>
                <a:ext cx="121291" cy="12129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pic>
        <p:nvPicPr>
          <p:cNvPr id="2" name="Graphic 1">
            <a:extLst>
              <a:ext uri="{FF2B5EF4-FFF2-40B4-BE49-F238E27FC236}">
                <a16:creationId xmlns:a16="http://schemas.microsoft.com/office/drawing/2014/main" id="{642D6B0F-82C8-4CFB-B969-E93542679ADE}"/>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763000" y="1212851"/>
            <a:ext cx="1954894" cy="2403866"/>
          </a:xfrm>
          <a:prstGeom prst="rect">
            <a:avLst/>
          </a:prstGeom>
        </p:spPr>
      </p:pic>
    </p:spTree>
    <p:extLst>
      <p:ext uri="{BB962C8B-B14F-4D97-AF65-F5344CB8AC3E}">
        <p14:creationId xmlns:p14="http://schemas.microsoft.com/office/powerpoint/2010/main" val="155045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sz="3600" dirty="0">
                <a:solidFill>
                  <a:srgbClr val="002060"/>
                </a:solidFill>
                <a:cs typeface="Segoe UI"/>
              </a:rPr>
              <a:t>Tips for Module 5 – Identity, governance, privacy and compliance features</a:t>
            </a:r>
          </a:p>
        </p:txBody>
      </p:sp>
      <p:grpSp>
        <p:nvGrpSpPr>
          <p:cNvPr id="24" name="Group 23">
            <a:extLst>
              <a:ext uri="{FF2B5EF4-FFF2-40B4-BE49-F238E27FC236}">
                <a16:creationId xmlns:a16="http://schemas.microsoft.com/office/drawing/2014/main" id="{1341B864-36CB-4DD9-B7DF-73E293CD8BA9}"/>
              </a:ext>
              <a:ext uri="{C183D7F6-B498-43B3-948B-1728B52AA6E4}">
                <adec:decorative xmlns:adec="http://schemas.microsoft.com/office/drawing/2017/decorative" val="1"/>
              </a:ext>
            </a:extLst>
          </p:cNvPr>
          <p:cNvGrpSpPr/>
          <p:nvPr/>
        </p:nvGrpSpPr>
        <p:grpSpPr>
          <a:xfrm>
            <a:off x="0" y="4641168"/>
            <a:ext cx="12415781" cy="3741226"/>
            <a:chOff x="-1353" y="3155242"/>
            <a:chExt cx="12173439" cy="3668202"/>
          </a:xfrm>
        </p:grpSpPr>
        <p:grpSp>
          <p:nvGrpSpPr>
            <p:cNvPr id="25" name="Group 24">
              <a:extLst>
                <a:ext uri="{FF2B5EF4-FFF2-40B4-BE49-F238E27FC236}">
                  <a16:creationId xmlns:a16="http://schemas.microsoft.com/office/drawing/2014/main" id="{097500E3-BB86-4374-B767-1BAAEDC3681C}"/>
                </a:ext>
                <a:ext uri="{C183D7F6-B498-43B3-948B-1728B52AA6E4}">
                  <adec:decorative xmlns:adec="http://schemas.microsoft.com/office/drawing/2017/decorative" val="1"/>
                </a:ext>
              </a:extLst>
            </p:cNvPr>
            <p:cNvGrpSpPr/>
            <p:nvPr/>
          </p:nvGrpSpPr>
          <p:grpSpPr>
            <a:xfrm>
              <a:off x="0" y="5698819"/>
              <a:ext cx="12172086" cy="1124625"/>
              <a:chOff x="0" y="5679322"/>
              <a:chExt cx="12172086" cy="1178678"/>
            </a:xfrm>
          </p:grpSpPr>
          <p:pic>
            <p:nvPicPr>
              <p:cNvPr id="31" name="Graphic 30">
                <a:extLst>
                  <a:ext uri="{FF2B5EF4-FFF2-40B4-BE49-F238E27FC236}">
                    <a16:creationId xmlns:a16="http://schemas.microsoft.com/office/drawing/2014/main" id="{C007971B-7E40-40DD-A87A-107FBEDCE29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32" t="22359" b="46159"/>
              <a:stretch/>
            </p:blipFill>
            <p:spPr>
              <a:xfrm>
                <a:off x="0" y="5679322"/>
                <a:ext cx="6614167" cy="1178677"/>
              </a:xfrm>
              <a:prstGeom prst="rect">
                <a:avLst/>
              </a:prstGeom>
            </p:spPr>
          </p:pic>
          <p:pic>
            <p:nvPicPr>
              <p:cNvPr id="32" name="Graphic 31">
                <a:extLst>
                  <a:ext uri="{FF2B5EF4-FFF2-40B4-BE49-F238E27FC236}">
                    <a16:creationId xmlns:a16="http://schemas.microsoft.com/office/drawing/2014/main" id="{66911C37-C015-42A5-A491-CF392B9A654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t="22359" r="16311" b="46159"/>
              <a:stretch/>
            </p:blipFill>
            <p:spPr>
              <a:xfrm>
                <a:off x="6601605" y="5679324"/>
                <a:ext cx="5570481" cy="1178676"/>
              </a:xfrm>
              <a:prstGeom prst="rect">
                <a:avLst/>
              </a:prstGeom>
            </p:spPr>
          </p:pic>
        </p:grpSp>
        <p:grpSp>
          <p:nvGrpSpPr>
            <p:cNvPr id="26" name="Group 25">
              <a:extLst>
                <a:ext uri="{FF2B5EF4-FFF2-40B4-BE49-F238E27FC236}">
                  <a16:creationId xmlns:a16="http://schemas.microsoft.com/office/drawing/2014/main" id="{F6AAF251-F8B7-4142-8ACA-5525325EA098}"/>
                </a:ext>
              </a:extLst>
            </p:cNvPr>
            <p:cNvGrpSpPr/>
            <p:nvPr/>
          </p:nvGrpSpPr>
          <p:grpSpPr>
            <a:xfrm>
              <a:off x="-1353" y="3155242"/>
              <a:ext cx="1419811" cy="3593281"/>
              <a:chOff x="-1353" y="3155242"/>
              <a:chExt cx="1419811" cy="3593281"/>
            </a:xfrm>
          </p:grpSpPr>
          <p:sp>
            <p:nvSpPr>
              <p:cNvPr id="27" name="Freeform: Shape 26">
                <a:extLst>
                  <a:ext uri="{FF2B5EF4-FFF2-40B4-BE49-F238E27FC236}">
                    <a16:creationId xmlns:a16="http://schemas.microsoft.com/office/drawing/2014/main" id="{BED5F083-C587-4701-BC79-9681829F7E98}"/>
                  </a:ext>
                  <a:ext uri="{C183D7F6-B498-43B3-948B-1728B52AA6E4}">
                    <adec:decorative xmlns:adec="http://schemas.microsoft.com/office/drawing/2017/decorative" val="1"/>
                  </a:ext>
                </a:extLst>
              </p:cNvPr>
              <p:cNvSpPr/>
              <p:nvPr/>
            </p:nvSpPr>
            <p:spPr bwMode="auto">
              <a:xfrm>
                <a:off x="-1" y="4444409"/>
                <a:ext cx="1169581" cy="1828800"/>
              </a:xfrm>
              <a:custGeom>
                <a:avLst/>
                <a:gdLst>
                  <a:gd name="connsiteX0" fmla="*/ 0 w 1190846"/>
                  <a:gd name="connsiteY0" fmla="*/ 244549 h 1828800"/>
                  <a:gd name="connsiteX1" fmla="*/ 0 w 1190846"/>
                  <a:gd name="connsiteY1" fmla="*/ 1828800 h 1828800"/>
                  <a:gd name="connsiteX2" fmla="*/ 558209 w 1190846"/>
                  <a:gd name="connsiteY2" fmla="*/ 1302489 h 1828800"/>
                  <a:gd name="connsiteX3" fmla="*/ 1190846 w 1190846"/>
                  <a:gd name="connsiteY3" fmla="*/ 584791 h 1828800"/>
                  <a:gd name="connsiteX4" fmla="*/ 1121735 w 1190846"/>
                  <a:gd name="connsiteY4" fmla="*/ 202019 h 1828800"/>
                  <a:gd name="connsiteX5" fmla="*/ 1010093 w 1190846"/>
                  <a:gd name="connsiteY5" fmla="*/ 0 h 1828800"/>
                  <a:gd name="connsiteX6" fmla="*/ 0 w 1190846"/>
                  <a:gd name="connsiteY6" fmla="*/ 244549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0846" h="1828800">
                    <a:moveTo>
                      <a:pt x="0" y="244549"/>
                    </a:moveTo>
                    <a:lnTo>
                      <a:pt x="0" y="1828800"/>
                    </a:lnTo>
                    <a:lnTo>
                      <a:pt x="558209" y="1302489"/>
                    </a:lnTo>
                    <a:lnTo>
                      <a:pt x="1190846" y="584791"/>
                    </a:lnTo>
                    <a:lnTo>
                      <a:pt x="1121735" y="202019"/>
                    </a:lnTo>
                    <a:lnTo>
                      <a:pt x="1010093" y="0"/>
                    </a:lnTo>
                    <a:lnTo>
                      <a:pt x="0" y="244549"/>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C2200CF0-2418-47D0-8468-E19C18925ECF}"/>
                  </a:ext>
                </a:extLst>
              </p:cNvPr>
              <p:cNvGrpSpPr/>
              <p:nvPr/>
            </p:nvGrpSpPr>
            <p:grpSpPr>
              <a:xfrm>
                <a:off x="-1353" y="3155242"/>
                <a:ext cx="1419811" cy="3593281"/>
                <a:chOff x="-1353" y="3155242"/>
                <a:chExt cx="1419811" cy="3593281"/>
              </a:xfrm>
            </p:grpSpPr>
            <p:pic>
              <p:nvPicPr>
                <p:cNvPr id="29" name="Graphic 28">
                  <a:extLst>
                    <a:ext uri="{FF2B5EF4-FFF2-40B4-BE49-F238E27FC236}">
                      <a16:creationId xmlns:a16="http://schemas.microsoft.com/office/drawing/2014/main" id="{728F061B-A6AC-4D80-AFE6-3B984D40AB41}"/>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l="14928" t="24838" r="73426" b="22767"/>
                <a:stretch/>
              </p:blipFill>
              <p:spPr>
                <a:xfrm rot="10800000">
                  <a:off x="-1353" y="3155242"/>
                  <a:ext cx="1419811" cy="3593281"/>
                </a:xfrm>
                <a:prstGeom prst="rect">
                  <a:avLst/>
                </a:prstGeom>
              </p:spPr>
            </p:pic>
            <p:sp>
              <p:nvSpPr>
                <p:cNvPr id="30" name="Oval 29">
                  <a:extLst>
                    <a:ext uri="{FF2B5EF4-FFF2-40B4-BE49-F238E27FC236}">
                      <a16:creationId xmlns:a16="http://schemas.microsoft.com/office/drawing/2014/main" id="{29373917-C9F7-4F8B-B6A8-47BDE59ED832}"/>
                    </a:ext>
                    <a:ext uri="{C183D7F6-B498-43B3-948B-1728B52AA6E4}">
                      <adec:decorative xmlns:adec="http://schemas.microsoft.com/office/drawing/2017/decorative" val="1"/>
                    </a:ext>
                  </a:extLst>
                </p:cNvPr>
                <p:cNvSpPr/>
                <p:nvPr/>
              </p:nvSpPr>
              <p:spPr bwMode="auto">
                <a:xfrm>
                  <a:off x="183810" y="3600697"/>
                  <a:ext cx="121291" cy="121291"/>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sp>
        <p:nvSpPr>
          <p:cNvPr id="4" name="Text Placeholder 2">
            <a:extLst>
              <a:ext uri="{FF2B5EF4-FFF2-40B4-BE49-F238E27FC236}">
                <a16:creationId xmlns:a16="http://schemas.microsoft.com/office/drawing/2014/main" id="{3001A362-CFC3-4203-9C34-D8EB01D02E29}"/>
              </a:ext>
            </a:extLst>
          </p:cNvPr>
          <p:cNvSpPr txBox="1">
            <a:spLocks/>
          </p:cNvSpPr>
          <p:nvPr/>
        </p:nvSpPr>
        <p:spPr>
          <a:xfrm>
            <a:off x="576601" y="1758040"/>
            <a:ext cx="5800232" cy="3354550"/>
          </a:xfrm>
          <a:prstGeom prst="rect">
            <a:avLst/>
          </a:prstGeom>
          <a:solidFill>
            <a:schemeClr val="bg1"/>
          </a:solidFill>
        </p:spPr>
        <p:txBody>
          <a:bodyPr wrap="square" lIns="182880" tIns="182880" rIns="186521" bIns="182880"/>
          <a:lst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Identity services</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uthentication versus Authorization </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zure Active Directory</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loud governance strategy </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loud adoption journey</a:t>
            </a:r>
          </a:p>
          <a:p>
            <a:pPr lvl="1">
              <a:lnSpc>
                <a:spcPct val="100000"/>
              </a:lnSpc>
              <a:spcBef>
                <a:spcPts val="0"/>
              </a:spcBef>
              <a:spcAft>
                <a:spcPts val="600"/>
              </a:spcAft>
              <a:buFont typeface="Wingdings" panose="05000000000000000000" pitchFamily="2" charset="2"/>
              <a:buChar char="Ø"/>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ubscription governance, RBAC, Resource locks, Tags Azure Policy</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Use Service Trust Portal, </a:t>
            </a: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hlinkClick r:id="rId7"/>
              </a:rPr>
              <a:t>Trust Center</a:t>
            </a: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 websites instead of slides</a:t>
            </a:r>
          </a:p>
        </p:txBody>
      </p:sp>
      <p:pic>
        <p:nvPicPr>
          <p:cNvPr id="2" name="Graphic 1">
            <a:extLst>
              <a:ext uri="{FF2B5EF4-FFF2-40B4-BE49-F238E27FC236}">
                <a16:creationId xmlns:a16="http://schemas.microsoft.com/office/drawing/2014/main" id="{1B447E95-4BBD-466F-95F6-25084DA1E87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835374" y="1989911"/>
            <a:ext cx="2721789" cy="2721789"/>
          </a:xfrm>
          <a:prstGeom prst="rect">
            <a:avLst/>
          </a:prstGeom>
        </p:spPr>
      </p:pic>
    </p:spTree>
    <p:extLst>
      <p:ext uri="{BB962C8B-B14F-4D97-AF65-F5344CB8AC3E}">
        <p14:creationId xmlns:p14="http://schemas.microsoft.com/office/powerpoint/2010/main" val="3685125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a:xfrm>
            <a:off x="274639" y="295276"/>
            <a:ext cx="12060678" cy="1199258"/>
          </a:xfrm>
        </p:spPr>
        <p:txBody>
          <a:bodyPr/>
          <a:lstStyle/>
          <a:p>
            <a:r>
              <a:rPr lang="en-US" sz="3600" dirty="0">
                <a:solidFill>
                  <a:srgbClr val="002060"/>
                </a:solidFill>
                <a:cs typeface="Segoe UI"/>
              </a:rPr>
              <a:t>Tips for Module 6 – Azure cost management and Service Level Agreements</a:t>
            </a:r>
          </a:p>
        </p:txBody>
      </p:sp>
      <p:sp>
        <p:nvSpPr>
          <p:cNvPr id="4" name="Text Placeholder 2">
            <a:extLst>
              <a:ext uri="{FF2B5EF4-FFF2-40B4-BE49-F238E27FC236}">
                <a16:creationId xmlns:a16="http://schemas.microsoft.com/office/drawing/2014/main" id="{3001A362-CFC3-4203-9C34-D8EB01D02E29}"/>
              </a:ext>
            </a:extLst>
          </p:cNvPr>
          <p:cNvSpPr txBox="1">
            <a:spLocks/>
          </p:cNvSpPr>
          <p:nvPr/>
        </p:nvSpPr>
        <p:spPr>
          <a:xfrm>
            <a:off x="407864" y="1768567"/>
            <a:ext cx="6138398" cy="1774014"/>
          </a:xfrm>
          <a:prstGeom prst="rect">
            <a:avLst/>
          </a:prstGeom>
          <a:solidFill>
            <a:schemeClr val="bg1"/>
          </a:solidFill>
        </p:spPr>
        <p:txBody>
          <a:bodyPr wrap="square" lIns="182880" tIns="182880" rIns="186521" bIns="182880"/>
          <a:lst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285750" defTabSz="950846" fontAlgn="base">
              <a:lnSpc>
                <a:spcPct val="100000"/>
              </a:lnSpc>
              <a:spcBef>
                <a:spcPts val="0"/>
              </a:spcBef>
              <a:spcAft>
                <a:spcPts val="600"/>
              </a:spcAft>
              <a:buSzTx/>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emo Azure Pricing Calculator</a:t>
            </a:r>
          </a:p>
          <a:p>
            <a:pPr marL="514350" indent="-285750" defTabSz="950846" fontAlgn="base">
              <a:lnSpc>
                <a:spcPct val="100000"/>
              </a:lnSpc>
              <a:spcBef>
                <a:spcPts val="0"/>
              </a:spcBef>
              <a:spcAft>
                <a:spcPts val="600"/>
              </a:spcAft>
              <a:buSzTx/>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emo Total Cost of Ownership (TCO) calculator</a:t>
            </a:r>
          </a:p>
          <a:p>
            <a:pPr marL="514350" indent="-285750" defTabSz="950846" fontAlgn="base">
              <a:lnSpc>
                <a:spcPct val="100000"/>
              </a:lnSpc>
              <a:spcBef>
                <a:spcPts val="0"/>
              </a:spcBef>
              <a:spcAft>
                <a:spcPts val="600"/>
              </a:spcAft>
              <a:buSzTx/>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Explain Service Level Agreements </a:t>
            </a:r>
          </a:p>
          <a:p>
            <a:pPr marL="514350" indent="-285750" defTabSz="950846" fontAlgn="base">
              <a:lnSpc>
                <a:spcPct val="100000"/>
              </a:lnSpc>
              <a:spcBef>
                <a:spcPts val="0"/>
              </a:spcBef>
              <a:spcAft>
                <a:spcPts val="600"/>
              </a:spcAft>
              <a:buSzTx/>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Explain preview services and preview features</a:t>
            </a:r>
          </a:p>
        </p:txBody>
      </p:sp>
      <p:pic>
        <p:nvPicPr>
          <p:cNvPr id="9" name="Picture 8">
            <a:extLst>
              <a:ext uri="{FF2B5EF4-FFF2-40B4-BE49-F238E27FC236}">
                <a16:creationId xmlns:a16="http://schemas.microsoft.com/office/drawing/2014/main" id="{3CBADDE8-10D2-49D8-9993-FBD0C2A240D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443410" y="1479080"/>
            <a:ext cx="2815570" cy="2815570"/>
          </a:xfrm>
          <a:prstGeom prst="rect">
            <a:avLst/>
          </a:prstGeom>
        </p:spPr>
      </p:pic>
      <p:grpSp>
        <p:nvGrpSpPr>
          <p:cNvPr id="10" name="Group 9">
            <a:extLst>
              <a:ext uri="{FF2B5EF4-FFF2-40B4-BE49-F238E27FC236}">
                <a16:creationId xmlns:a16="http://schemas.microsoft.com/office/drawing/2014/main" id="{CE4210CA-FDF8-4F92-A6A6-38D4A814ECB6}"/>
              </a:ext>
              <a:ext uri="{C183D7F6-B498-43B3-948B-1728B52AA6E4}">
                <adec:decorative xmlns:adec="http://schemas.microsoft.com/office/drawing/2017/decorative" val="1"/>
              </a:ext>
            </a:extLst>
          </p:cNvPr>
          <p:cNvGrpSpPr/>
          <p:nvPr/>
        </p:nvGrpSpPr>
        <p:grpSpPr>
          <a:xfrm>
            <a:off x="882" y="5749842"/>
            <a:ext cx="12434711" cy="1247254"/>
            <a:chOff x="882" y="6086392"/>
            <a:chExt cx="12434711" cy="1247254"/>
          </a:xfrm>
        </p:grpSpPr>
        <p:grpSp>
          <p:nvGrpSpPr>
            <p:cNvPr id="11" name="Group 10">
              <a:extLst>
                <a:ext uri="{FF2B5EF4-FFF2-40B4-BE49-F238E27FC236}">
                  <a16:creationId xmlns:a16="http://schemas.microsoft.com/office/drawing/2014/main" id="{5E983394-2E2F-4715-9E25-6039E41474CE}"/>
                </a:ext>
                <a:ext uri="{C183D7F6-B498-43B3-948B-1728B52AA6E4}">
                  <adec:decorative xmlns:adec="http://schemas.microsoft.com/office/drawing/2017/decorative" val="1"/>
                </a:ext>
              </a:extLst>
            </p:cNvPr>
            <p:cNvGrpSpPr/>
            <p:nvPr/>
          </p:nvGrpSpPr>
          <p:grpSpPr>
            <a:xfrm>
              <a:off x="882" y="6086392"/>
              <a:ext cx="12434711" cy="1247254"/>
              <a:chOff x="0" y="5635091"/>
              <a:chExt cx="12192000" cy="1222909"/>
            </a:xfrm>
          </p:grpSpPr>
          <p:pic>
            <p:nvPicPr>
              <p:cNvPr id="14" name="Graphic 13">
                <a:extLst>
                  <a:ext uri="{FF2B5EF4-FFF2-40B4-BE49-F238E27FC236}">
                    <a16:creationId xmlns:a16="http://schemas.microsoft.com/office/drawing/2014/main" id="{88D843E1-2B66-41E5-8527-4B9E2E368A35}"/>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0729" t="29173" r="-83499" b="46159"/>
              <a:stretch/>
            </p:blipFill>
            <p:spPr>
              <a:xfrm>
                <a:off x="1337735" y="5934456"/>
                <a:ext cx="10834351" cy="923544"/>
              </a:xfrm>
              <a:custGeom>
                <a:avLst/>
                <a:gdLst>
                  <a:gd name="connsiteX0" fmla="*/ 1202266 w 10834351"/>
                  <a:gd name="connsiteY0" fmla="*/ 0 h 923544"/>
                  <a:gd name="connsiteX1" fmla="*/ 10834351 w 10834351"/>
                  <a:gd name="connsiteY1" fmla="*/ 0 h 923544"/>
                  <a:gd name="connsiteX2" fmla="*/ 10834351 w 10834351"/>
                  <a:gd name="connsiteY2" fmla="*/ 923544 h 923544"/>
                  <a:gd name="connsiteX3" fmla="*/ 5276432 w 10834351"/>
                  <a:gd name="connsiteY3" fmla="*/ 923544 h 923544"/>
                  <a:gd name="connsiteX4" fmla="*/ 5263870 w 10834351"/>
                  <a:gd name="connsiteY4" fmla="*/ 923544 h 923544"/>
                  <a:gd name="connsiteX5" fmla="*/ 0 w 10834351"/>
                  <a:gd name="connsiteY5" fmla="*/ 923544 h 923544"/>
                  <a:gd name="connsiteX6" fmla="*/ 694266 w 10834351"/>
                  <a:gd name="connsiteY6" fmla="*/ 263144 h 923544"/>
                  <a:gd name="connsiteX7" fmla="*/ 1202266 w 10834351"/>
                  <a:gd name="connsiteY7" fmla="*/ 110744 h 92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4351" h="923544">
                    <a:moveTo>
                      <a:pt x="1202266" y="0"/>
                    </a:moveTo>
                    <a:lnTo>
                      <a:pt x="10834351" y="0"/>
                    </a:lnTo>
                    <a:lnTo>
                      <a:pt x="10834351" y="923544"/>
                    </a:lnTo>
                    <a:lnTo>
                      <a:pt x="5276432" y="923544"/>
                    </a:lnTo>
                    <a:lnTo>
                      <a:pt x="5263870" y="923544"/>
                    </a:lnTo>
                    <a:lnTo>
                      <a:pt x="0" y="923544"/>
                    </a:lnTo>
                    <a:lnTo>
                      <a:pt x="694266" y="263144"/>
                    </a:lnTo>
                    <a:lnTo>
                      <a:pt x="1202266" y="110744"/>
                    </a:lnTo>
                    <a:close/>
                  </a:path>
                </a:pathLst>
              </a:custGeom>
            </p:spPr>
          </p:pic>
          <p:pic>
            <p:nvPicPr>
              <p:cNvPr id="15" name="Graphic 14">
                <a:extLst>
                  <a:ext uri="{FF2B5EF4-FFF2-40B4-BE49-F238E27FC236}">
                    <a16:creationId xmlns:a16="http://schemas.microsoft.com/office/drawing/2014/main" id="{5824C07F-B3DD-4FCA-B6E3-4C487D679D9F}"/>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t="21933" r="16311" b="59332"/>
              <a:stretch/>
            </p:blipFill>
            <p:spPr>
              <a:xfrm>
                <a:off x="6601605" y="6045200"/>
                <a:ext cx="5570481" cy="812800"/>
              </a:xfrm>
              <a:custGeom>
                <a:avLst/>
                <a:gdLst>
                  <a:gd name="connsiteX0" fmla="*/ 0 w 5570481"/>
                  <a:gd name="connsiteY0" fmla="*/ 0 h 812800"/>
                  <a:gd name="connsiteX1" fmla="*/ 5570481 w 5570481"/>
                  <a:gd name="connsiteY1" fmla="*/ 0 h 812800"/>
                  <a:gd name="connsiteX2" fmla="*/ 5570481 w 5570481"/>
                  <a:gd name="connsiteY2" fmla="*/ 812800 h 812800"/>
                  <a:gd name="connsiteX3" fmla="*/ 0 w 5570481"/>
                  <a:gd name="connsiteY3" fmla="*/ 812800 h 812800"/>
                </a:gdLst>
                <a:ahLst/>
                <a:cxnLst>
                  <a:cxn ang="0">
                    <a:pos x="connsiteX0" y="connsiteY0"/>
                  </a:cxn>
                  <a:cxn ang="0">
                    <a:pos x="connsiteX1" y="connsiteY1"/>
                  </a:cxn>
                  <a:cxn ang="0">
                    <a:pos x="connsiteX2" y="connsiteY2"/>
                  </a:cxn>
                  <a:cxn ang="0">
                    <a:pos x="connsiteX3" y="connsiteY3"/>
                  </a:cxn>
                </a:cxnLst>
                <a:rect l="l" t="t" r="r" b="b"/>
                <a:pathLst>
                  <a:path w="5570481" h="812800">
                    <a:moveTo>
                      <a:pt x="0" y="0"/>
                    </a:moveTo>
                    <a:lnTo>
                      <a:pt x="5570481" y="0"/>
                    </a:lnTo>
                    <a:lnTo>
                      <a:pt x="5570481" y="812800"/>
                    </a:lnTo>
                    <a:lnTo>
                      <a:pt x="0" y="812800"/>
                    </a:lnTo>
                    <a:close/>
                  </a:path>
                </a:pathLst>
              </a:custGeom>
            </p:spPr>
          </p:pic>
          <p:pic>
            <p:nvPicPr>
              <p:cNvPr id="16" name="Graphic 15">
                <a:extLst>
                  <a:ext uri="{FF2B5EF4-FFF2-40B4-BE49-F238E27FC236}">
                    <a16:creationId xmlns:a16="http://schemas.microsoft.com/office/drawing/2014/main" id="{36241D82-2D27-4D9E-B0AF-5E0FECC2AD92}"/>
                  </a:ext>
                  <a:ext uri="{C183D7F6-B498-43B3-948B-1728B52AA6E4}">
                    <adec:decorative xmlns:adec="http://schemas.microsoft.com/office/drawing/2017/decorative" val="1"/>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t="23002" b="59166"/>
              <a:stretch/>
            </p:blipFill>
            <p:spPr>
              <a:xfrm rot="10800000">
                <a:off x="0" y="5635091"/>
                <a:ext cx="12192000" cy="1222909"/>
              </a:xfrm>
              <a:custGeom>
                <a:avLst/>
                <a:gdLst>
                  <a:gd name="connsiteX0" fmla="*/ 12192000 w 12192000"/>
                  <a:gd name="connsiteY0" fmla="*/ 1222909 h 1222909"/>
                  <a:gd name="connsiteX1" fmla="*/ 0 w 12192000"/>
                  <a:gd name="connsiteY1" fmla="*/ 1222909 h 1222909"/>
                  <a:gd name="connsiteX2" fmla="*/ 0 w 12192000"/>
                  <a:gd name="connsiteY2" fmla="*/ 0 h 1222909"/>
                  <a:gd name="connsiteX3" fmla="*/ 12192000 w 12192000"/>
                  <a:gd name="connsiteY3" fmla="*/ 0 h 1222909"/>
                </a:gdLst>
                <a:ahLst/>
                <a:cxnLst>
                  <a:cxn ang="0">
                    <a:pos x="connsiteX0" y="connsiteY0"/>
                  </a:cxn>
                  <a:cxn ang="0">
                    <a:pos x="connsiteX1" y="connsiteY1"/>
                  </a:cxn>
                  <a:cxn ang="0">
                    <a:pos x="connsiteX2" y="connsiteY2"/>
                  </a:cxn>
                  <a:cxn ang="0">
                    <a:pos x="connsiteX3" y="connsiteY3"/>
                  </a:cxn>
                </a:cxnLst>
                <a:rect l="l" t="t" r="r" b="b"/>
                <a:pathLst>
                  <a:path w="12192000" h="1222909">
                    <a:moveTo>
                      <a:pt x="12192000" y="1222909"/>
                    </a:moveTo>
                    <a:lnTo>
                      <a:pt x="0" y="1222909"/>
                    </a:lnTo>
                    <a:lnTo>
                      <a:pt x="0" y="0"/>
                    </a:lnTo>
                    <a:lnTo>
                      <a:pt x="12192000" y="0"/>
                    </a:lnTo>
                    <a:close/>
                  </a:path>
                </a:pathLst>
              </a:custGeom>
            </p:spPr>
          </p:pic>
        </p:grpSp>
        <p:sp>
          <p:nvSpPr>
            <p:cNvPr id="12" name="Oval 11">
              <a:extLst>
                <a:ext uri="{FF2B5EF4-FFF2-40B4-BE49-F238E27FC236}">
                  <a16:creationId xmlns:a16="http://schemas.microsoft.com/office/drawing/2014/main" id="{276DE7D7-4645-4946-ADE4-2E1BFD614CF4}"/>
                </a:ext>
              </a:extLst>
            </p:cNvPr>
            <p:cNvSpPr/>
            <p:nvPr/>
          </p:nvSpPr>
          <p:spPr bwMode="auto">
            <a:xfrm>
              <a:off x="2876550" y="6364602"/>
              <a:ext cx="128016" cy="128016"/>
            </a:xfrm>
            <a:prstGeom prst="ellipse">
              <a:avLst/>
            </a:prstGeom>
            <a:solidFill>
              <a:srgbClr val="9BF00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D9D7EFBB-9E6C-45BD-A99E-D2CD59EB7A0A}"/>
                </a:ext>
              </a:extLst>
            </p:cNvPr>
            <p:cNvSpPr/>
            <p:nvPr/>
          </p:nvSpPr>
          <p:spPr bwMode="auto">
            <a:xfrm>
              <a:off x="7848600" y="6358252"/>
              <a:ext cx="128016" cy="128016"/>
            </a:xfrm>
            <a:prstGeom prst="ellipse">
              <a:avLst/>
            </a:prstGeom>
            <a:solidFill>
              <a:srgbClr val="9BF00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437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a:extLst>
              <a:ext uri="{FF2B5EF4-FFF2-40B4-BE49-F238E27FC236}">
                <a16:creationId xmlns:a16="http://schemas.microsoft.com/office/drawing/2014/main" id="{5BED23C0-CD34-46C9-953F-6360C8BD2466}"/>
              </a:ext>
              <a:ext uri="{C183D7F6-B498-43B3-948B-1728B52AA6E4}">
                <adec:decorative xmlns:adec="http://schemas.microsoft.com/office/drawing/2017/decorative" val="1"/>
              </a:ext>
            </a:extLst>
          </p:cNvPr>
          <p:cNvGrpSpPr/>
          <p:nvPr/>
        </p:nvGrpSpPr>
        <p:grpSpPr>
          <a:xfrm>
            <a:off x="274638" y="5011008"/>
            <a:ext cx="12160953" cy="1983518"/>
            <a:chOff x="274638" y="5011008"/>
            <a:chExt cx="12160953" cy="1983518"/>
          </a:xfrm>
        </p:grpSpPr>
        <p:grpSp>
          <p:nvGrpSpPr>
            <p:cNvPr id="72" name="Group 71">
              <a:extLst>
                <a:ext uri="{FF2B5EF4-FFF2-40B4-BE49-F238E27FC236}">
                  <a16:creationId xmlns:a16="http://schemas.microsoft.com/office/drawing/2014/main" id="{33639B82-80DB-4A1E-A5F9-5AD2509B035D}"/>
                </a:ext>
                <a:ext uri="{C183D7F6-B498-43B3-948B-1728B52AA6E4}">
                  <adec:decorative xmlns:adec="http://schemas.microsoft.com/office/drawing/2017/decorative" val="1"/>
                </a:ext>
              </a:extLst>
            </p:cNvPr>
            <p:cNvGrpSpPr/>
            <p:nvPr/>
          </p:nvGrpSpPr>
          <p:grpSpPr>
            <a:xfrm>
              <a:off x="274638" y="5029201"/>
              <a:ext cx="12160953" cy="1965325"/>
              <a:chOff x="274638" y="5029201"/>
              <a:chExt cx="12160953" cy="1965325"/>
            </a:xfrm>
          </p:grpSpPr>
          <p:grpSp>
            <p:nvGrpSpPr>
              <p:cNvPr id="75" name="Group 74">
                <a:extLst>
                  <a:ext uri="{FF2B5EF4-FFF2-40B4-BE49-F238E27FC236}">
                    <a16:creationId xmlns:a16="http://schemas.microsoft.com/office/drawing/2014/main" id="{D9B2558B-4CB4-4475-A5E5-FC9D091376E7}"/>
                  </a:ext>
                </a:extLst>
              </p:cNvPr>
              <p:cNvGrpSpPr/>
              <p:nvPr/>
            </p:nvGrpSpPr>
            <p:grpSpPr>
              <a:xfrm>
                <a:off x="275482" y="5029201"/>
                <a:ext cx="12148452" cy="1965325"/>
                <a:chOff x="269241" y="4842232"/>
                <a:chExt cx="11911328" cy="1926964"/>
              </a:xfrm>
            </p:grpSpPr>
            <p:pic>
              <p:nvPicPr>
                <p:cNvPr id="77" name="Graphic 76">
                  <a:extLst>
                    <a:ext uri="{FF2B5EF4-FFF2-40B4-BE49-F238E27FC236}">
                      <a16:creationId xmlns:a16="http://schemas.microsoft.com/office/drawing/2014/main" id="{81187757-C365-407E-83B2-588B45CB9F27}"/>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t="1" r="16311" b="48531"/>
                <a:stretch/>
              </p:blipFill>
              <p:spPr>
                <a:xfrm>
                  <a:off x="6610088" y="4842232"/>
                  <a:ext cx="5570481" cy="1926963"/>
                </a:xfrm>
                <a:prstGeom prst="rect">
                  <a:avLst/>
                </a:prstGeom>
              </p:spPr>
            </p:pic>
            <p:pic>
              <p:nvPicPr>
                <p:cNvPr id="78" name="Graphic 77">
                  <a:extLst>
                    <a:ext uri="{FF2B5EF4-FFF2-40B4-BE49-F238E27FC236}">
                      <a16:creationId xmlns:a16="http://schemas.microsoft.com/office/drawing/2014/main" id="{FC12BD9B-7026-455C-AF9D-E7437B924EA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928" t="1602" b="49765"/>
                <a:stretch/>
              </p:blipFill>
              <p:spPr>
                <a:xfrm>
                  <a:off x="269241" y="4902201"/>
                  <a:ext cx="6352278" cy="1866995"/>
                </a:xfrm>
                <a:custGeom>
                  <a:avLst/>
                  <a:gdLst>
                    <a:gd name="connsiteX0" fmla="*/ 1097537 w 6352278"/>
                    <a:gd name="connsiteY0" fmla="*/ 0 h 1955800"/>
                    <a:gd name="connsiteX1" fmla="*/ 6352278 w 6352278"/>
                    <a:gd name="connsiteY1" fmla="*/ 0 h 1955800"/>
                    <a:gd name="connsiteX2" fmla="*/ 6352278 w 6352278"/>
                    <a:gd name="connsiteY2" fmla="*/ 1955800 h 1955800"/>
                    <a:gd name="connsiteX3" fmla="*/ 30416 w 6352278"/>
                    <a:gd name="connsiteY3" fmla="*/ 1955800 h 1955800"/>
                    <a:gd name="connsiteX4" fmla="*/ 22298 w 6352278"/>
                    <a:gd name="connsiteY4" fmla="*/ 1929650 h 1955800"/>
                    <a:gd name="connsiteX5" fmla="*/ 0 w 6352278"/>
                    <a:gd name="connsiteY5" fmla="*/ 1708457 h 1955800"/>
                    <a:gd name="connsiteX6" fmla="*/ 0 w 6352278"/>
                    <a:gd name="connsiteY6" fmla="*/ 1097537 h 1955800"/>
                    <a:gd name="connsiteX7" fmla="*/ 1097537 w 6352278"/>
                    <a:gd name="connsiteY7" fmla="*/ 0 h 195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2278" h="1955800">
                      <a:moveTo>
                        <a:pt x="1097537" y="0"/>
                      </a:moveTo>
                      <a:lnTo>
                        <a:pt x="6352278" y="0"/>
                      </a:lnTo>
                      <a:lnTo>
                        <a:pt x="6352278" y="1955800"/>
                      </a:lnTo>
                      <a:lnTo>
                        <a:pt x="30416" y="1955800"/>
                      </a:lnTo>
                      <a:lnTo>
                        <a:pt x="22298" y="1929650"/>
                      </a:lnTo>
                      <a:cubicBezTo>
                        <a:pt x="7678" y="1858202"/>
                        <a:pt x="0" y="1784227"/>
                        <a:pt x="0" y="1708457"/>
                      </a:cubicBezTo>
                      <a:lnTo>
                        <a:pt x="0" y="1097537"/>
                      </a:lnTo>
                      <a:cubicBezTo>
                        <a:pt x="0" y="491384"/>
                        <a:pt x="491384" y="0"/>
                        <a:pt x="1097537" y="0"/>
                      </a:cubicBezTo>
                      <a:close/>
                    </a:path>
                  </a:pathLst>
                </a:custGeom>
              </p:spPr>
            </p:pic>
          </p:grpSp>
          <p:sp>
            <p:nvSpPr>
              <p:cNvPr id="76" name="Freeform: Shape 75">
                <a:extLst>
                  <a:ext uri="{FF2B5EF4-FFF2-40B4-BE49-F238E27FC236}">
                    <a16:creationId xmlns:a16="http://schemas.microsoft.com/office/drawing/2014/main" id="{03EBD539-1DB4-41C6-AA7E-F6ACDA525C4C}"/>
                  </a:ext>
                  <a:ext uri="{C183D7F6-B498-43B3-948B-1728B52AA6E4}">
                    <adec:decorative xmlns:adec="http://schemas.microsoft.com/office/drawing/2017/decorative" val="1"/>
                  </a:ext>
                </a:extLst>
              </p:cNvPr>
              <p:cNvSpPr/>
              <p:nvPr/>
            </p:nvSpPr>
            <p:spPr>
              <a:xfrm rot="10800000">
                <a:off x="274638" y="5077609"/>
                <a:ext cx="12160953" cy="1916916"/>
              </a:xfrm>
              <a:custGeom>
                <a:avLst/>
                <a:gdLst>
                  <a:gd name="connsiteX0" fmla="*/ 10669828 w 11724030"/>
                  <a:gd name="connsiteY0" fmla="*/ 1968304 h 1968304"/>
                  <a:gd name="connsiteX1" fmla="*/ 0 w 11724030"/>
                  <a:gd name="connsiteY1" fmla="*/ 1968304 h 1968304"/>
                  <a:gd name="connsiteX2" fmla="*/ 3103706 w 11724030"/>
                  <a:gd name="connsiteY2" fmla="*/ 0 h 1968304"/>
                  <a:gd name="connsiteX3" fmla="*/ 11724030 w 11724030"/>
                  <a:gd name="connsiteY3" fmla="*/ 0 h 1968304"/>
                  <a:gd name="connsiteX4" fmla="*/ 11724030 w 11724030"/>
                  <a:gd name="connsiteY4" fmla="*/ 914085 h 1968304"/>
                  <a:gd name="connsiteX5" fmla="*/ 10669828 w 11724030"/>
                  <a:gd name="connsiteY5" fmla="*/ 1968304 h 1968304"/>
                  <a:gd name="connsiteX0" fmla="*/ 3103706 w 11724030"/>
                  <a:gd name="connsiteY0" fmla="*/ 0 h 1968304"/>
                  <a:gd name="connsiteX1" fmla="*/ 11724030 w 11724030"/>
                  <a:gd name="connsiteY1" fmla="*/ 0 h 1968304"/>
                  <a:gd name="connsiteX2" fmla="*/ 11724030 w 11724030"/>
                  <a:gd name="connsiteY2" fmla="*/ 914085 h 1968304"/>
                  <a:gd name="connsiteX3" fmla="*/ 10669828 w 11724030"/>
                  <a:gd name="connsiteY3" fmla="*/ 1968304 h 1968304"/>
                  <a:gd name="connsiteX4" fmla="*/ 0 w 11724030"/>
                  <a:gd name="connsiteY4" fmla="*/ 1968304 h 1968304"/>
                  <a:gd name="connsiteX5" fmla="*/ 3195146 w 11724030"/>
                  <a:gd name="connsiteY5" fmla="*/ 91440 h 1968304"/>
                  <a:gd name="connsiteX0" fmla="*/ 3103706 w 11724030"/>
                  <a:gd name="connsiteY0" fmla="*/ 0 h 1968304"/>
                  <a:gd name="connsiteX1" fmla="*/ 11724030 w 11724030"/>
                  <a:gd name="connsiteY1" fmla="*/ 0 h 1968304"/>
                  <a:gd name="connsiteX2" fmla="*/ 11724030 w 11724030"/>
                  <a:gd name="connsiteY2" fmla="*/ 914085 h 1968304"/>
                  <a:gd name="connsiteX3" fmla="*/ 10669828 w 11724030"/>
                  <a:gd name="connsiteY3" fmla="*/ 1968304 h 1968304"/>
                  <a:gd name="connsiteX4" fmla="*/ 0 w 11724030"/>
                  <a:gd name="connsiteY4" fmla="*/ 1968304 h 1968304"/>
                  <a:gd name="connsiteX0" fmla="*/ 11724030 w 11724030"/>
                  <a:gd name="connsiteY0" fmla="*/ 0 h 1968304"/>
                  <a:gd name="connsiteX1" fmla="*/ 11724030 w 11724030"/>
                  <a:gd name="connsiteY1" fmla="*/ 914085 h 1968304"/>
                  <a:gd name="connsiteX2" fmla="*/ 10669828 w 11724030"/>
                  <a:gd name="connsiteY2" fmla="*/ 1968304 h 1968304"/>
                  <a:gd name="connsiteX3" fmla="*/ 0 w 11724030"/>
                  <a:gd name="connsiteY3" fmla="*/ 1968304 h 1968304"/>
                </a:gdLst>
                <a:ahLst/>
                <a:cxnLst>
                  <a:cxn ang="0">
                    <a:pos x="connsiteX0" y="connsiteY0"/>
                  </a:cxn>
                  <a:cxn ang="0">
                    <a:pos x="connsiteX1" y="connsiteY1"/>
                  </a:cxn>
                  <a:cxn ang="0">
                    <a:pos x="connsiteX2" y="connsiteY2"/>
                  </a:cxn>
                  <a:cxn ang="0">
                    <a:pos x="connsiteX3" y="connsiteY3"/>
                  </a:cxn>
                </a:cxnLst>
                <a:rect l="l" t="t" r="r" b="b"/>
                <a:pathLst>
                  <a:path w="11724030" h="1968304">
                    <a:moveTo>
                      <a:pt x="11724030" y="0"/>
                    </a:moveTo>
                    <a:lnTo>
                      <a:pt x="11724030" y="914085"/>
                    </a:lnTo>
                    <a:cubicBezTo>
                      <a:pt x="11724030" y="1496304"/>
                      <a:pt x="11252037" y="1968304"/>
                      <a:pt x="10669828" y="1968304"/>
                    </a:cubicBezTo>
                    <a:lnTo>
                      <a:pt x="0" y="1968304"/>
                    </a:lnTo>
                  </a:path>
                </a:pathLst>
              </a:custGeom>
              <a:noFill/>
              <a:ln w="127000" cap="flat">
                <a:solidFill>
                  <a:srgbClr val="FFC000"/>
                </a:solidFill>
                <a:prstDash val="solid"/>
                <a:miter/>
              </a:ln>
            </p:spPr>
            <p:txBody>
              <a:bodyPr rtlCol="0" anchor="ctr"/>
              <a:lstStyle/>
              <a:p>
                <a:pPr defTabSz="932597"/>
                <a:endParaRPr lang="en-US" sz="1836" dirty="0">
                  <a:solidFill>
                    <a:srgbClr val="1A1A1A"/>
                  </a:solidFill>
                  <a:latin typeface="Segoe UI"/>
                </a:endParaRPr>
              </a:p>
            </p:txBody>
          </p:sp>
        </p:grpSp>
        <p:sp>
          <p:nvSpPr>
            <p:cNvPr id="73" name="Oval 72">
              <a:extLst>
                <a:ext uri="{FF2B5EF4-FFF2-40B4-BE49-F238E27FC236}">
                  <a16:creationId xmlns:a16="http://schemas.microsoft.com/office/drawing/2014/main" id="{645A59CC-8A8E-4199-837B-AD7E14E0E79D}"/>
                </a:ext>
                <a:ext uri="{C183D7F6-B498-43B3-948B-1728B52AA6E4}">
                  <adec:decorative xmlns:adec="http://schemas.microsoft.com/office/drawing/2017/decorative" val="1"/>
                </a:ext>
              </a:extLst>
            </p:cNvPr>
            <p:cNvSpPr/>
            <p:nvPr/>
          </p:nvSpPr>
          <p:spPr bwMode="auto">
            <a:xfrm>
              <a:off x="6372393" y="5011008"/>
              <a:ext cx="123706" cy="123706"/>
            </a:xfrm>
            <a:prstGeom prst="ellipse">
              <a:avLst/>
            </a:prstGeom>
            <a:solidFill>
              <a:srgbClr val="FEF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Oval 73">
              <a:extLst>
                <a:ext uri="{FF2B5EF4-FFF2-40B4-BE49-F238E27FC236}">
                  <a16:creationId xmlns:a16="http://schemas.microsoft.com/office/drawing/2014/main" id="{B509B2DF-E002-499C-949B-ADA2929A9E68}"/>
                </a:ext>
                <a:ext uri="{C183D7F6-B498-43B3-948B-1728B52AA6E4}">
                  <adec:decorative xmlns:adec="http://schemas.microsoft.com/office/drawing/2017/decorative" val="1"/>
                </a:ext>
              </a:extLst>
            </p:cNvPr>
            <p:cNvSpPr/>
            <p:nvPr/>
          </p:nvSpPr>
          <p:spPr bwMode="auto">
            <a:xfrm>
              <a:off x="694168" y="5190303"/>
              <a:ext cx="123706" cy="123706"/>
            </a:xfrm>
            <a:prstGeom prst="ellipse">
              <a:avLst/>
            </a:prstGeom>
            <a:solidFill>
              <a:srgbClr val="FEF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13" name="Rectangle 112">
            <a:extLst>
              <a:ext uri="{FF2B5EF4-FFF2-40B4-BE49-F238E27FC236}">
                <a16:creationId xmlns:a16="http://schemas.microsoft.com/office/drawing/2014/main" id="{EA62E78A-C1BE-0A46-8375-B2019224971F}"/>
              </a:ext>
              <a:ext uri="{C183D7F6-B498-43B3-948B-1728B52AA6E4}">
                <adec:decorative xmlns:adec="http://schemas.microsoft.com/office/drawing/2017/decorative" val="1"/>
              </a:ext>
            </a:extLst>
          </p:cNvPr>
          <p:cNvSpPr/>
          <p:nvPr/>
        </p:nvSpPr>
        <p:spPr bwMode="auto">
          <a:xfrm>
            <a:off x="175684" y="942296"/>
            <a:ext cx="11988519" cy="40181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lvl="0" defTabSz="533298">
              <a:spcBef>
                <a:spcPct val="0"/>
              </a:spcBef>
              <a:defRPr/>
            </a:pPr>
            <a:endParaRPr lang="en-US" sz="2448">
              <a:solidFill>
                <a:srgbClr val="1A1A1A"/>
              </a:solidFill>
              <a:latin typeface="Segoe UI Semilight"/>
              <a:ea typeface="Segoe UI" pitchFamily="34" charset="0"/>
              <a:cs typeface="Segoe UI" pitchFamily="34" charset="0"/>
            </a:endParaRPr>
          </a:p>
        </p:txBody>
      </p:sp>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sz="3850" dirty="0">
                <a:solidFill>
                  <a:srgbClr val="002060"/>
                </a:solidFill>
                <a:cs typeface="Segoe UI"/>
              </a:rPr>
              <a:t>Welcome! Let’s get acquainted</a:t>
            </a:r>
          </a:p>
        </p:txBody>
      </p:sp>
      <p:sp>
        <p:nvSpPr>
          <p:cNvPr id="115" name="Text Placeholder 2">
            <a:extLst>
              <a:ext uri="{FF2B5EF4-FFF2-40B4-BE49-F238E27FC236}">
                <a16:creationId xmlns:a16="http://schemas.microsoft.com/office/drawing/2014/main" id="{89BD6EC5-538C-3F45-BBAC-EE0C509CCAE9}"/>
              </a:ext>
              <a:ext uri="{C183D7F6-B498-43B3-948B-1728B52AA6E4}">
                <adec:decorative xmlns:adec="http://schemas.microsoft.com/office/drawing/2017/decorative" val="1"/>
              </a:ext>
            </a:extLst>
          </p:cNvPr>
          <p:cNvSpPr txBox="1">
            <a:spLocks/>
          </p:cNvSpPr>
          <p:nvPr/>
        </p:nvSpPr>
        <p:spPr>
          <a:xfrm>
            <a:off x="523246" y="1554480"/>
            <a:ext cx="11428370" cy="3236976"/>
          </a:xfrm>
          <a:prstGeom prst="rect">
            <a:avLst/>
          </a:prstGeom>
        </p:spPr>
        <p:txBody>
          <a:bodyPr lIns="186521" tIns="93260" rIns="186521" bIns="93260"/>
          <a:lst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defTabSz="932384">
              <a:lnSpc>
                <a:spcPct val="100000"/>
              </a:lnSpc>
              <a:spcBef>
                <a:spcPts val="600"/>
              </a:spcBef>
              <a:buAutoNum type="arabicPeriod"/>
            </a:pPr>
            <a:endParaRPr lang="en-US" sz="1800" dirty="0">
              <a:latin typeface="+mn-lt"/>
            </a:endParaRPr>
          </a:p>
        </p:txBody>
      </p:sp>
      <p:grpSp>
        <p:nvGrpSpPr>
          <p:cNvPr id="14" name="Group 13">
            <a:extLst>
              <a:ext uri="{FF2B5EF4-FFF2-40B4-BE49-F238E27FC236}">
                <a16:creationId xmlns:a16="http://schemas.microsoft.com/office/drawing/2014/main" id="{3BC05A92-E594-4D75-A910-048E0B179F79}"/>
              </a:ext>
              <a:ext uri="{C183D7F6-B498-43B3-948B-1728B52AA6E4}">
                <adec:decorative xmlns:adec="http://schemas.microsoft.com/office/drawing/2017/decorative" val="1"/>
              </a:ext>
            </a:extLst>
          </p:cNvPr>
          <p:cNvGrpSpPr/>
          <p:nvPr/>
        </p:nvGrpSpPr>
        <p:grpSpPr>
          <a:xfrm>
            <a:off x="9986481" y="2107595"/>
            <a:ext cx="2274310" cy="3952231"/>
            <a:chOff x="9221325" y="2400206"/>
            <a:chExt cx="2623138" cy="3952231"/>
          </a:xfrm>
        </p:grpSpPr>
        <p:sp>
          <p:nvSpPr>
            <p:cNvPr id="15" name="Freeform: Shape 14">
              <a:extLst>
                <a:ext uri="{FF2B5EF4-FFF2-40B4-BE49-F238E27FC236}">
                  <a16:creationId xmlns:a16="http://schemas.microsoft.com/office/drawing/2014/main" id="{B0CA71FA-CF3E-466E-A8C0-5ECD3EC50D92}"/>
                </a:ext>
                <a:ext uri="{C183D7F6-B498-43B3-948B-1728B52AA6E4}">
                  <adec:decorative xmlns:adec="http://schemas.microsoft.com/office/drawing/2017/decorative" val="1"/>
                </a:ext>
              </a:extLst>
            </p:cNvPr>
            <p:cNvSpPr>
              <a:spLocks noChangeAspect="1"/>
            </p:cNvSpPr>
            <p:nvPr/>
          </p:nvSpPr>
          <p:spPr>
            <a:xfrm>
              <a:off x="10417999" y="2400206"/>
              <a:ext cx="1426464" cy="548640"/>
            </a:xfrm>
            <a:custGeom>
              <a:avLst/>
              <a:gdLst>
                <a:gd name="connsiteX0" fmla="*/ 1038196 w 1097279"/>
                <a:gd name="connsiteY0" fmla="*/ 295844 h 422030"/>
                <a:gd name="connsiteX1" fmla="*/ 978267 w 1097279"/>
                <a:gd name="connsiteY1" fmla="*/ 321165 h 422030"/>
                <a:gd name="connsiteX2" fmla="*/ 978689 w 1097279"/>
                <a:gd name="connsiteY2" fmla="*/ 309349 h 422030"/>
                <a:gd name="connsiteX3" fmla="*/ 825070 w 1097279"/>
                <a:gd name="connsiteY3" fmla="*/ 155729 h 422030"/>
                <a:gd name="connsiteX4" fmla="*/ 692131 w 1097279"/>
                <a:gd name="connsiteY4" fmla="*/ 232539 h 422030"/>
                <a:gd name="connsiteX5" fmla="*/ 692131 w 1097279"/>
                <a:gd name="connsiteY5" fmla="*/ 231695 h 422030"/>
                <a:gd name="connsiteX6" fmla="*/ 460436 w 1097279"/>
                <a:gd name="connsiteY6" fmla="*/ 0 h 422030"/>
                <a:gd name="connsiteX7" fmla="*/ 228741 w 1097279"/>
                <a:gd name="connsiteY7" fmla="*/ 231695 h 422030"/>
                <a:gd name="connsiteX8" fmla="*/ 233383 w 1097279"/>
                <a:gd name="connsiteY8" fmla="*/ 278540 h 422030"/>
                <a:gd name="connsiteX9" fmla="*/ 124499 w 1097279"/>
                <a:gd name="connsiteY9" fmla="*/ 214392 h 422030"/>
                <a:gd name="connsiteX10" fmla="*/ 0 w 1097279"/>
                <a:gd name="connsiteY10" fmla="*/ 338891 h 422030"/>
                <a:gd name="connsiteX11" fmla="*/ 124499 w 1097279"/>
                <a:gd name="connsiteY11" fmla="*/ 463390 h 422030"/>
                <a:gd name="connsiteX12" fmla="*/ 460436 w 1097279"/>
                <a:gd name="connsiteY12" fmla="*/ 463390 h 422030"/>
                <a:gd name="connsiteX13" fmla="*/ 825070 w 1097279"/>
                <a:gd name="connsiteY13" fmla="*/ 463390 h 422030"/>
                <a:gd name="connsiteX14" fmla="*/ 1038196 w 1097279"/>
                <a:gd name="connsiteY14" fmla="*/ 463390 h 422030"/>
                <a:gd name="connsiteX15" fmla="*/ 1121758 w 1097279"/>
                <a:gd name="connsiteY15" fmla="*/ 379828 h 422030"/>
                <a:gd name="connsiteX16" fmla="*/ 1038196 w 1097279"/>
                <a:gd name="connsiteY16" fmla="*/ 295844 h 42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79" h="422030">
                  <a:moveTo>
                    <a:pt x="1038196" y="295844"/>
                  </a:moveTo>
                  <a:cubicBezTo>
                    <a:pt x="1014562" y="295844"/>
                    <a:pt x="993460" y="305550"/>
                    <a:pt x="978267" y="321165"/>
                  </a:cubicBezTo>
                  <a:cubicBezTo>
                    <a:pt x="978689" y="317367"/>
                    <a:pt x="978689" y="313569"/>
                    <a:pt x="978689" y="309349"/>
                  </a:cubicBezTo>
                  <a:cubicBezTo>
                    <a:pt x="978689" y="224520"/>
                    <a:pt x="909898" y="155729"/>
                    <a:pt x="825070" y="155729"/>
                  </a:cubicBezTo>
                  <a:cubicBezTo>
                    <a:pt x="768096" y="155729"/>
                    <a:pt x="718718" y="186538"/>
                    <a:pt x="692131" y="232539"/>
                  </a:cubicBezTo>
                  <a:cubicBezTo>
                    <a:pt x="692131" y="232117"/>
                    <a:pt x="692131" y="232117"/>
                    <a:pt x="692131" y="231695"/>
                  </a:cubicBezTo>
                  <a:cubicBezTo>
                    <a:pt x="692131" y="103820"/>
                    <a:pt x="588311" y="0"/>
                    <a:pt x="460436" y="0"/>
                  </a:cubicBezTo>
                  <a:cubicBezTo>
                    <a:pt x="332560" y="0"/>
                    <a:pt x="228741" y="103820"/>
                    <a:pt x="228741" y="231695"/>
                  </a:cubicBezTo>
                  <a:cubicBezTo>
                    <a:pt x="228741" y="247732"/>
                    <a:pt x="230429" y="263347"/>
                    <a:pt x="233383" y="278540"/>
                  </a:cubicBezTo>
                  <a:cubicBezTo>
                    <a:pt x="212281" y="240136"/>
                    <a:pt x="171345" y="214392"/>
                    <a:pt x="124499" y="214392"/>
                  </a:cubicBezTo>
                  <a:cubicBezTo>
                    <a:pt x="55708" y="214392"/>
                    <a:pt x="0" y="270100"/>
                    <a:pt x="0" y="338891"/>
                  </a:cubicBezTo>
                  <a:cubicBezTo>
                    <a:pt x="0" y="407682"/>
                    <a:pt x="55708" y="463390"/>
                    <a:pt x="124499" y="463390"/>
                  </a:cubicBezTo>
                  <a:lnTo>
                    <a:pt x="460436" y="463390"/>
                  </a:lnTo>
                  <a:lnTo>
                    <a:pt x="825070" y="463390"/>
                  </a:lnTo>
                  <a:lnTo>
                    <a:pt x="1038196" y="463390"/>
                  </a:lnTo>
                  <a:cubicBezTo>
                    <a:pt x="1084619" y="463390"/>
                    <a:pt x="1121758" y="425829"/>
                    <a:pt x="1121758" y="379828"/>
                  </a:cubicBezTo>
                  <a:cubicBezTo>
                    <a:pt x="1121758" y="333404"/>
                    <a:pt x="1084619" y="295844"/>
                    <a:pt x="1038196" y="295844"/>
                  </a:cubicBezTo>
                </a:path>
              </a:pathLst>
            </a:custGeom>
            <a:solidFill>
              <a:srgbClr val="49CDF3"/>
            </a:solidFill>
            <a:ln w="42182"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AD758A22-7426-4CC9-BC7F-66D3F093843E}"/>
                </a:ext>
                <a:ext uri="{C183D7F6-B498-43B3-948B-1728B52AA6E4}">
                  <adec:decorative xmlns:adec="http://schemas.microsoft.com/office/drawing/2017/decorative" val="1"/>
                </a:ext>
              </a:extLst>
            </p:cNvPr>
            <p:cNvSpPr/>
            <p:nvPr/>
          </p:nvSpPr>
          <p:spPr>
            <a:xfrm>
              <a:off x="9853105" y="5205357"/>
              <a:ext cx="548640" cy="1139483"/>
            </a:xfrm>
            <a:custGeom>
              <a:avLst/>
              <a:gdLst>
                <a:gd name="connsiteX0" fmla="*/ 568897 w 548639"/>
                <a:gd name="connsiteY0" fmla="*/ 104664 h 1139483"/>
                <a:gd name="connsiteX1" fmla="*/ 241402 w 548639"/>
                <a:gd name="connsiteY1" fmla="*/ 104664 h 1139483"/>
                <a:gd name="connsiteX2" fmla="*/ 241402 w 548639"/>
                <a:gd name="connsiteY2" fmla="*/ 0 h 1139483"/>
                <a:gd name="connsiteX3" fmla="*/ 114370 w 548639"/>
                <a:gd name="connsiteY3" fmla="*/ 54864 h 1139483"/>
                <a:gd name="connsiteX4" fmla="*/ 114370 w 548639"/>
                <a:gd name="connsiteY4" fmla="*/ 104664 h 1139483"/>
                <a:gd name="connsiteX5" fmla="*/ 0 w 548639"/>
                <a:gd name="connsiteY5" fmla="*/ 104664 h 1139483"/>
                <a:gd name="connsiteX6" fmla="*/ 0 w 548639"/>
                <a:gd name="connsiteY6" fmla="*/ 157418 h 1139483"/>
                <a:gd name="connsiteX7" fmla="*/ 23211 w 548639"/>
                <a:gd name="connsiteY7" fmla="*/ 157418 h 1139483"/>
                <a:gd name="connsiteX8" fmla="*/ 23211 w 548639"/>
                <a:gd name="connsiteY8" fmla="*/ 1163117 h 1139483"/>
                <a:gd name="connsiteX9" fmla="*/ 545686 w 548639"/>
                <a:gd name="connsiteY9" fmla="*/ 1163117 h 1139483"/>
                <a:gd name="connsiteX10" fmla="*/ 545686 w 548639"/>
                <a:gd name="connsiteY10" fmla="*/ 157418 h 1139483"/>
                <a:gd name="connsiteX11" fmla="*/ 568897 w 548639"/>
                <a:gd name="connsiteY11" fmla="*/ 157418 h 113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8639" h="1139483">
                  <a:moveTo>
                    <a:pt x="568897" y="104664"/>
                  </a:moveTo>
                  <a:lnTo>
                    <a:pt x="241402" y="104664"/>
                  </a:lnTo>
                  <a:lnTo>
                    <a:pt x="241402" y="0"/>
                  </a:lnTo>
                  <a:lnTo>
                    <a:pt x="114370" y="54864"/>
                  </a:lnTo>
                  <a:lnTo>
                    <a:pt x="114370" y="104664"/>
                  </a:lnTo>
                  <a:lnTo>
                    <a:pt x="0" y="104664"/>
                  </a:lnTo>
                  <a:lnTo>
                    <a:pt x="0" y="157418"/>
                  </a:lnTo>
                  <a:lnTo>
                    <a:pt x="23211" y="157418"/>
                  </a:lnTo>
                  <a:lnTo>
                    <a:pt x="23211" y="1163117"/>
                  </a:lnTo>
                  <a:lnTo>
                    <a:pt x="545686" y="1163117"/>
                  </a:lnTo>
                  <a:lnTo>
                    <a:pt x="545686" y="157418"/>
                  </a:lnTo>
                  <a:lnTo>
                    <a:pt x="568897" y="157418"/>
                  </a:lnTo>
                  <a:close/>
                </a:path>
              </a:pathLst>
            </a:custGeom>
            <a:solidFill>
              <a:srgbClr val="1070C4"/>
            </a:solidFill>
            <a:ln w="42182"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63CAD93-0A09-4807-A1DB-95B1D622146E}"/>
                </a:ext>
                <a:ext uri="{C183D7F6-B498-43B3-948B-1728B52AA6E4}">
                  <adec:decorative xmlns:adec="http://schemas.microsoft.com/office/drawing/2017/decorative" val="1"/>
                </a:ext>
              </a:extLst>
            </p:cNvPr>
            <p:cNvSpPr/>
            <p:nvPr/>
          </p:nvSpPr>
          <p:spPr>
            <a:xfrm>
              <a:off x="10324514" y="3480940"/>
              <a:ext cx="506437" cy="2869809"/>
            </a:xfrm>
            <a:custGeom>
              <a:avLst/>
              <a:gdLst>
                <a:gd name="connsiteX0" fmla="*/ 449041 w 506436"/>
                <a:gd name="connsiteY0" fmla="*/ 449041 h 2869809"/>
                <a:gd name="connsiteX1" fmla="*/ 449041 w 506436"/>
                <a:gd name="connsiteY1" fmla="*/ 377296 h 2869809"/>
                <a:gd name="connsiteX2" fmla="*/ 327496 w 506436"/>
                <a:gd name="connsiteY2" fmla="*/ 377296 h 2869809"/>
                <a:gd name="connsiteX3" fmla="*/ 327496 w 506436"/>
                <a:gd name="connsiteY3" fmla="*/ 315257 h 2869809"/>
                <a:gd name="connsiteX4" fmla="*/ 267567 w 506436"/>
                <a:gd name="connsiteY4" fmla="*/ 233805 h 2869809"/>
                <a:gd name="connsiteX5" fmla="*/ 267567 w 506436"/>
                <a:gd name="connsiteY5" fmla="*/ 0 h 2869809"/>
                <a:gd name="connsiteX6" fmla="*/ 246888 w 506436"/>
                <a:gd name="connsiteY6" fmla="*/ 0 h 2869809"/>
                <a:gd name="connsiteX7" fmla="*/ 246888 w 506436"/>
                <a:gd name="connsiteY7" fmla="*/ 233805 h 2869809"/>
                <a:gd name="connsiteX8" fmla="*/ 186960 w 506436"/>
                <a:gd name="connsiteY8" fmla="*/ 315257 h 2869809"/>
                <a:gd name="connsiteX9" fmla="*/ 186960 w 506436"/>
                <a:gd name="connsiteY9" fmla="*/ 377296 h 2869809"/>
                <a:gd name="connsiteX10" fmla="*/ 64993 w 506436"/>
                <a:gd name="connsiteY10" fmla="*/ 377296 h 2869809"/>
                <a:gd name="connsiteX11" fmla="*/ 64993 w 506436"/>
                <a:gd name="connsiteY11" fmla="*/ 449041 h 2869809"/>
                <a:gd name="connsiteX12" fmla="*/ 0 w 506436"/>
                <a:gd name="connsiteY12" fmla="*/ 449041 h 2869809"/>
                <a:gd name="connsiteX13" fmla="*/ 0 w 506436"/>
                <a:gd name="connsiteY13" fmla="*/ 2887535 h 2869809"/>
                <a:gd name="connsiteX14" fmla="*/ 522474 w 506436"/>
                <a:gd name="connsiteY14" fmla="*/ 2887535 h 2869809"/>
                <a:gd name="connsiteX15" fmla="*/ 522474 w 506436"/>
                <a:gd name="connsiteY15" fmla="*/ 449041 h 286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6436" h="2869809">
                  <a:moveTo>
                    <a:pt x="449041" y="449041"/>
                  </a:moveTo>
                  <a:lnTo>
                    <a:pt x="449041" y="377296"/>
                  </a:lnTo>
                  <a:lnTo>
                    <a:pt x="327496" y="377296"/>
                  </a:lnTo>
                  <a:lnTo>
                    <a:pt x="327496" y="315257"/>
                  </a:lnTo>
                  <a:lnTo>
                    <a:pt x="267567" y="233805"/>
                  </a:lnTo>
                  <a:lnTo>
                    <a:pt x="267567" y="0"/>
                  </a:lnTo>
                  <a:lnTo>
                    <a:pt x="246888" y="0"/>
                  </a:lnTo>
                  <a:lnTo>
                    <a:pt x="246888" y="233805"/>
                  </a:lnTo>
                  <a:lnTo>
                    <a:pt x="186960" y="315257"/>
                  </a:lnTo>
                  <a:lnTo>
                    <a:pt x="186960" y="377296"/>
                  </a:lnTo>
                  <a:lnTo>
                    <a:pt x="64993" y="377296"/>
                  </a:lnTo>
                  <a:lnTo>
                    <a:pt x="64993" y="449041"/>
                  </a:lnTo>
                  <a:lnTo>
                    <a:pt x="0" y="449041"/>
                  </a:lnTo>
                  <a:lnTo>
                    <a:pt x="0" y="2887535"/>
                  </a:lnTo>
                  <a:lnTo>
                    <a:pt x="522474" y="2887535"/>
                  </a:lnTo>
                  <a:lnTo>
                    <a:pt x="522474" y="449041"/>
                  </a:lnTo>
                  <a:close/>
                </a:path>
              </a:pathLst>
            </a:custGeom>
            <a:solidFill>
              <a:srgbClr val="1070C4"/>
            </a:solidFill>
            <a:ln w="42182"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5386490-79AA-4FE3-AD36-E88B33EB1597}"/>
                </a:ext>
                <a:ext uri="{C183D7F6-B498-43B3-948B-1728B52AA6E4}">
                  <adec:decorative xmlns:adec="http://schemas.microsoft.com/office/drawing/2017/decorative" val="1"/>
                </a:ext>
              </a:extLst>
            </p:cNvPr>
            <p:cNvSpPr/>
            <p:nvPr/>
          </p:nvSpPr>
          <p:spPr>
            <a:xfrm>
              <a:off x="10389506" y="43811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20C080C-62D6-4E69-AB04-42063840EFFD}"/>
                </a:ext>
                <a:ext uri="{C183D7F6-B498-43B3-948B-1728B52AA6E4}">
                  <adec:decorative xmlns:adec="http://schemas.microsoft.com/office/drawing/2017/decorative" val="1"/>
                </a:ext>
              </a:extLst>
            </p:cNvPr>
            <p:cNvSpPr/>
            <p:nvPr/>
          </p:nvSpPr>
          <p:spPr>
            <a:xfrm>
              <a:off x="10536373" y="43811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9900E5B-01A6-4CB1-AD98-5C3BC165BCF9}"/>
                </a:ext>
                <a:ext uri="{C183D7F6-B498-43B3-948B-1728B52AA6E4}">
                  <adec:decorative xmlns:adec="http://schemas.microsoft.com/office/drawing/2017/decorative" val="1"/>
                </a:ext>
              </a:extLst>
            </p:cNvPr>
            <p:cNvSpPr/>
            <p:nvPr/>
          </p:nvSpPr>
          <p:spPr>
            <a:xfrm>
              <a:off x="10682818" y="43811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04A0ADC-C331-43D4-931C-DBFE27042F20}"/>
                </a:ext>
                <a:ext uri="{C183D7F6-B498-43B3-948B-1728B52AA6E4}">
                  <adec:decorative xmlns:adec="http://schemas.microsoft.com/office/drawing/2017/decorative" val="1"/>
                </a:ext>
              </a:extLst>
            </p:cNvPr>
            <p:cNvSpPr/>
            <p:nvPr/>
          </p:nvSpPr>
          <p:spPr>
            <a:xfrm>
              <a:off x="10389506" y="41857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879D543-902B-4139-9515-E4AA37342A3F}"/>
                </a:ext>
                <a:ext uri="{C183D7F6-B498-43B3-948B-1728B52AA6E4}">
                  <adec:decorative xmlns:adec="http://schemas.microsoft.com/office/drawing/2017/decorative" val="1"/>
                </a:ext>
              </a:extLst>
            </p:cNvPr>
            <p:cNvSpPr/>
            <p:nvPr/>
          </p:nvSpPr>
          <p:spPr>
            <a:xfrm>
              <a:off x="10536373" y="41857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2591C1C7-8809-4B75-BB99-71C9026D1123}"/>
                </a:ext>
                <a:ext uri="{C183D7F6-B498-43B3-948B-1728B52AA6E4}">
                  <adec:decorative xmlns:adec="http://schemas.microsoft.com/office/drawing/2017/decorative" val="1"/>
                </a:ext>
              </a:extLst>
            </p:cNvPr>
            <p:cNvSpPr/>
            <p:nvPr/>
          </p:nvSpPr>
          <p:spPr>
            <a:xfrm>
              <a:off x="10682818" y="41857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E3CB405B-361C-4374-B09F-55D1815B7401}"/>
                </a:ext>
                <a:ext uri="{C183D7F6-B498-43B3-948B-1728B52AA6E4}">
                  <adec:decorative xmlns:adec="http://schemas.microsoft.com/office/drawing/2017/decorative" val="1"/>
                </a:ext>
              </a:extLst>
            </p:cNvPr>
            <p:cNvSpPr/>
            <p:nvPr/>
          </p:nvSpPr>
          <p:spPr>
            <a:xfrm>
              <a:off x="10389506" y="399075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74EB36EB-4EC0-44FF-A48C-644490EAA737}"/>
                </a:ext>
                <a:ext uri="{C183D7F6-B498-43B3-948B-1728B52AA6E4}">
                  <adec:decorative xmlns:adec="http://schemas.microsoft.com/office/drawing/2017/decorative" val="1"/>
                </a:ext>
              </a:extLst>
            </p:cNvPr>
            <p:cNvSpPr/>
            <p:nvPr/>
          </p:nvSpPr>
          <p:spPr>
            <a:xfrm>
              <a:off x="10536373" y="399075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C5011526-71BD-46A6-9EF7-4150BB0105FD}"/>
                </a:ext>
                <a:ext uri="{C183D7F6-B498-43B3-948B-1728B52AA6E4}">
                  <adec:decorative xmlns:adec="http://schemas.microsoft.com/office/drawing/2017/decorative" val="1"/>
                </a:ext>
              </a:extLst>
            </p:cNvPr>
            <p:cNvSpPr/>
            <p:nvPr/>
          </p:nvSpPr>
          <p:spPr>
            <a:xfrm>
              <a:off x="10682818" y="399075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C1B7B02F-BDEB-4AA1-BC56-A9F24E62E7B7}"/>
                </a:ext>
                <a:ext uri="{C183D7F6-B498-43B3-948B-1728B52AA6E4}">
                  <adec:decorative xmlns:adec="http://schemas.microsoft.com/office/drawing/2017/decorative" val="1"/>
                </a:ext>
              </a:extLst>
            </p:cNvPr>
            <p:cNvSpPr/>
            <p:nvPr/>
          </p:nvSpPr>
          <p:spPr>
            <a:xfrm>
              <a:off x="10389506" y="4576110"/>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79AE9663-6875-411F-931C-6ADF2950C2AB}"/>
                </a:ext>
                <a:ext uri="{C183D7F6-B498-43B3-948B-1728B52AA6E4}">
                  <adec:decorative xmlns:adec="http://schemas.microsoft.com/office/drawing/2017/decorative" val="1"/>
                </a:ext>
              </a:extLst>
            </p:cNvPr>
            <p:cNvSpPr/>
            <p:nvPr/>
          </p:nvSpPr>
          <p:spPr>
            <a:xfrm>
              <a:off x="10536373" y="4576110"/>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43836A6-7310-4E91-AD36-4F70AC3988FB}"/>
                </a:ext>
                <a:ext uri="{C183D7F6-B498-43B3-948B-1728B52AA6E4}">
                  <adec:decorative xmlns:adec="http://schemas.microsoft.com/office/drawing/2017/decorative" val="1"/>
                </a:ext>
              </a:extLst>
            </p:cNvPr>
            <p:cNvSpPr/>
            <p:nvPr/>
          </p:nvSpPr>
          <p:spPr>
            <a:xfrm>
              <a:off x="10682818" y="4576110"/>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18FBEC03-7856-4DEF-96BF-FCB173D1CF43}"/>
                </a:ext>
                <a:ext uri="{C183D7F6-B498-43B3-948B-1728B52AA6E4}">
                  <adec:decorative xmlns:adec="http://schemas.microsoft.com/office/drawing/2017/decorative" val="1"/>
                </a:ext>
              </a:extLst>
            </p:cNvPr>
            <p:cNvSpPr/>
            <p:nvPr/>
          </p:nvSpPr>
          <p:spPr>
            <a:xfrm>
              <a:off x="10389506" y="4771088"/>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B6726978-E880-4EAA-AB30-B8B8B17B1CE4}"/>
                </a:ext>
                <a:ext uri="{C183D7F6-B498-43B3-948B-1728B52AA6E4}">
                  <adec:decorative xmlns:adec="http://schemas.microsoft.com/office/drawing/2017/decorative" val="1"/>
                </a:ext>
              </a:extLst>
            </p:cNvPr>
            <p:cNvSpPr/>
            <p:nvPr/>
          </p:nvSpPr>
          <p:spPr>
            <a:xfrm>
              <a:off x="10536373" y="4771088"/>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39C4A3E-1790-4FE8-963A-4127709BD613}"/>
                </a:ext>
                <a:ext uri="{C183D7F6-B498-43B3-948B-1728B52AA6E4}">
                  <adec:decorative xmlns:adec="http://schemas.microsoft.com/office/drawing/2017/decorative" val="1"/>
                </a:ext>
              </a:extLst>
            </p:cNvPr>
            <p:cNvSpPr/>
            <p:nvPr/>
          </p:nvSpPr>
          <p:spPr>
            <a:xfrm>
              <a:off x="10682818" y="4771088"/>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738E90D-22C8-4D99-ABFE-987658CDFB58}"/>
                </a:ext>
                <a:ext uri="{C183D7F6-B498-43B3-948B-1728B52AA6E4}">
                  <adec:decorative xmlns:adec="http://schemas.microsoft.com/office/drawing/2017/decorative" val="1"/>
                </a:ext>
              </a:extLst>
            </p:cNvPr>
            <p:cNvSpPr/>
            <p:nvPr/>
          </p:nvSpPr>
          <p:spPr>
            <a:xfrm>
              <a:off x="10389506" y="49660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C42E31F-4A7B-49A9-99DC-EF7F2E2D229B}"/>
                </a:ext>
                <a:ext uri="{C183D7F6-B498-43B3-948B-1728B52AA6E4}">
                  <adec:decorative xmlns:adec="http://schemas.microsoft.com/office/drawing/2017/decorative" val="1"/>
                </a:ext>
              </a:extLst>
            </p:cNvPr>
            <p:cNvSpPr/>
            <p:nvPr/>
          </p:nvSpPr>
          <p:spPr>
            <a:xfrm>
              <a:off x="10536373" y="49660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53718153-50EA-48AE-B414-13FD7E7617B9}"/>
                </a:ext>
                <a:ext uri="{C183D7F6-B498-43B3-948B-1728B52AA6E4}">
                  <adec:decorative xmlns:adec="http://schemas.microsoft.com/office/drawing/2017/decorative" val="1"/>
                </a:ext>
              </a:extLst>
            </p:cNvPr>
            <p:cNvSpPr/>
            <p:nvPr/>
          </p:nvSpPr>
          <p:spPr>
            <a:xfrm>
              <a:off x="10682818" y="49660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4F8D71AF-8030-439A-A8B8-83188B6FBE01}"/>
                </a:ext>
                <a:ext uri="{C183D7F6-B498-43B3-948B-1728B52AA6E4}">
                  <adec:decorative xmlns:adec="http://schemas.microsoft.com/office/drawing/2017/decorative" val="1"/>
                </a:ext>
              </a:extLst>
            </p:cNvPr>
            <p:cNvSpPr/>
            <p:nvPr/>
          </p:nvSpPr>
          <p:spPr>
            <a:xfrm>
              <a:off x="10389506" y="51614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CDB8D82E-722A-4105-AE2A-85B79612D3A5}"/>
                </a:ext>
                <a:ext uri="{C183D7F6-B498-43B3-948B-1728B52AA6E4}">
                  <adec:decorative xmlns:adec="http://schemas.microsoft.com/office/drawing/2017/decorative" val="1"/>
                </a:ext>
              </a:extLst>
            </p:cNvPr>
            <p:cNvSpPr/>
            <p:nvPr/>
          </p:nvSpPr>
          <p:spPr>
            <a:xfrm>
              <a:off x="10536373" y="51614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BF95C3A3-9A9F-4369-86BB-2A28DB599594}"/>
                </a:ext>
                <a:ext uri="{C183D7F6-B498-43B3-948B-1728B52AA6E4}">
                  <adec:decorative xmlns:adec="http://schemas.microsoft.com/office/drawing/2017/decorative" val="1"/>
                </a:ext>
              </a:extLst>
            </p:cNvPr>
            <p:cNvSpPr/>
            <p:nvPr/>
          </p:nvSpPr>
          <p:spPr>
            <a:xfrm>
              <a:off x="10682818" y="51614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CB6A416-109A-41B9-8031-79BEE3A41294}"/>
                </a:ext>
                <a:ext uri="{C183D7F6-B498-43B3-948B-1728B52AA6E4}">
                  <adec:decorative xmlns:adec="http://schemas.microsoft.com/office/drawing/2017/decorative" val="1"/>
                </a:ext>
              </a:extLst>
            </p:cNvPr>
            <p:cNvSpPr/>
            <p:nvPr/>
          </p:nvSpPr>
          <p:spPr>
            <a:xfrm>
              <a:off x="10389506" y="5356445"/>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0C70868-71A0-4881-A74D-F6E55736769E}"/>
                </a:ext>
                <a:ext uri="{C183D7F6-B498-43B3-948B-1728B52AA6E4}">
                  <adec:decorative xmlns:adec="http://schemas.microsoft.com/office/drawing/2017/decorative" val="1"/>
                </a:ext>
              </a:extLst>
            </p:cNvPr>
            <p:cNvSpPr/>
            <p:nvPr/>
          </p:nvSpPr>
          <p:spPr>
            <a:xfrm>
              <a:off x="10536373" y="5356445"/>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5D7C8E0E-B159-4F72-9605-4F7DEEA77903}"/>
                </a:ext>
                <a:ext uri="{C183D7F6-B498-43B3-948B-1728B52AA6E4}">
                  <adec:decorative xmlns:adec="http://schemas.microsoft.com/office/drawing/2017/decorative" val="1"/>
                </a:ext>
              </a:extLst>
            </p:cNvPr>
            <p:cNvSpPr/>
            <p:nvPr/>
          </p:nvSpPr>
          <p:spPr>
            <a:xfrm>
              <a:off x="10682818" y="5356445"/>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403ED27-5EA9-4C94-9136-36C6B0A9477D}"/>
                </a:ext>
                <a:ext uri="{C183D7F6-B498-43B3-948B-1728B52AA6E4}">
                  <adec:decorative xmlns:adec="http://schemas.microsoft.com/office/drawing/2017/decorative" val="1"/>
                </a:ext>
              </a:extLst>
            </p:cNvPr>
            <p:cNvSpPr/>
            <p:nvPr/>
          </p:nvSpPr>
          <p:spPr>
            <a:xfrm>
              <a:off x="10389506" y="55514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1F072EDC-9759-4C05-8A17-62A7574F7096}"/>
                </a:ext>
                <a:ext uri="{C183D7F6-B498-43B3-948B-1728B52AA6E4}">
                  <adec:decorative xmlns:adec="http://schemas.microsoft.com/office/drawing/2017/decorative" val="1"/>
                </a:ext>
              </a:extLst>
            </p:cNvPr>
            <p:cNvSpPr/>
            <p:nvPr/>
          </p:nvSpPr>
          <p:spPr>
            <a:xfrm>
              <a:off x="10536373" y="55514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5687F58A-FA66-4FAA-99D8-AD45A00E4510}"/>
                </a:ext>
                <a:ext uri="{C183D7F6-B498-43B3-948B-1728B52AA6E4}">
                  <adec:decorative xmlns:adec="http://schemas.microsoft.com/office/drawing/2017/decorative" val="1"/>
                </a:ext>
              </a:extLst>
            </p:cNvPr>
            <p:cNvSpPr/>
            <p:nvPr/>
          </p:nvSpPr>
          <p:spPr>
            <a:xfrm>
              <a:off x="10682818" y="55514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7AAA3E00-7447-4569-83C4-225E102A351B}"/>
                </a:ext>
                <a:ext uri="{C183D7F6-B498-43B3-948B-1728B52AA6E4}">
                  <adec:decorative xmlns:adec="http://schemas.microsoft.com/office/drawing/2017/decorative" val="1"/>
                </a:ext>
              </a:extLst>
            </p:cNvPr>
            <p:cNvSpPr/>
            <p:nvPr/>
          </p:nvSpPr>
          <p:spPr>
            <a:xfrm>
              <a:off x="10389506" y="57468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2313B4E4-4FEC-4BE8-B810-0E9C0EFA79B4}"/>
                </a:ext>
                <a:ext uri="{C183D7F6-B498-43B3-948B-1728B52AA6E4}">
                  <adec:decorative xmlns:adec="http://schemas.microsoft.com/office/drawing/2017/decorative" val="1"/>
                </a:ext>
              </a:extLst>
            </p:cNvPr>
            <p:cNvSpPr/>
            <p:nvPr/>
          </p:nvSpPr>
          <p:spPr>
            <a:xfrm>
              <a:off x="10536373" y="57468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01BEFCB3-E25E-420B-9348-AD86051DBF87}"/>
                </a:ext>
                <a:ext uri="{C183D7F6-B498-43B3-948B-1728B52AA6E4}">
                  <adec:decorative xmlns:adec="http://schemas.microsoft.com/office/drawing/2017/decorative" val="1"/>
                </a:ext>
              </a:extLst>
            </p:cNvPr>
            <p:cNvSpPr/>
            <p:nvPr/>
          </p:nvSpPr>
          <p:spPr>
            <a:xfrm>
              <a:off x="10682818" y="57468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FBD3D49F-4469-4E63-A0D4-90C220BA677C}"/>
                </a:ext>
                <a:ext uri="{C183D7F6-B498-43B3-948B-1728B52AA6E4}">
                  <adec:decorative xmlns:adec="http://schemas.microsoft.com/office/drawing/2017/decorative" val="1"/>
                </a:ext>
              </a:extLst>
            </p:cNvPr>
            <p:cNvSpPr/>
            <p:nvPr/>
          </p:nvSpPr>
          <p:spPr>
            <a:xfrm>
              <a:off x="10389506" y="594180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F0F252E-1084-48D4-B793-485BBFB72CB4}"/>
                </a:ext>
                <a:ext uri="{C183D7F6-B498-43B3-948B-1728B52AA6E4}">
                  <adec:decorative xmlns:adec="http://schemas.microsoft.com/office/drawing/2017/decorative" val="1"/>
                </a:ext>
              </a:extLst>
            </p:cNvPr>
            <p:cNvSpPr/>
            <p:nvPr/>
          </p:nvSpPr>
          <p:spPr>
            <a:xfrm>
              <a:off x="10536373" y="594180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75E71B7F-AE7A-4F5E-BD25-C9A5C45972C7}"/>
                </a:ext>
                <a:ext uri="{C183D7F6-B498-43B3-948B-1728B52AA6E4}">
                  <adec:decorative xmlns:adec="http://schemas.microsoft.com/office/drawing/2017/decorative" val="1"/>
                </a:ext>
              </a:extLst>
            </p:cNvPr>
            <p:cNvSpPr/>
            <p:nvPr/>
          </p:nvSpPr>
          <p:spPr>
            <a:xfrm>
              <a:off x="10682818" y="594180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30D9B54-7854-413D-A480-C64072D718E3}"/>
                </a:ext>
                <a:ext uri="{C183D7F6-B498-43B3-948B-1728B52AA6E4}">
                  <adec:decorative xmlns:adec="http://schemas.microsoft.com/office/drawing/2017/decorative" val="1"/>
                </a:ext>
              </a:extLst>
            </p:cNvPr>
            <p:cNvSpPr/>
            <p:nvPr/>
          </p:nvSpPr>
          <p:spPr>
            <a:xfrm>
              <a:off x="10389506" y="6136779"/>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1AC9AAE6-35E7-41FA-BE20-71AE1E26F717}"/>
                </a:ext>
                <a:ext uri="{C183D7F6-B498-43B3-948B-1728B52AA6E4}">
                  <adec:decorative xmlns:adec="http://schemas.microsoft.com/office/drawing/2017/decorative" val="1"/>
                </a:ext>
              </a:extLst>
            </p:cNvPr>
            <p:cNvSpPr/>
            <p:nvPr/>
          </p:nvSpPr>
          <p:spPr>
            <a:xfrm>
              <a:off x="10536373" y="6136779"/>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B509866D-ED5C-4052-9401-5759F72E3D84}"/>
                </a:ext>
                <a:ext uri="{C183D7F6-B498-43B3-948B-1728B52AA6E4}">
                  <adec:decorative xmlns:adec="http://schemas.microsoft.com/office/drawing/2017/decorative" val="1"/>
                </a:ext>
              </a:extLst>
            </p:cNvPr>
            <p:cNvSpPr/>
            <p:nvPr/>
          </p:nvSpPr>
          <p:spPr>
            <a:xfrm>
              <a:off x="10682818" y="6136779"/>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C9E5EAE7-8C5D-45CE-A1BA-800ECF38147A}"/>
                </a:ext>
                <a:ext uri="{C183D7F6-B498-43B3-948B-1728B52AA6E4}">
                  <adec:decorative xmlns:adec="http://schemas.microsoft.com/office/drawing/2017/decorative" val="1"/>
                </a:ext>
              </a:extLst>
            </p:cNvPr>
            <p:cNvSpPr/>
            <p:nvPr/>
          </p:nvSpPr>
          <p:spPr>
            <a:xfrm>
              <a:off x="9975494" y="6136779"/>
              <a:ext cx="295422" cy="211015"/>
            </a:xfrm>
            <a:custGeom>
              <a:avLst/>
              <a:gdLst>
                <a:gd name="connsiteX0" fmla="*/ 324119 w 295421"/>
                <a:gd name="connsiteY0" fmla="*/ 231695 h 211015"/>
                <a:gd name="connsiteX1" fmla="*/ 0 w 295421"/>
                <a:gd name="connsiteY1" fmla="*/ 231695 h 211015"/>
                <a:gd name="connsiteX2" fmla="*/ 0 w 295421"/>
                <a:gd name="connsiteY2" fmla="*/ 162060 h 211015"/>
                <a:gd name="connsiteX3" fmla="*/ 162060 w 295421"/>
                <a:gd name="connsiteY3" fmla="*/ 0 h 211015"/>
                <a:gd name="connsiteX4" fmla="*/ 324119 w 295421"/>
                <a:gd name="connsiteY4" fmla="*/ 162060 h 211015"/>
                <a:gd name="connsiteX5" fmla="*/ 324119 w 295421"/>
                <a:gd name="connsiteY5" fmla="*/ 231695 h 2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421" h="211015">
                  <a:moveTo>
                    <a:pt x="324119" y="231695"/>
                  </a:moveTo>
                  <a:lnTo>
                    <a:pt x="0" y="231695"/>
                  </a:lnTo>
                  <a:lnTo>
                    <a:pt x="0" y="162060"/>
                  </a:lnTo>
                  <a:cubicBezTo>
                    <a:pt x="0" y="72589"/>
                    <a:pt x="72589" y="0"/>
                    <a:pt x="162060" y="0"/>
                  </a:cubicBezTo>
                  <a:cubicBezTo>
                    <a:pt x="251530" y="0"/>
                    <a:pt x="324119" y="72589"/>
                    <a:pt x="324119" y="162060"/>
                  </a:cubicBezTo>
                  <a:lnTo>
                    <a:pt x="324119" y="231695"/>
                  </a:lnTo>
                  <a:close/>
                </a:path>
              </a:pathLst>
            </a:custGeom>
            <a:solidFill>
              <a:srgbClr val="09538F"/>
            </a:solidFill>
            <a:ln w="42182"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28C5988-9A45-4738-9C14-B4C23CCC8D88}"/>
                </a:ext>
                <a:ext uri="{C183D7F6-B498-43B3-948B-1728B52AA6E4}">
                  <adec:decorative xmlns:adec="http://schemas.microsoft.com/office/drawing/2017/decorative" val="1"/>
                </a:ext>
              </a:extLst>
            </p:cNvPr>
            <p:cNvSpPr/>
            <p:nvPr/>
          </p:nvSpPr>
          <p:spPr>
            <a:xfrm>
              <a:off x="9942576" y="5903818"/>
              <a:ext cx="84406" cy="168812"/>
            </a:xfrm>
            <a:custGeom>
              <a:avLst/>
              <a:gdLst>
                <a:gd name="connsiteX0" fmla="*/ 48956 w 84406"/>
                <a:gd name="connsiteY0" fmla="*/ 0 h 168812"/>
                <a:gd name="connsiteX1" fmla="*/ 48956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6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6" y="0"/>
                  </a:moveTo>
                  <a:lnTo>
                    <a:pt x="48956" y="0"/>
                  </a:lnTo>
                  <a:cubicBezTo>
                    <a:pt x="75966" y="0"/>
                    <a:pt x="98333" y="21945"/>
                    <a:pt x="98333" y="49378"/>
                  </a:cubicBezTo>
                  <a:lnTo>
                    <a:pt x="98333" y="178941"/>
                  </a:lnTo>
                  <a:lnTo>
                    <a:pt x="0" y="178941"/>
                  </a:lnTo>
                  <a:lnTo>
                    <a:pt x="0" y="49378"/>
                  </a:lnTo>
                  <a:cubicBezTo>
                    <a:pt x="0" y="21945"/>
                    <a:pt x="21946" y="0"/>
                    <a:pt x="48956" y="0"/>
                  </a:cubicBezTo>
                </a:path>
              </a:pathLst>
            </a:custGeom>
            <a:solidFill>
              <a:srgbClr val="09538F"/>
            </a:solidFill>
            <a:ln w="42182"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EFE0520B-9B5D-44C1-8612-E904AD6C05CD}"/>
                </a:ext>
                <a:ext uri="{C183D7F6-B498-43B3-948B-1728B52AA6E4}">
                  <adec:decorative xmlns:adec="http://schemas.microsoft.com/office/drawing/2017/decorative" val="1"/>
                </a:ext>
              </a:extLst>
            </p:cNvPr>
            <p:cNvSpPr/>
            <p:nvPr/>
          </p:nvSpPr>
          <p:spPr>
            <a:xfrm>
              <a:off x="10234199" y="5903818"/>
              <a:ext cx="84406" cy="168812"/>
            </a:xfrm>
            <a:custGeom>
              <a:avLst/>
              <a:gdLst>
                <a:gd name="connsiteX0" fmla="*/ 48955 w 84406"/>
                <a:gd name="connsiteY0" fmla="*/ 0 h 168812"/>
                <a:gd name="connsiteX1" fmla="*/ 48955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5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5" y="0"/>
                  </a:moveTo>
                  <a:lnTo>
                    <a:pt x="48955" y="0"/>
                  </a:lnTo>
                  <a:cubicBezTo>
                    <a:pt x="75965" y="0"/>
                    <a:pt x="98333" y="21945"/>
                    <a:pt x="98333" y="49378"/>
                  </a:cubicBezTo>
                  <a:lnTo>
                    <a:pt x="98333" y="178941"/>
                  </a:lnTo>
                  <a:lnTo>
                    <a:pt x="0" y="178941"/>
                  </a:lnTo>
                  <a:lnTo>
                    <a:pt x="0" y="49378"/>
                  </a:lnTo>
                  <a:cubicBezTo>
                    <a:pt x="0" y="21945"/>
                    <a:pt x="21945" y="0"/>
                    <a:pt x="48955" y="0"/>
                  </a:cubicBezTo>
                </a:path>
              </a:pathLst>
            </a:custGeom>
            <a:solidFill>
              <a:srgbClr val="09538F"/>
            </a:solidFill>
            <a:ln w="42182"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369D99AB-4096-4313-A0C8-6C47DA3ECD7A}"/>
                </a:ext>
                <a:ext uri="{C183D7F6-B498-43B3-948B-1728B52AA6E4}">
                  <adec:decorative xmlns:adec="http://schemas.microsoft.com/office/drawing/2017/decorative" val="1"/>
                </a:ext>
              </a:extLst>
            </p:cNvPr>
            <p:cNvSpPr/>
            <p:nvPr/>
          </p:nvSpPr>
          <p:spPr>
            <a:xfrm>
              <a:off x="10088592" y="5903818"/>
              <a:ext cx="84406" cy="168812"/>
            </a:xfrm>
            <a:custGeom>
              <a:avLst/>
              <a:gdLst>
                <a:gd name="connsiteX0" fmla="*/ 48962 w 84406"/>
                <a:gd name="connsiteY0" fmla="*/ 0 h 168812"/>
                <a:gd name="connsiteX1" fmla="*/ 48962 w 84406"/>
                <a:gd name="connsiteY1" fmla="*/ 0 h 168812"/>
                <a:gd name="connsiteX2" fmla="*/ 98339 w 84406"/>
                <a:gd name="connsiteY2" fmla="*/ 49378 h 168812"/>
                <a:gd name="connsiteX3" fmla="*/ 98339 w 84406"/>
                <a:gd name="connsiteY3" fmla="*/ 178941 h 168812"/>
                <a:gd name="connsiteX4" fmla="*/ 6 w 84406"/>
                <a:gd name="connsiteY4" fmla="*/ 178941 h 168812"/>
                <a:gd name="connsiteX5" fmla="*/ 6 w 84406"/>
                <a:gd name="connsiteY5" fmla="*/ 49378 h 168812"/>
                <a:gd name="connsiteX6" fmla="*/ 48962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62" y="0"/>
                  </a:moveTo>
                  <a:lnTo>
                    <a:pt x="48962" y="0"/>
                  </a:lnTo>
                  <a:cubicBezTo>
                    <a:pt x="75972" y="0"/>
                    <a:pt x="98339" y="21945"/>
                    <a:pt x="98339" y="49378"/>
                  </a:cubicBezTo>
                  <a:lnTo>
                    <a:pt x="98339" y="178941"/>
                  </a:lnTo>
                  <a:lnTo>
                    <a:pt x="6" y="178941"/>
                  </a:lnTo>
                  <a:lnTo>
                    <a:pt x="6" y="49378"/>
                  </a:lnTo>
                  <a:cubicBezTo>
                    <a:pt x="-416" y="21945"/>
                    <a:pt x="21530" y="0"/>
                    <a:pt x="48962" y="0"/>
                  </a:cubicBezTo>
                </a:path>
              </a:pathLst>
            </a:custGeom>
            <a:solidFill>
              <a:srgbClr val="09538F"/>
            </a:solidFill>
            <a:ln w="42182"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F65722FB-FAC8-445F-A8EE-8EA04D94735A}"/>
                </a:ext>
                <a:ext uri="{C183D7F6-B498-43B3-948B-1728B52AA6E4}">
                  <adec:decorative xmlns:adec="http://schemas.microsoft.com/office/drawing/2017/decorative" val="1"/>
                </a:ext>
              </a:extLst>
            </p:cNvPr>
            <p:cNvSpPr/>
            <p:nvPr/>
          </p:nvSpPr>
          <p:spPr>
            <a:xfrm>
              <a:off x="9942576" y="5654398"/>
              <a:ext cx="84406" cy="168812"/>
            </a:xfrm>
            <a:custGeom>
              <a:avLst/>
              <a:gdLst>
                <a:gd name="connsiteX0" fmla="*/ 48956 w 84406"/>
                <a:gd name="connsiteY0" fmla="*/ 0 h 168812"/>
                <a:gd name="connsiteX1" fmla="*/ 48956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6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6" y="0"/>
                  </a:moveTo>
                  <a:lnTo>
                    <a:pt x="48956" y="0"/>
                  </a:lnTo>
                  <a:cubicBezTo>
                    <a:pt x="75966" y="0"/>
                    <a:pt x="98333" y="21946"/>
                    <a:pt x="98333" y="49378"/>
                  </a:cubicBezTo>
                  <a:lnTo>
                    <a:pt x="98333" y="178941"/>
                  </a:lnTo>
                  <a:lnTo>
                    <a:pt x="0" y="178941"/>
                  </a:lnTo>
                  <a:lnTo>
                    <a:pt x="0" y="49378"/>
                  </a:lnTo>
                  <a:cubicBezTo>
                    <a:pt x="0" y="22368"/>
                    <a:pt x="21946" y="0"/>
                    <a:pt x="48956" y="0"/>
                  </a:cubicBezTo>
                </a:path>
              </a:pathLst>
            </a:custGeom>
            <a:solidFill>
              <a:srgbClr val="09538F"/>
            </a:solidFill>
            <a:ln w="42182"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678E0314-9438-4293-9021-FC2D9A0A8448}"/>
                </a:ext>
                <a:ext uri="{C183D7F6-B498-43B3-948B-1728B52AA6E4}">
                  <adec:decorative xmlns:adec="http://schemas.microsoft.com/office/drawing/2017/decorative" val="1"/>
                </a:ext>
              </a:extLst>
            </p:cNvPr>
            <p:cNvSpPr/>
            <p:nvPr/>
          </p:nvSpPr>
          <p:spPr>
            <a:xfrm>
              <a:off x="10234199" y="5654398"/>
              <a:ext cx="84406" cy="168812"/>
            </a:xfrm>
            <a:custGeom>
              <a:avLst/>
              <a:gdLst>
                <a:gd name="connsiteX0" fmla="*/ 48955 w 84406"/>
                <a:gd name="connsiteY0" fmla="*/ 0 h 168812"/>
                <a:gd name="connsiteX1" fmla="*/ 48955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5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5" y="0"/>
                  </a:moveTo>
                  <a:lnTo>
                    <a:pt x="48955" y="0"/>
                  </a:lnTo>
                  <a:cubicBezTo>
                    <a:pt x="75965" y="0"/>
                    <a:pt x="98333" y="21946"/>
                    <a:pt x="98333" y="49378"/>
                  </a:cubicBezTo>
                  <a:lnTo>
                    <a:pt x="98333" y="178941"/>
                  </a:lnTo>
                  <a:lnTo>
                    <a:pt x="0" y="178941"/>
                  </a:lnTo>
                  <a:lnTo>
                    <a:pt x="0" y="49378"/>
                  </a:lnTo>
                  <a:cubicBezTo>
                    <a:pt x="0" y="22368"/>
                    <a:pt x="21945" y="0"/>
                    <a:pt x="48955" y="0"/>
                  </a:cubicBezTo>
                </a:path>
              </a:pathLst>
            </a:custGeom>
            <a:solidFill>
              <a:srgbClr val="09538F"/>
            </a:solidFill>
            <a:ln w="42182"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1F626654-DED6-46E5-A568-1361CB27EF1E}"/>
                </a:ext>
                <a:ext uri="{C183D7F6-B498-43B3-948B-1728B52AA6E4}">
                  <adec:decorative xmlns:adec="http://schemas.microsoft.com/office/drawing/2017/decorative" val="1"/>
                </a:ext>
              </a:extLst>
            </p:cNvPr>
            <p:cNvSpPr/>
            <p:nvPr/>
          </p:nvSpPr>
          <p:spPr>
            <a:xfrm>
              <a:off x="10088592" y="5654398"/>
              <a:ext cx="84406" cy="168812"/>
            </a:xfrm>
            <a:custGeom>
              <a:avLst/>
              <a:gdLst>
                <a:gd name="connsiteX0" fmla="*/ 48962 w 84406"/>
                <a:gd name="connsiteY0" fmla="*/ 0 h 168812"/>
                <a:gd name="connsiteX1" fmla="*/ 48962 w 84406"/>
                <a:gd name="connsiteY1" fmla="*/ 0 h 168812"/>
                <a:gd name="connsiteX2" fmla="*/ 98339 w 84406"/>
                <a:gd name="connsiteY2" fmla="*/ 49378 h 168812"/>
                <a:gd name="connsiteX3" fmla="*/ 98339 w 84406"/>
                <a:gd name="connsiteY3" fmla="*/ 178941 h 168812"/>
                <a:gd name="connsiteX4" fmla="*/ 6 w 84406"/>
                <a:gd name="connsiteY4" fmla="*/ 178941 h 168812"/>
                <a:gd name="connsiteX5" fmla="*/ 6 w 84406"/>
                <a:gd name="connsiteY5" fmla="*/ 49378 h 168812"/>
                <a:gd name="connsiteX6" fmla="*/ 48962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62" y="0"/>
                  </a:moveTo>
                  <a:lnTo>
                    <a:pt x="48962" y="0"/>
                  </a:lnTo>
                  <a:cubicBezTo>
                    <a:pt x="75972" y="0"/>
                    <a:pt x="98339" y="21946"/>
                    <a:pt x="98339" y="49378"/>
                  </a:cubicBezTo>
                  <a:lnTo>
                    <a:pt x="98339" y="178941"/>
                  </a:lnTo>
                  <a:lnTo>
                    <a:pt x="6" y="178941"/>
                  </a:lnTo>
                  <a:lnTo>
                    <a:pt x="6" y="49378"/>
                  </a:lnTo>
                  <a:cubicBezTo>
                    <a:pt x="-416" y="22368"/>
                    <a:pt x="21530" y="0"/>
                    <a:pt x="48962" y="0"/>
                  </a:cubicBezTo>
                </a:path>
              </a:pathLst>
            </a:custGeom>
            <a:solidFill>
              <a:srgbClr val="09538F"/>
            </a:solidFill>
            <a:ln w="42182"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E18CC66F-BE03-40A7-9852-46D3AD600826}"/>
                </a:ext>
                <a:ext uri="{C183D7F6-B498-43B3-948B-1728B52AA6E4}">
                  <adec:decorative xmlns:adec="http://schemas.microsoft.com/office/drawing/2017/decorative" val="1"/>
                </a:ext>
              </a:extLst>
            </p:cNvPr>
            <p:cNvSpPr/>
            <p:nvPr/>
          </p:nvSpPr>
          <p:spPr>
            <a:xfrm>
              <a:off x="9942576" y="5405400"/>
              <a:ext cx="84406" cy="168812"/>
            </a:xfrm>
            <a:custGeom>
              <a:avLst/>
              <a:gdLst>
                <a:gd name="connsiteX0" fmla="*/ 48956 w 84406"/>
                <a:gd name="connsiteY0" fmla="*/ 0 h 168812"/>
                <a:gd name="connsiteX1" fmla="*/ 48956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6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6" y="0"/>
                  </a:moveTo>
                  <a:lnTo>
                    <a:pt x="48956" y="0"/>
                  </a:lnTo>
                  <a:cubicBezTo>
                    <a:pt x="75966" y="0"/>
                    <a:pt x="98333" y="21945"/>
                    <a:pt x="98333" y="49378"/>
                  </a:cubicBezTo>
                  <a:lnTo>
                    <a:pt x="98333" y="178941"/>
                  </a:lnTo>
                  <a:lnTo>
                    <a:pt x="0" y="178941"/>
                  </a:lnTo>
                  <a:lnTo>
                    <a:pt x="0" y="49378"/>
                  </a:lnTo>
                  <a:cubicBezTo>
                    <a:pt x="0" y="21945"/>
                    <a:pt x="21946" y="0"/>
                    <a:pt x="48956" y="0"/>
                  </a:cubicBezTo>
                </a:path>
              </a:pathLst>
            </a:custGeom>
            <a:solidFill>
              <a:srgbClr val="09538F"/>
            </a:solidFill>
            <a:ln w="42182"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236C56F-C62A-402A-9EF7-496ABB2F3356}"/>
                </a:ext>
                <a:ext uri="{C183D7F6-B498-43B3-948B-1728B52AA6E4}">
                  <adec:decorative xmlns:adec="http://schemas.microsoft.com/office/drawing/2017/decorative" val="1"/>
                </a:ext>
              </a:extLst>
            </p:cNvPr>
            <p:cNvSpPr/>
            <p:nvPr/>
          </p:nvSpPr>
          <p:spPr>
            <a:xfrm>
              <a:off x="10234199" y="5405400"/>
              <a:ext cx="84406" cy="168812"/>
            </a:xfrm>
            <a:custGeom>
              <a:avLst/>
              <a:gdLst>
                <a:gd name="connsiteX0" fmla="*/ 48955 w 84406"/>
                <a:gd name="connsiteY0" fmla="*/ 0 h 168812"/>
                <a:gd name="connsiteX1" fmla="*/ 48955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5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5" y="0"/>
                  </a:moveTo>
                  <a:lnTo>
                    <a:pt x="48955" y="0"/>
                  </a:lnTo>
                  <a:cubicBezTo>
                    <a:pt x="75965" y="0"/>
                    <a:pt x="98333" y="21945"/>
                    <a:pt x="98333" y="49378"/>
                  </a:cubicBezTo>
                  <a:lnTo>
                    <a:pt x="98333" y="178941"/>
                  </a:lnTo>
                  <a:lnTo>
                    <a:pt x="0" y="178941"/>
                  </a:lnTo>
                  <a:lnTo>
                    <a:pt x="0" y="49378"/>
                  </a:lnTo>
                  <a:cubicBezTo>
                    <a:pt x="0" y="21945"/>
                    <a:pt x="21945" y="0"/>
                    <a:pt x="48955" y="0"/>
                  </a:cubicBezTo>
                </a:path>
              </a:pathLst>
            </a:custGeom>
            <a:solidFill>
              <a:srgbClr val="09538F"/>
            </a:solidFill>
            <a:ln w="42182"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F9F0AC9D-790F-459E-82DE-D680899F24E5}"/>
                </a:ext>
                <a:ext uri="{C183D7F6-B498-43B3-948B-1728B52AA6E4}">
                  <adec:decorative xmlns:adec="http://schemas.microsoft.com/office/drawing/2017/decorative" val="1"/>
                </a:ext>
              </a:extLst>
            </p:cNvPr>
            <p:cNvSpPr/>
            <p:nvPr/>
          </p:nvSpPr>
          <p:spPr>
            <a:xfrm>
              <a:off x="10088592" y="5405400"/>
              <a:ext cx="84406" cy="168812"/>
            </a:xfrm>
            <a:custGeom>
              <a:avLst/>
              <a:gdLst>
                <a:gd name="connsiteX0" fmla="*/ 48962 w 84406"/>
                <a:gd name="connsiteY0" fmla="*/ 0 h 168812"/>
                <a:gd name="connsiteX1" fmla="*/ 48962 w 84406"/>
                <a:gd name="connsiteY1" fmla="*/ 0 h 168812"/>
                <a:gd name="connsiteX2" fmla="*/ 98339 w 84406"/>
                <a:gd name="connsiteY2" fmla="*/ 49378 h 168812"/>
                <a:gd name="connsiteX3" fmla="*/ 98339 w 84406"/>
                <a:gd name="connsiteY3" fmla="*/ 178941 h 168812"/>
                <a:gd name="connsiteX4" fmla="*/ 6 w 84406"/>
                <a:gd name="connsiteY4" fmla="*/ 178941 h 168812"/>
                <a:gd name="connsiteX5" fmla="*/ 6 w 84406"/>
                <a:gd name="connsiteY5" fmla="*/ 49378 h 168812"/>
                <a:gd name="connsiteX6" fmla="*/ 48962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62" y="0"/>
                  </a:moveTo>
                  <a:lnTo>
                    <a:pt x="48962" y="0"/>
                  </a:lnTo>
                  <a:cubicBezTo>
                    <a:pt x="75972" y="0"/>
                    <a:pt x="98339" y="21945"/>
                    <a:pt x="98339" y="49378"/>
                  </a:cubicBezTo>
                  <a:lnTo>
                    <a:pt x="98339" y="178941"/>
                  </a:lnTo>
                  <a:lnTo>
                    <a:pt x="6" y="178941"/>
                  </a:lnTo>
                  <a:lnTo>
                    <a:pt x="6" y="49378"/>
                  </a:lnTo>
                  <a:cubicBezTo>
                    <a:pt x="-416" y="21945"/>
                    <a:pt x="21530" y="0"/>
                    <a:pt x="48962" y="0"/>
                  </a:cubicBezTo>
                </a:path>
              </a:pathLst>
            </a:custGeom>
            <a:solidFill>
              <a:srgbClr val="09538F"/>
            </a:solidFill>
            <a:ln w="42182"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204FE89-3588-4997-B7B2-782D9B9501BC}"/>
                </a:ext>
                <a:ext uri="{C183D7F6-B498-43B3-948B-1728B52AA6E4}">
                  <adec:decorative xmlns:adec="http://schemas.microsoft.com/office/drawing/2017/decorative" val="1"/>
                </a:ext>
              </a:extLst>
            </p:cNvPr>
            <p:cNvSpPr/>
            <p:nvPr/>
          </p:nvSpPr>
          <p:spPr>
            <a:xfrm>
              <a:off x="9396468" y="5677188"/>
              <a:ext cx="506437" cy="675249"/>
            </a:xfrm>
            <a:custGeom>
              <a:avLst/>
              <a:gdLst>
                <a:gd name="connsiteX0" fmla="*/ 406838 w 506436"/>
                <a:gd name="connsiteY0" fmla="*/ 119857 h 675249"/>
                <a:gd name="connsiteX1" fmla="*/ 406838 w 506436"/>
                <a:gd name="connsiteY1" fmla="*/ 57396 h 675249"/>
                <a:gd name="connsiteX2" fmla="*/ 261237 w 506436"/>
                <a:gd name="connsiteY2" fmla="*/ 0 h 675249"/>
                <a:gd name="connsiteX3" fmla="*/ 115636 w 506436"/>
                <a:gd name="connsiteY3" fmla="*/ 57396 h 675249"/>
                <a:gd name="connsiteX4" fmla="*/ 115636 w 506436"/>
                <a:gd name="connsiteY4" fmla="*/ 119857 h 675249"/>
                <a:gd name="connsiteX5" fmla="*/ 0 w 506436"/>
                <a:gd name="connsiteY5" fmla="*/ 119857 h 675249"/>
                <a:gd name="connsiteX6" fmla="*/ 0 w 506436"/>
                <a:gd name="connsiteY6" fmla="*/ 691708 h 675249"/>
                <a:gd name="connsiteX7" fmla="*/ 167546 w 506436"/>
                <a:gd name="connsiteY7" fmla="*/ 691708 h 675249"/>
                <a:gd name="connsiteX8" fmla="*/ 167546 w 506436"/>
                <a:gd name="connsiteY8" fmla="*/ 543576 h 675249"/>
                <a:gd name="connsiteX9" fmla="*/ 354506 w 506436"/>
                <a:gd name="connsiteY9" fmla="*/ 543576 h 675249"/>
                <a:gd name="connsiteX10" fmla="*/ 354506 w 506436"/>
                <a:gd name="connsiteY10" fmla="*/ 691708 h 675249"/>
                <a:gd name="connsiteX11" fmla="*/ 522052 w 506436"/>
                <a:gd name="connsiteY11" fmla="*/ 691708 h 675249"/>
                <a:gd name="connsiteX12" fmla="*/ 522052 w 506436"/>
                <a:gd name="connsiteY12" fmla="*/ 119857 h 675249"/>
                <a:gd name="connsiteX13" fmla="*/ 406838 w 506436"/>
                <a:gd name="connsiteY13" fmla="*/ 119857 h 675249"/>
                <a:gd name="connsiteX14" fmla="*/ 115214 w 506436"/>
                <a:gd name="connsiteY14" fmla="*/ 490822 h 675249"/>
                <a:gd name="connsiteX15" fmla="*/ 54864 w 506436"/>
                <a:gd name="connsiteY15" fmla="*/ 490822 h 675249"/>
                <a:gd name="connsiteX16" fmla="*/ 54864 w 506436"/>
                <a:gd name="connsiteY16" fmla="*/ 397975 h 675249"/>
                <a:gd name="connsiteX17" fmla="*/ 115214 w 506436"/>
                <a:gd name="connsiteY17" fmla="*/ 397975 h 675249"/>
                <a:gd name="connsiteX18" fmla="*/ 115214 w 506436"/>
                <a:gd name="connsiteY18" fmla="*/ 490822 h 675249"/>
                <a:gd name="connsiteX19" fmla="*/ 115214 w 506436"/>
                <a:gd name="connsiteY19" fmla="*/ 373919 h 675249"/>
                <a:gd name="connsiteX20" fmla="*/ 54864 w 506436"/>
                <a:gd name="connsiteY20" fmla="*/ 373919 h 675249"/>
                <a:gd name="connsiteX21" fmla="*/ 54864 w 506436"/>
                <a:gd name="connsiteY21" fmla="*/ 281073 h 675249"/>
                <a:gd name="connsiteX22" fmla="*/ 115214 w 506436"/>
                <a:gd name="connsiteY22" fmla="*/ 281073 h 675249"/>
                <a:gd name="connsiteX23" fmla="*/ 115214 w 506436"/>
                <a:gd name="connsiteY23" fmla="*/ 373919 h 675249"/>
                <a:gd name="connsiteX24" fmla="*/ 115214 w 506436"/>
                <a:gd name="connsiteY24" fmla="*/ 256595 h 675249"/>
                <a:gd name="connsiteX25" fmla="*/ 54864 w 506436"/>
                <a:gd name="connsiteY25" fmla="*/ 256595 h 675249"/>
                <a:gd name="connsiteX26" fmla="*/ 54864 w 506436"/>
                <a:gd name="connsiteY26" fmla="*/ 163748 h 675249"/>
                <a:gd name="connsiteX27" fmla="*/ 115214 w 506436"/>
                <a:gd name="connsiteY27" fmla="*/ 163748 h 675249"/>
                <a:gd name="connsiteX28" fmla="*/ 115214 w 506436"/>
                <a:gd name="connsiteY28" fmla="*/ 256595 h 675249"/>
                <a:gd name="connsiteX29" fmla="*/ 202997 w 506436"/>
                <a:gd name="connsiteY29" fmla="*/ 490822 h 675249"/>
                <a:gd name="connsiteX30" fmla="*/ 142646 w 506436"/>
                <a:gd name="connsiteY30" fmla="*/ 490822 h 675249"/>
                <a:gd name="connsiteX31" fmla="*/ 142646 w 506436"/>
                <a:gd name="connsiteY31" fmla="*/ 397975 h 675249"/>
                <a:gd name="connsiteX32" fmla="*/ 202997 w 506436"/>
                <a:gd name="connsiteY32" fmla="*/ 397975 h 675249"/>
                <a:gd name="connsiteX33" fmla="*/ 202997 w 506436"/>
                <a:gd name="connsiteY33" fmla="*/ 490822 h 675249"/>
                <a:gd name="connsiteX34" fmla="*/ 202997 w 506436"/>
                <a:gd name="connsiteY34" fmla="*/ 373919 h 675249"/>
                <a:gd name="connsiteX35" fmla="*/ 142646 w 506436"/>
                <a:gd name="connsiteY35" fmla="*/ 373919 h 675249"/>
                <a:gd name="connsiteX36" fmla="*/ 142646 w 506436"/>
                <a:gd name="connsiteY36" fmla="*/ 281073 h 675249"/>
                <a:gd name="connsiteX37" fmla="*/ 202997 w 506436"/>
                <a:gd name="connsiteY37" fmla="*/ 281073 h 675249"/>
                <a:gd name="connsiteX38" fmla="*/ 202997 w 506436"/>
                <a:gd name="connsiteY38" fmla="*/ 373919 h 675249"/>
                <a:gd name="connsiteX39" fmla="*/ 202997 w 506436"/>
                <a:gd name="connsiteY39" fmla="*/ 256595 h 675249"/>
                <a:gd name="connsiteX40" fmla="*/ 142646 w 506436"/>
                <a:gd name="connsiteY40" fmla="*/ 256595 h 675249"/>
                <a:gd name="connsiteX41" fmla="*/ 142646 w 506436"/>
                <a:gd name="connsiteY41" fmla="*/ 163748 h 675249"/>
                <a:gd name="connsiteX42" fmla="*/ 202997 w 506436"/>
                <a:gd name="connsiteY42" fmla="*/ 163748 h 675249"/>
                <a:gd name="connsiteX43" fmla="*/ 202997 w 506436"/>
                <a:gd name="connsiteY43" fmla="*/ 256595 h 675249"/>
                <a:gd name="connsiteX44" fmla="*/ 291201 w 506436"/>
                <a:gd name="connsiteY44" fmla="*/ 490822 h 675249"/>
                <a:gd name="connsiteX45" fmla="*/ 230851 w 506436"/>
                <a:gd name="connsiteY45" fmla="*/ 490822 h 675249"/>
                <a:gd name="connsiteX46" fmla="*/ 230851 w 506436"/>
                <a:gd name="connsiteY46" fmla="*/ 397975 h 675249"/>
                <a:gd name="connsiteX47" fmla="*/ 291201 w 506436"/>
                <a:gd name="connsiteY47" fmla="*/ 397975 h 675249"/>
                <a:gd name="connsiteX48" fmla="*/ 291201 w 506436"/>
                <a:gd name="connsiteY48" fmla="*/ 490822 h 675249"/>
                <a:gd name="connsiteX49" fmla="*/ 291201 w 506436"/>
                <a:gd name="connsiteY49" fmla="*/ 373919 h 675249"/>
                <a:gd name="connsiteX50" fmla="*/ 230851 w 506436"/>
                <a:gd name="connsiteY50" fmla="*/ 373919 h 675249"/>
                <a:gd name="connsiteX51" fmla="*/ 230851 w 506436"/>
                <a:gd name="connsiteY51" fmla="*/ 281073 h 675249"/>
                <a:gd name="connsiteX52" fmla="*/ 291201 w 506436"/>
                <a:gd name="connsiteY52" fmla="*/ 281073 h 675249"/>
                <a:gd name="connsiteX53" fmla="*/ 291201 w 506436"/>
                <a:gd name="connsiteY53" fmla="*/ 373919 h 675249"/>
                <a:gd name="connsiteX54" fmla="*/ 291201 w 506436"/>
                <a:gd name="connsiteY54" fmla="*/ 256595 h 675249"/>
                <a:gd name="connsiteX55" fmla="*/ 230851 w 506436"/>
                <a:gd name="connsiteY55" fmla="*/ 256595 h 675249"/>
                <a:gd name="connsiteX56" fmla="*/ 230851 w 506436"/>
                <a:gd name="connsiteY56" fmla="*/ 163748 h 675249"/>
                <a:gd name="connsiteX57" fmla="*/ 291201 w 506436"/>
                <a:gd name="connsiteY57" fmla="*/ 163748 h 675249"/>
                <a:gd name="connsiteX58" fmla="*/ 291201 w 506436"/>
                <a:gd name="connsiteY58" fmla="*/ 256595 h 675249"/>
                <a:gd name="connsiteX59" fmla="*/ 378983 w 506436"/>
                <a:gd name="connsiteY59" fmla="*/ 490822 h 675249"/>
                <a:gd name="connsiteX60" fmla="*/ 318633 w 506436"/>
                <a:gd name="connsiteY60" fmla="*/ 490822 h 675249"/>
                <a:gd name="connsiteX61" fmla="*/ 318633 w 506436"/>
                <a:gd name="connsiteY61" fmla="*/ 397975 h 675249"/>
                <a:gd name="connsiteX62" fmla="*/ 378983 w 506436"/>
                <a:gd name="connsiteY62" fmla="*/ 397975 h 675249"/>
                <a:gd name="connsiteX63" fmla="*/ 378983 w 506436"/>
                <a:gd name="connsiteY63" fmla="*/ 490822 h 675249"/>
                <a:gd name="connsiteX64" fmla="*/ 378983 w 506436"/>
                <a:gd name="connsiteY64" fmla="*/ 373919 h 675249"/>
                <a:gd name="connsiteX65" fmla="*/ 318633 w 506436"/>
                <a:gd name="connsiteY65" fmla="*/ 373919 h 675249"/>
                <a:gd name="connsiteX66" fmla="*/ 318633 w 506436"/>
                <a:gd name="connsiteY66" fmla="*/ 281073 h 675249"/>
                <a:gd name="connsiteX67" fmla="*/ 378983 w 506436"/>
                <a:gd name="connsiteY67" fmla="*/ 281073 h 675249"/>
                <a:gd name="connsiteX68" fmla="*/ 378983 w 506436"/>
                <a:gd name="connsiteY68" fmla="*/ 373919 h 675249"/>
                <a:gd name="connsiteX69" fmla="*/ 378983 w 506436"/>
                <a:gd name="connsiteY69" fmla="*/ 256595 h 675249"/>
                <a:gd name="connsiteX70" fmla="*/ 318633 w 506436"/>
                <a:gd name="connsiteY70" fmla="*/ 256595 h 675249"/>
                <a:gd name="connsiteX71" fmla="*/ 318633 w 506436"/>
                <a:gd name="connsiteY71" fmla="*/ 163748 h 675249"/>
                <a:gd name="connsiteX72" fmla="*/ 378983 w 506436"/>
                <a:gd name="connsiteY72" fmla="*/ 163748 h 675249"/>
                <a:gd name="connsiteX73" fmla="*/ 378983 w 506436"/>
                <a:gd name="connsiteY73" fmla="*/ 256595 h 675249"/>
                <a:gd name="connsiteX74" fmla="*/ 467188 w 506436"/>
                <a:gd name="connsiteY74" fmla="*/ 490822 h 675249"/>
                <a:gd name="connsiteX75" fmla="*/ 406838 w 506436"/>
                <a:gd name="connsiteY75" fmla="*/ 490822 h 675249"/>
                <a:gd name="connsiteX76" fmla="*/ 406838 w 506436"/>
                <a:gd name="connsiteY76" fmla="*/ 397975 h 675249"/>
                <a:gd name="connsiteX77" fmla="*/ 467188 w 506436"/>
                <a:gd name="connsiteY77" fmla="*/ 397975 h 675249"/>
                <a:gd name="connsiteX78" fmla="*/ 467188 w 506436"/>
                <a:gd name="connsiteY78" fmla="*/ 490822 h 675249"/>
                <a:gd name="connsiteX79" fmla="*/ 467188 w 506436"/>
                <a:gd name="connsiteY79" fmla="*/ 373919 h 675249"/>
                <a:gd name="connsiteX80" fmla="*/ 406838 w 506436"/>
                <a:gd name="connsiteY80" fmla="*/ 373919 h 675249"/>
                <a:gd name="connsiteX81" fmla="*/ 406838 w 506436"/>
                <a:gd name="connsiteY81" fmla="*/ 281073 h 675249"/>
                <a:gd name="connsiteX82" fmla="*/ 467188 w 506436"/>
                <a:gd name="connsiteY82" fmla="*/ 281073 h 675249"/>
                <a:gd name="connsiteX83" fmla="*/ 467188 w 506436"/>
                <a:gd name="connsiteY83" fmla="*/ 373919 h 675249"/>
                <a:gd name="connsiteX84" fmla="*/ 467188 w 506436"/>
                <a:gd name="connsiteY84" fmla="*/ 256595 h 675249"/>
                <a:gd name="connsiteX85" fmla="*/ 406838 w 506436"/>
                <a:gd name="connsiteY85" fmla="*/ 256595 h 675249"/>
                <a:gd name="connsiteX86" fmla="*/ 406838 w 506436"/>
                <a:gd name="connsiteY86" fmla="*/ 163748 h 675249"/>
                <a:gd name="connsiteX87" fmla="*/ 467188 w 506436"/>
                <a:gd name="connsiteY87" fmla="*/ 163748 h 675249"/>
                <a:gd name="connsiteX88" fmla="*/ 467188 w 506436"/>
                <a:gd name="connsiteY88" fmla="*/ 256595 h 6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06436" h="675249">
                  <a:moveTo>
                    <a:pt x="406838" y="119857"/>
                  </a:moveTo>
                  <a:lnTo>
                    <a:pt x="406838" y="57396"/>
                  </a:lnTo>
                  <a:lnTo>
                    <a:pt x="261237" y="0"/>
                  </a:lnTo>
                  <a:lnTo>
                    <a:pt x="115636" y="57396"/>
                  </a:lnTo>
                  <a:lnTo>
                    <a:pt x="115636" y="119857"/>
                  </a:lnTo>
                  <a:lnTo>
                    <a:pt x="0" y="119857"/>
                  </a:lnTo>
                  <a:lnTo>
                    <a:pt x="0" y="691708"/>
                  </a:lnTo>
                  <a:lnTo>
                    <a:pt x="167546" y="691708"/>
                  </a:lnTo>
                  <a:lnTo>
                    <a:pt x="167546" y="543576"/>
                  </a:lnTo>
                  <a:lnTo>
                    <a:pt x="354506" y="543576"/>
                  </a:lnTo>
                  <a:lnTo>
                    <a:pt x="354506" y="691708"/>
                  </a:lnTo>
                  <a:lnTo>
                    <a:pt x="522052" y="691708"/>
                  </a:lnTo>
                  <a:lnTo>
                    <a:pt x="522052" y="119857"/>
                  </a:lnTo>
                  <a:lnTo>
                    <a:pt x="406838" y="119857"/>
                  </a:lnTo>
                  <a:close/>
                  <a:moveTo>
                    <a:pt x="115214" y="490822"/>
                  </a:moveTo>
                  <a:lnTo>
                    <a:pt x="54864" y="490822"/>
                  </a:lnTo>
                  <a:lnTo>
                    <a:pt x="54864" y="397975"/>
                  </a:lnTo>
                  <a:lnTo>
                    <a:pt x="115214" y="397975"/>
                  </a:lnTo>
                  <a:lnTo>
                    <a:pt x="115214" y="490822"/>
                  </a:lnTo>
                  <a:close/>
                  <a:moveTo>
                    <a:pt x="115214" y="373919"/>
                  </a:moveTo>
                  <a:lnTo>
                    <a:pt x="54864" y="373919"/>
                  </a:lnTo>
                  <a:lnTo>
                    <a:pt x="54864" y="281073"/>
                  </a:lnTo>
                  <a:lnTo>
                    <a:pt x="115214" y="281073"/>
                  </a:lnTo>
                  <a:lnTo>
                    <a:pt x="115214" y="373919"/>
                  </a:lnTo>
                  <a:close/>
                  <a:moveTo>
                    <a:pt x="115214" y="256595"/>
                  </a:moveTo>
                  <a:lnTo>
                    <a:pt x="54864" y="256595"/>
                  </a:lnTo>
                  <a:lnTo>
                    <a:pt x="54864" y="163748"/>
                  </a:lnTo>
                  <a:lnTo>
                    <a:pt x="115214" y="163748"/>
                  </a:lnTo>
                  <a:lnTo>
                    <a:pt x="115214" y="256595"/>
                  </a:lnTo>
                  <a:close/>
                  <a:moveTo>
                    <a:pt x="202997" y="490822"/>
                  </a:moveTo>
                  <a:lnTo>
                    <a:pt x="142646" y="490822"/>
                  </a:lnTo>
                  <a:lnTo>
                    <a:pt x="142646" y="397975"/>
                  </a:lnTo>
                  <a:lnTo>
                    <a:pt x="202997" y="397975"/>
                  </a:lnTo>
                  <a:lnTo>
                    <a:pt x="202997" y="490822"/>
                  </a:lnTo>
                  <a:close/>
                  <a:moveTo>
                    <a:pt x="202997" y="373919"/>
                  </a:moveTo>
                  <a:lnTo>
                    <a:pt x="142646" y="373919"/>
                  </a:lnTo>
                  <a:lnTo>
                    <a:pt x="142646" y="281073"/>
                  </a:lnTo>
                  <a:lnTo>
                    <a:pt x="202997" y="281073"/>
                  </a:lnTo>
                  <a:lnTo>
                    <a:pt x="202997" y="373919"/>
                  </a:lnTo>
                  <a:close/>
                  <a:moveTo>
                    <a:pt x="202997" y="256595"/>
                  </a:moveTo>
                  <a:lnTo>
                    <a:pt x="142646" y="256595"/>
                  </a:lnTo>
                  <a:lnTo>
                    <a:pt x="142646" y="163748"/>
                  </a:lnTo>
                  <a:lnTo>
                    <a:pt x="202997" y="163748"/>
                  </a:lnTo>
                  <a:lnTo>
                    <a:pt x="202997" y="256595"/>
                  </a:lnTo>
                  <a:close/>
                  <a:moveTo>
                    <a:pt x="291201" y="490822"/>
                  </a:moveTo>
                  <a:lnTo>
                    <a:pt x="230851" y="490822"/>
                  </a:lnTo>
                  <a:lnTo>
                    <a:pt x="230851" y="397975"/>
                  </a:lnTo>
                  <a:lnTo>
                    <a:pt x="291201" y="397975"/>
                  </a:lnTo>
                  <a:lnTo>
                    <a:pt x="291201" y="490822"/>
                  </a:lnTo>
                  <a:close/>
                  <a:moveTo>
                    <a:pt x="291201" y="373919"/>
                  </a:moveTo>
                  <a:lnTo>
                    <a:pt x="230851" y="373919"/>
                  </a:lnTo>
                  <a:lnTo>
                    <a:pt x="230851" y="281073"/>
                  </a:lnTo>
                  <a:lnTo>
                    <a:pt x="291201" y="281073"/>
                  </a:lnTo>
                  <a:lnTo>
                    <a:pt x="291201" y="373919"/>
                  </a:lnTo>
                  <a:close/>
                  <a:moveTo>
                    <a:pt x="291201" y="256595"/>
                  </a:moveTo>
                  <a:lnTo>
                    <a:pt x="230851" y="256595"/>
                  </a:lnTo>
                  <a:lnTo>
                    <a:pt x="230851" y="163748"/>
                  </a:lnTo>
                  <a:lnTo>
                    <a:pt x="291201" y="163748"/>
                  </a:lnTo>
                  <a:lnTo>
                    <a:pt x="291201" y="256595"/>
                  </a:lnTo>
                  <a:close/>
                  <a:moveTo>
                    <a:pt x="378983" y="490822"/>
                  </a:moveTo>
                  <a:lnTo>
                    <a:pt x="318633" y="490822"/>
                  </a:lnTo>
                  <a:lnTo>
                    <a:pt x="318633" y="397975"/>
                  </a:lnTo>
                  <a:lnTo>
                    <a:pt x="378983" y="397975"/>
                  </a:lnTo>
                  <a:lnTo>
                    <a:pt x="378983" y="490822"/>
                  </a:lnTo>
                  <a:close/>
                  <a:moveTo>
                    <a:pt x="378983" y="373919"/>
                  </a:moveTo>
                  <a:lnTo>
                    <a:pt x="318633" y="373919"/>
                  </a:lnTo>
                  <a:lnTo>
                    <a:pt x="318633" y="281073"/>
                  </a:lnTo>
                  <a:lnTo>
                    <a:pt x="378983" y="281073"/>
                  </a:lnTo>
                  <a:lnTo>
                    <a:pt x="378983" y="373919"/>
                  </a:lnTo>
                  <a:close/>
                  <a:moveTo>
                    <a:pt x="378983" y="256595"/>
                  </a:moveTo>
                  <a:lnTo>
                    <a:pt x="318633" y="256595"/>
                  </a:lnTo>
                  <a:lnTo>
                    <a:pt x="318633" y="163748"/>
                  </a:lnTo>
                  <a:lnTo>
                    <a:pt x="378983" y="163748"/>
                  </a:lnTo>
                  <a:lnTo>
                    <a:pt x="378983" y="256595"/>
                  </a:lnTo>
                  <a:close/>
                  <a:moveTo>
                    <a:pt x="467188" y="490822"/>
                  </a:moveTo>
                  <a:lnTo>
                    <a:pt x="406838" y="490822"/>
                  </a:lnTo>
                  <a:lnTo>
                    <a:pt x="406838" y="397975"/>
                  </a:lnTo>
                  <a:lnTo>
                    <a:pt x="467188" y="397975"/>
                  </a:lnTo>
                  <a:lnTo>
                    <a:pt x="467188" y="490822"/>
                  </a:lnTo>
                  <a:close/>
                  <a:moveTo>
                    <a:pt x="467188" y="373919"/>
                  </a:moveTo>
                  <a:lnTo>
                    <a:pt x="406838" y="373919"/>
                  </a:lnTo>
                  <a:lnTo>
                    <a:pt x="406838" y="281073"/>
                  </a:lnTo>
                  <a:lnTo>
                    <a:pt x="467188" y="281073"/>
                  </a:lnTo>
                  <a:lnTo>
                    <a:pt x="467188" y="373919"/>
                  </a:lnTo>
                  <a:close/>
                  <a:moveTo>
                    <a:pt x="467188" y="256595"/>
                  </a:moveTo>
                  <a:lnTo>
                    <a:pt x="406838" y="256595"/>
                  </a:lnTo>
                  <a:lnTo>
                    <a:pt x="406838" y="163748"/>
                  </a:lnTo>
                  <a:lnTo>
                    <a:pt x="467188" y="163748"/>
                  </a:lnTo>
                  <a:lnTo>
                    <a:pt x="467188" y="256595"/>
                  </a:lnTo>
                  <a:close/>
                </a:path>
              </a:pathLst>
            </a:custGeom>
            <a:solidFill>
              <a:srgbClr val="1070C4"/>
            </a:solidFill>
            <a:ln w="42182"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26C1FF8-18F6-42EA-9609-D517A5DDBB58}"/>
                </a:ext>
                <a:ext uri="{C183D7F6-B498-43B3-948B-1728B52AA6E4}">
                  <adec:decorative xmlns:adec="http://schemas.microsoft.com/office/drawing/2017/decorative" val="1"/>
                </a:ext>
              </a:extLst>
            </p:cNvPr>
            <p:cNvSpPr/>
            <p:nvPr/>
          </p:nvSpPr>
          <p:spPr>
            <a:xfrm>
              <a:off x="9221325" y="4657140"/>
              <a:ext cx="633046" cy="295422"/>
            </a:xfrm>
            <a:custGeom>
              <a:avLst/>
              <a:gdLst>
                <a:gd name="connsiteX0" fmla="*/ 559613 w 633046"/>
                <a:gd name="connsiteY0" fmla="*/ 162904 h 295421"/>
                <a:gd name="connsiteX1" fmla="*/ 525006 w 633046"/>
                <a:gd name="connsiteY1" fmla="*/ 170922 h 295421"/>
                <a:gd name="connsiteX2" fmla="*/ 525006 w 633046"/>
                <a:gd name="connsiteY2" fmla="*/ 162904 h 295421"/>
                <a:gd name="connsiteX3" fmla="*/ 362102 w 633046"/>
                <a:gd name="connsiteY3" fmla="*/ 0 h 295421"/>
                <a:gd name="connsiteX4" fmla="*/ 200042 w 633046"/>
                <a:gd name="connsiteY4" fmla="*/ 148133 h 295421"/>
                <a:gd name="connsiteX5" fmla="*/ 110994 w 633046"/>
                <a:gd name="connsiteY5" fmla="*/ 103398 h 295421"/>
                <a:gd name="connsiteX6" fmla="*/ 0 w 633046"/>
                <a:gd name="connsiteY6" fmla="*/ 214392 h 295421"/>
                <a:gd name="connsiteX7" fmla="*/ 110994 w 633046"/>
                <a:gd name="connsiteY7" fmla="*/ 325386 h 295421"/>
                <a:gd name="connsiteX8" fmla="*/ 559613 w 633046"/>
                <a:gd name="connsiteY8" fmla="*/ 325386 h 295421"/>
                <a:gd name="connsiteX9" fmla="*/ 641065 w 633046"/>
                <a:gd name="connsiteY9" fmla="*/ 243934 h 295421"/>
                <a:gd name="connsiteX10" fmla="*/ 559613 w 633046"/>
                <a:gd name="connsiteY10" fmla="*/ 162904 h 29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046" h="295421">
                  <a:moveTo>
                    <a:pt x="559613" y="162904"/>
                  </a:moveTo>
                  <a:cubicBezTo>
                    <a:pt x="547374" y="162904"/>
                    <a:pt x="535557" y="165858"/>
                    <a:pt x="525006" y="170922"/>
                  </a:cubicBezTo>
                  <a:cubicBezTo>
                    <a:pt x="525006" y="168390"/>
                    <a:pt x="525006" y="165858"/>
                    <a:pt x="525006" y="162904"/>
                  </a:cubicBezTo>
                  <a:cubicBezTo>
                    <a:pt x="525006" y="73011"/>
                    <a:pt x="451995" y="0"/>
                    <a:pt x="362102" y="0"/>
                  </a:cubicBezTo>
                  <a:cubicBezTo>
                    <a:pt x="276852" y="0"/>
                    <a:pt x="207217" y="65415"/>
                    <a:pt x="200042" y="148133"/>
                  </a:cubicBezTo>
                  <a:cubicBezTo>
                    <a:pt x="179785" y="121123"/>
                    <a:pt x="147289" y="103398"/>
                    <a:pt x="110994" y="103398"/>
                  </a:cubicBezTo>
                  <a:cubicBezTo>
                    <a:pt x="49800" y="103398"/>
                    <a:pt x="0" y="153197"/>
                    <a:pt x="0" y="214392"/>
                  </a:cubicBezTo>
                  <a:cubicBezTo>
                    <a:pt x="0" y="275586"/>
                    <a:pt x="49800" y="325386"/>
                    <a:pt x="110994" y="325386"/>
                  </a:cubicBezTo>
                  <a:lnTo>
                    <a:pt x="559613" y="325386"/>
                  </a:lnTo>
                  <a:cubicBezTo>
                    <a:pt x="604770" y="325386"/>
                    <a:pt x="641065" y="289091"/>
                    <a:pt x="641065" y="243934"/>
                  </a:cubicBezTo>
                  <a:cubicBezTo>
                    <a:pt x="641065" y="199621"/>
                    <a:pt x="604348" y="162904"/>
                    <a:pt x="559613" y="162904"/>
                  </a:cubicBezTo>
                </a:path>
              </a:pathLst>
            </a:custGeom>
            <a:solidFill>
              <a:srgbClr val="49CDF3"/>
            </a:solidFill>
            <a:ln w="42182" cap="flat">
              <a:noFill/>
              <a:prstDash val="solid"/>
              <a:miter/>
            </a:ln>
          </p:spPr>
          <p:txBody>
            <a:bodyPr rtlCol="0" anchor="ctr"/>
            <a:lstStyle/>
            <a:p>
              <a:endParaRPr lang="en-US"/>
            </a:p>
          </p:txBody>
        </p:sp>
      </p:grpSp>
      <p:sp>
        <p:nvSpPr>
          <p:cNvPr id="5" name="Rectangle 4" descr="Photograph of trainer">
            <a:extLst>
              <a:ext uri="{FF2B5EF4-FFF2-40B4-BE49-F238E27FC236}">
                <a16:creationId xmlns:a16="http://schemas.microsoft.com/office/drawing/2014/main" id="{C83AF292-AC20-4485-9B37-B5D2E802824F}"/>
              </a:ext>
            </a:extLst>
          </p:cNvPr>
          <p:cNvSpPr/>
          <p:nvPr/>
        </p:nvSpPr>
        <p:spPr bwMode="auto">
          <a:xfrm>
            <a:off x="900924" y="1399128"/>
            <a:ext cx="2344398" cy="24939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0B6457CC-B1A4-4A43-84CC-21996B427531}"/>
              </a:ext>
            </a:extLst>
          </p:cNvPr>
          <p:cNvSpPr txBox="1"/>
          <p:nvPr/>
        </p:nvSpPr>
        <p:spPr>
          <a:xfrm>
            <a:off x="77430" y="3785503"/>
            <a:ext cx="4012052" cy="898708"/>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Your Name]</a:t>
            </a:r>
          </a:p>
          <a:p>
            <a:pPr algn="ctr">
              <a:lnSpc>
                <a:spcPct val="90000"/>
              </a:lnSpc>
              <a:spcAft>
                <a:spcPts val="600"/>
              </a:spcAft>
            </a:pPr>
            <a:r>
              <a:rPr lang="en-US" sz="1800" dirty="0">
                <a:gradFill>
                  <a:gsLst>
                    <a:gs pos="2917">
                      <a:schemeClr val="tx1"/>
                    </a:gs>
                    <a:gs pos="30000">
                      <a:schemeClr val="tx1"/>
                    </a:gs>
                  </a:gsLst>
                  <a:lin ang="5400000" scaled="0"/>
                </a:gradFill>
              </a:rPr>
              <a:t>Microsoft Technical Trainer</a:t>
            </a:r>
          </a:p>
        </p:txBody>
      </p:sp>
      <p:pic>
        <p:nvPicPr>
          <p:cNvPr id="70" name="Picture 2" descr="Microsoft logo">
            <a:extLst>
              <a:ext uri="{FF2B5EF4-FFF2-40B4-BE49-F238E27FC236}">
                <a16:creationId xmlns:a16="http://schemas.microsoft.com/office/drawing/2014/main" id="{866DDD0A-F524-4891-B328-0CB547FD0B62}"/>
              </a:ext>
              <a:ext uri="{C183D7F6-B498-43B3-948B-1728B52AA6E4}">
                <adec:decorative xmlns:adec="http://schemas.microsoft.com/office/drawing/2017/decorative" val="0"/>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1666776" y="4530128"/>
            <a:ext cx="833360" cy="416680"/>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Box 3">
            <a:extLst>
              <a:ext uri="{FF2B5EF4-FFF2-40B4-BE49-F238E27FC236}">
                <a16:creationId xmlns:a16="http://schemas.microsoft.com/office/drawing/2014/main" id="{7018E6A1-76F6-4ACC-915A-14B2B0CBB187}"/>
              </a:ext>
            </a:extLst>
          </p:cNvPr>
          <p:cNvSpPr txBox="1"/>
          <p:nvPr/>
        </p:nvSpPr>
        <p:spPr>
          <a:xfrm>
            <a:off x="4027468" y="1650633"/>
            <a:ext cx="3142087" cy="1197251"/>
          </a:xfrm>
          <a:prstGeom prst="rect">
            <a:avLst/>
          </a:prstGeom>
          <a:noFill/>
        </p:spPr>
        <p:txBody>
          <a:bodyPr wrap="square" lIns="182880" tIns="146304" rIns="182880" bIns="146304" rtlCol="0">
            <a:spAutoFit/>
          </a:bodyPr>
          <a:lstStyle/>
          <a:p>
            <a:pPr>
              <a:lnSpc>
                <a:spcPct val="90000"/>
              </a:lnSpc>
              <a:spcAft>
                <a:spcPts val="600"/>
              </a:spcAft>
            </a:pPr>
            <a:r>
              <a:rPr lang="en-US" sz="2000" spc="-102" dirty="0">
                <a:ln w="3175">
                  <a:noFill/>
                </a:ln>
                <a:solidFill>
                  <a:schemeClr val="accent1"/>
                </a:solidFill>
                <a:latin typeface="+mj-lt"/>
                <a:cs typeface="Segoe UI"/>
              </a:rPr>
              <a:t>Experience</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2-3 Bullets]</a:t>
            </a:r>
          </a:p>
          <a:p>
            <a:pPr>
              <a:lnSpc>
                <a:spcPct val="90000"/>
              </a:lnSpc>
              <a:spcAft>
                <a:spcPts val="600"/>
              </a:spcAft>
            </a:pPr>
            <a:endParaRPr lang="en-US" sz="1600" dirty="0">
              <a:gradFill>
                <a:gsLst>
                  <a:gs pos="2917">
                    <a:schemeClr val="tx1"/>
                  </a:gs>
                  <a:gs pos="30000">
                    <a:schemeClr val="tx1"/>
                  </a:gs>
                </a:gsLst>
                <a:lin ang="5400000" scaled="0"/>
              </a:gradFill>
            </a:endParaRPr>
          </a:p>
        </p:txBody>
      </p:sp>
      <p:sp>
        <p:nvSpPr>
          <p:cNvPr id="68" name="TextBox 67">
            <a:extLst>
              <a:ext uri="{FF2B5EF4-FFF2-40B4-BE49-F238E27FC236}">
                <a16:creationId xmlns:a16="http://schemas.microsoft.com/office/drawing/2014/main" id="{B14BE501-53B5-4C0E-9837-641F7D8C421D}"/>
              </a:ext>
            </a:extLst>
          </p:cNvPr>
          <p:cNvSpPr txBox="1"/>
          <p:nvPr/>
        </p:nvSpPr>
        <p:spPr>
          <a:xfrm>
            <a:off x="4064906" y="3291102"/>
            <a:ext cx="3166663" cy="898708"/>
          </a:xfrm>
          <a:prstGeom prst="rect">
            <a:avLst/>
          </a:prstGeom>
          <a:noFill/>
        </p:spPr>
        <p:txBody>
          <a:bodyPr wrap="square" lIns="182880" tIns="146304" rIns="182880" bIns="146304" rtlCol="0">
            <a:spAutoFit/>
          </a:bodyPr>
          <a:lstStyle/>
          <a:p>
            <a:pPr>
              <a:lnSpc>
                <a:spcPct val="90000"/>
              </a:lnSpc>
              <a:spcAft>
                <a:spcPts val="600"/>
              </a:spcAft>
            </a:pPr>
            <a:r>
              <a:rPr lang="en-US" sz="2000" spc="-102" dirty="0">
                <a:ln w="3175">
                  <a:noFill/>
                </a:ln>
                <a:solidFill>
                  <a:schemeClr val="accent1"/>
                </a:solidFill>
                <a:latin typeface="+mj-lt"/>
                <a:cs typeface="Segoe UI"/>
              </a:rPr>
              <a:t>Location</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your location]</a:t>
            </a:r>
          </a:p>
        </p:txBody>
      </p:sp>
      <p:sp>
        <p:nvSpPr>
          <p:cNvPr id="67" name="TextBox 66">
            <a:extLst>
              <a:ext uri="{FF2B5EF4-FFF2-40B4-BE49-F238E27FC236}">
                <a16:creationId xmlns:a16="http://schemas.microsoft.com/office/drawing/2014/main" id="{A09CA8D9-2CC8-4876-A423-1721A3AA04C4}"/>
              </a:ext>
            </a:extLst>
          </p:cNvPr>
          <p:cNvSpPr txBox="1"/>
          <p:nvPr/>
        </p:nvSpPr>
        <p:spPr>
          <a:xfrm>
            <a:off x="7173097" y="1650633"/>
            <a:ext cx="4991106" cy="898708"/>
          </a:xfrm>
          <a:prstGeom prst="rect">
            <a:avLst/>
          </a:prstGeom>
          <a:noFill/>
        </p:spPr>
        <p:txBody>
          <a:bodyPr wrap="square" lIns="182880" tIns="146304" rIns="182880" bIns="146304" rtlCol="0">
            <a:spAutoFit/>
          </a:bodyPr>
          <a:lstStyle/>
          <a:p>
            <a:pPr>
              <a:lnSpc>
                <a:spcPct val="90000"/>
              </a:lnSpc>
              <a:spcAft>
                <a:spcPts val="600"/>
              </a:spcAft>
            </a:pPr>
            <a:r>
              <a:rPr lang="en-US" sz="2000" spc="-102" dirty="0">
                <a:ln w="3175">
                  <a:noFill/>
                </a:ln>
                <a:solidFill>
                  <a:schemeClr val="accent1"/>
                </a:solidFill>
                <a:latin typeface="+mj-lt"/>
                <a:cs typeface="Segoe UI"/>
              </a:rPr>
              <a:t>Highlights</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2-3 bullets}</a:t>
            </a:r>
          </a:p>
        </p:txBody>
      </p:sp>
      <p:sp>
        <p:nvSpPr>
          <p:cNvPr id="69" name="TextBox 68">
            <a:extLst>
              <a:ext uri="{FF2B5EF4-FFF2-40B4-BE49-F238E27FC236}">
                <a16:creationId xmlns:a16="http://schemas.microsoft.com/office/drawing/2014/main" id="{AA377349-A71C-4005-8AC3-337BBC7FC049}"/>
              </a:ext>
            </a:extLst>
          </p:cNvPr>
          <p:cNvSpPr txBox="1"/>
          <p:nvPr/>
        </p:nvSpPr>
        <p:spPr>
          <a:xfrm>
            <a:off x="7169555" y="3288014"/>
            <a:ext cx="3746023" cy="1397306"/>
          </a:xfrm>
          <a:prstGeom prst="rect">
            <a:avLst/>
          </a:prstGeom>
          <a:noFill/>
        </p:spPr>
        <p:txBody>
          <a:bodyPr wrap="square" lIns="182880" tIns="146304" rIns="182880" bIns="146304" rtlCol="0">
            <a:spAutoFit/>
          </a:bodyPr>
          <a:lstStyle/>
          <a:p>
            <a:pPr>
              <a:lnSpc>
                <a:spcPct val="90000"/>
              </a:lnSpc>
              <a:spcAft>
                <a:spcPts val="600"/>
              </a:spcAft>
            </a:pPr>
            <a:r>
              <a:rPr lang="en-US" sz="2000" spc="-102" dirty="0">
                <a:ln w="3175">
                  <a:noFill/>
                </a:ln>
                <a:solidFill>
                  <a:schemeClr val="accent1"/>
                </a:solidFill>
                <a:latin typeface="+mj-lt"/>
                <a:cs typeface="Segoe UI"/>
              </a:rPr>
              <a:t>Contact</a:t>
            </a:r>
          </a:p>
          <a:p>
            <a:pPr marL="342900" indent="-342900">
              <a:lnSpc>
                <a:spcPct val="90000"/>
              </a:lnSpc>
              <a:spcAft>
                <a:spcPts val="600"/>
              </a:spcAft>
              <a:buFont typeface="Arial" panose="020B0604020202020204" pitchFamily="34" charset="0"/>
              <a:buChar char="•"/>
            </a:pPr>
            <a:r>
              <a:rPr lang="en-US" sz="1800" dirty="0"/>
              <a:t>[Your LinkedIn or whatever contact info you prefer to share]</a:t>
            </a:r>
            <a:endParaRPr lang="en-US" sz="1800" dirty="0">
              <a:hlinkClick r:id="rId6"/>
            </a:endParaRPr>
          </a:p>
        </p:txBody>
      </p:sp>
    </p:spTree>
    <p:extLst>
      <p:ext uri="{BB962C8B-B14F-4D97-AF65-F5344CB8AC3E}">
        <p14:creationId xmlns:p14="http://schemas.microsoft.com/office/powerpoint/2010/main" val="3656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Demos &amp; labs</a:t>
            </a:r>
          </a:p>
        </p:txBody>
      </p:sp>
    </p:spTree>
    <p:extLst>
      <p:ext uri="{BB962C8B-B14F-4D97-AF65-F5344CB8AC3E}">
        <p14:creationId xmlns:p14="http://schemas.microsoft.com/office/powerpoint/2010/main" val="2517671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43344AF-7F70-453A-BFFB-9C3A0887EC9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4357824"/>
            <a:ext cx="12436475" cy="2940809"/>
          </a:xfrm>
          <a:prstGeom prst="rect">
            <a:avLst/>
          </a:prstGeom>
        </p:spPr>
      </p:pic>
      <p:sp>
        <p:nvSpPr>
          <p:cNvPr id="113" name="Rectangle 112">
            <a:extLst>
              <a:ext uri="{FF2B5EF4-FFF2-40B4-BE49-F238E27FC236}">
                <a16:creationId xmlns:a16="http://schemas.microsoft.com/office/drawing/2014/main" id="{EA62E78A-C1BE-0A46-8375-B2019224971F}"/>
              </a:ext>
              <a:ext uri="{C183D7F6-B498-43B3-948B-1728B52AA6E4}">
                <adec:decorative xmlns:adec="http://schemas.microsoft.com/office/drawing/2017/decorative" val="1"/>
              </a:ext>
            </a:extLst>
          </p:cNvPr>
          <p:cNvSpPr/>
          <p:nvPr/>
        </p:nvSpPr>
        <p:spPr bwMode="auto">
          <a:xfrm>
            <a:off x="484859" y="1463039"/>
            <a:ext cx="5892174" cy="36954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2880" rIns="186521" bIns="182880" numCol="1" spcCol="0" rtlCol="0" fromWordArt="0" anchor="ctr" anchorCtr="0" forceAA="0" compatLnSpc="1">
            <a:prstTxWarp prst="textNoShape">
              <a:avLst/>
            </a:prstTxWarp>
            <a:noAutofit/>
          </a:bodyPr>
          <a:lstStyle/>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General portal demo should be first</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Have students do a demonstration</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on’t do all of them, do a variety of demos, do the ones that are not similar</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Use pre-baked environment for certain demos (Azure Monitor, Security Center) </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Record demos </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Use region closest to your location</a:t>
            </a:r>
          </a:p>
          <a:p>
            <a:pPr marL="285750" indent="-285750">
              <a:lnSpc>
                <a:spcPct val="100000"/>
              </a:lnSpc>
              <a:spcBef>
                <a:spcPts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amiliarize yourself with labs and be able to troubleshoot</a:t>
            </a:r>
          </a:p>
        </p:txBody>
      </p:sp>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dirty="0">
                <a:solidFill>
                  <a:srgbClr val="002060"/>
                </a:solidFill>
                <a:cs typeface="Segoe UI"/>
              </a:rPr>
              <a:t>Show me!</a:t>
            </a:r>
          </a:p>
        </p:txBody>
      </p:sp>
      <p:pic>
        <p:nvPicPr>
          <p:cNvPr id="2" name="Picture 2">
            <a:extLst>
              <a:ext uri="{FF2B5EF4-FFF2-40B4-BE49-F238E27FC236}">
                <a16:creationId xmlns:a16="http://schemas.microsoft.com/office/drawing/2014/main" id="{B95EAFE7-7C49-4C08-BD72-808214DD435C}"/>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6377033" y="1463038"/>
            <a:ext cx="5536196" cy="3695411"/>
          </a:xfrm>
          <a:prstGeom prst="rect">
            <a:avLst/>
          </a:prstGeom>
          <a:solidFill>
            <a:srgbClr val="FFFFFF"/>
          </a:solidFill>
        </p:spPr>
      </p:pic>
    </p:spTree>
    <p:extLst>
      <p:ext uri="{BB962C8B-B14F-4D97-AF65-F5344CB8AC3E}">
        <p14:creationId xmlns:p14="http://schemas.microsoft.com/office/powerpoint/2010/main" val="342742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Supplemental materials </a:t>
            </a:r>
          </a:p>
        </p:txBody>
      </p:sp>
    </p:spTree>
    <p:extLst>
      <p:ext uri="{BB962C8B-B14F-4D97-AF65-F5344CB8AC3E}">
        <p14:creationId xmlns:p14="http://schemas.microsoft.com/office/powerpoint/2010/main" val="224191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859B09-EFC0-4767-9611-2302C69757B0}"/>
              </a:ext>
            </a:extLst>
          </p:cNvPr>
          <p:cNvSpPr>
            <a:spLocks noGrp="1"/>
          </p:cNvSpPr>
          <p:nvPr>
            <p:ph type="title"/>
          </p:nvPr>
        </p:nvSpPr>
        <p:spPr>
          <a:xfrm>
            <a:off x="275482" y="295275"/>
            <a:ext cx="10785565" cy="917575"/>
          </a:xfrm>
        </p:spPr>
        <p:txBody>
          <a:bodyPr lIns="182880"/>
          <a:lstStyle/>
          <a:p>
            <a:r>
              <a:rPr lang="en-US" dirty="0">
                <a:solidFill>
                  <a:srgbClr val="002060"/>
                </a:solidFill>
              </a:rPr>
              <a:t>Supplemental materials</a:t>
            </a:r>
          </a:p>
        </p:txBody>
      </p:sp>
      <p:sp>
        <p:nvSpPr>
          <p:cNvPr id="3" name="Rectangle 2">
            <a:extLst>
              <a:ext uri="{FF2B5EF4-FFF2-40B4-BE49-F238E27FC236}">
                <a16:creationId xmlns:a16="http://schemas.microsoft.com/office/drawing/2014/main" id="{B16FEA70-DA75-43BF-8338-575867275891}"/>
              </a:ext>
              <a:ext uri="{C183D7F6-B498-43B3-948B-1728B52AA6E4}">
                <adec:decorative xmlns:adec="http://schemas.microsoft.com/office/drawing/2017/decorative" val="1"/>
              </a:ext>
            </a:extLst>
          </p:cNvPr>
          <p:cNvSpPr/>
          <p:nvPr/>
        </p:nvSpPr>
        <p:spPr>
          <a:xfrm>
            <a:off x="104775" y="990600"/>
            <a:ext cx="12056218" cy="3733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endParaRPr lang="en-US" sz="1800" dirty="0" err="1">
              <a:solidFill>
                <a:schemeClr val="bg1"/>
              </a:solidFill>
              <a:latin typeface="Segoe UI" panose="020B0502040204020203" pitchFamily="34" charset="0"/>
              <a:cs typeface="Segoe UI" panose="020B0502040204020203" pitchFamily="34" charset="0"/>
            </a:endParaRPr>
          </a:p>
        </p:txBody>
      </p:sp>
      <p:sp>
        <p:nvSpPr>
          <p:cNvPr id="84" name="Rectangle 83">
            <a:extLst>
              <a:ext uri="{FF2B5EF4-FFF2-40B4-BE49-F238E27FC236}">
                <a16:creationId xmlns:a16="http://schemas.microsoft.com/office/drawing/2014/main" id="{B772C5E9-ED15-4331-A7CC-C0D0F14C5EA5}"/>
              </a:ext>
            </a:extLst>
          </p:cNvPr>
          <p:cNvSpPr/>
          <p:nvPr/>
        </p:nvSpPr>
        <p:spPr bwMode="auto">
          <a:xfrm>
            <a:off x="427463" y="1432825"/>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Online documentation</a:t>
            </a:r>
          </a:p>
        </p:txBody>
      </p:sp>
      <p:pic>
        <p:nvPicPr>
          <p:cNvPr id="4" name="Graphic 3">
            <a:extLst>
              <a:ext uri="{FF2B5EF4-FFF2-40B4-BE49-F238E27FC236}">
                <a16:creationId xmlns:a16="http://schemas.microsoft.com/office/drawing/2014/main" id="{737B0330-BE50-44C1-8D63-D8DACABC636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01784" y="1372617"/>
            <a:ext cx="1137917" cy="1137917"/>
          </a:xfrm>
          <a:prstGeom prst="rect">
            <a:avLst/>
          </a:prstGeom>
        </p:spPr>
      </p:pic>
      <p:sp>
        <p:nvSpPr>
          <p:cNvPr id="27" name="Rectangle 26">
            <a:extLst>
              <a:ext uri="{FF2B5EF4-FFF2-40B4-BE49-F238E27FC236}">
                <a16:creationId xmlns:a16="http://schemas.microsoft.com/office/drawing/2014/main" id="{048ECB98-CF43-E144-AA9D-A0314B19BEFA}"/>
              </a:ext>
            </a:extLst>
          </p:cNvPr>
          <p:cNvSpPr/>
          <p:nvPr/>
        </p:nvSpPr>
        <p:spPr bwMode="auto">
          <a:xfrm>
            <a:off x="4806418" y="1429435"/>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MS Learn</a:t>
            </a:r>
          </a:p>
        </p:txBody>
      </p:sp>
      <p:pic>
        <p:nvPicPr>
          <p:cNvPr id="6" name="Graphic 5">
            <a:extLst>
              <a:ext uri="{FF2B5EF4-FFF2-40B4-BE49-F238E27FC236}">
                <a16:creationId xmlns:a16="http://schemas.microsoft.com/office/drawing/2014/main" id="{90A267B7-A3EC-4D95-9C8B-FA5745EBFDA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20818" y="1473994"/>
            <a:ext cx="914400" cy="914400"/>
          </a:xfrm>
          <a:prstGeom prst="rect">
            <a:avLst/>
          </a:prstGeom>
        </p:spPr>
      </p:pic>
      <p:sp>
        <p:nvSpPr>
          <p:cNvPr id="30" name="Rectangle 29">
            <a:extLst>
              <a:ext uri="{FF2B5EF4-FFF2-40B4-BE49-F238E27FC236}">
                <a16:creationId xmlns:a16="http://schemas.microsoft.com/office/drawing/2014/main" id="{D6A4A8B2-4672-424C-903D-FEF3C913F5A4}"/>
              </a:ext>
            </a:extLst>
          </p:cNvPr>
          <p:cNvSpPr/>
          <p:nvPr/>
        </p:nvSpPr>
        <p:spPr bwMode="auto">
          <a:xfrm>
            <a:off x="9203192" y="1429435"/>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Azure Blog</a:t>
            </a:r>
          </a:p>
        </p:txBody>
      </p:sp>
      <p:pic>
        <p:nvPicPr>
          <p:cNvPr id="18" name="Graphic 17">
            <a:extLst>
              <a:ext uri="{FF2B5EF4-FFF2-40B4-BE49-F238E27FC236}">
                <a16:creationId xmlns:a16="http://schemas.microsoft.com/office/drawing/2014/main" id="{F100D26F-E8D5-4D80-B605-7275D6009A81}"/>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34154" y="1372617"/>
            <a:ext cx="1167610" cy="1150119"/>
          </a:xfrm>
          <a:prstGeom prst="rect">
            <a:avLst/>
          </a:prstGeom>
        </p:spPr>
      </p:pic>
      <p:sp>
        <p:nvSpPr>
          <p:cNvPr id="19" name="Rectangle 18">
            <a:extLst>
              <a:ext uri="{FF2B5EF4-FFF2-40B4-BE49-F238E27FC236}">
                <a16:creationId xmlns:a16="http://schemas.microsoft.com/office/drawing/2014/main" id="{61466CE2-04A6-4407-AFE2-F302D1A8B587}"/>
              </a:ext>
            </a:extLst>
          </p:cNvPr>
          <p:cNvSpPr/>
          <p:nvPr/>
        </p:nvSpPr>
        <p:spPr bwMode="auto">
          <a:xfrm>
            <a:off x="427463" y="2852789"/>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Microsoft hands-on labs</a:t>
            </a:r>
          </a:p>
        </p:txBody>
      </p:sp>
      <p:pic>
        <p:nvPicPr>
          <p:cNvPr id="14" name="Graphic 13">
            <a:extLst>
              <a:ext uri="{FF2B5EF4-FFF2-40B4-BE49-F238E27FC236}">
                <a16:creationId xmlns:a16="http://schemas.microsoft.com/office/drawing/2014/main" id="{2AD3B60C-F816-48B7-929A-3C262CF24EAF}"/>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13542" y="2902545"/>
            <a:ext cx="914400" cy="914400"/>
          </a:xfrm>
          <a:prstGeom prst="rect">
            <a:avLst/>
          </a:prstGeom>
        </p:spPr>
      </p:pic>
      <p:sp>
        <p:nvSpPr>
          <p:cNvPr id="22" name="Rectangle 21">
            <a:extLst>
              <a:ext uri="{FF2B5EF4-FFF2-40B4-BE49-F238E27FC236}">
                <a16:creationId xmlns:a16="http://schemas.microsoft.com/office/drawing/2014/main" id="{24F3919D-B423-40E7-9DFF-C28088EF51E5}"/>
              </a:ext>
            </a:extLst>
          </p:cNvPr>
          <p:cNvSpPr/>
          <p:nvPr/>
        </p:nvSpPr>
        <p:spPr bwMode="auto">
          <a:xfrm>
            <a:off x="4806418" y="2852789"/>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Reference Architectures</a:t>
            </a:r>
          </a:p>
        </p:txBody>
      </p:sp>
      <p:pic>
        <p:nvPicPr>
          <p:cNvPr id="8" name="Graphic 7">
            <a:extLst>
              <a:ext uri="{FF2B5EF4-FFF2-40B4-BE49-F238E27FC236}">
                <a16:creationId xmlns:a16="http://schemas.microsoft.com/office/drawing/2014/main" id="{7864F1AB-B6A6-496F-9F06-14F309FEB2B0}"/>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20818" y="2869642"/>
            <a:ext cx="914400" cy="914400"/>
          </a:xfrm>
          <a:prstGeom prst="rect">
            <a:avLst/>
          </a:prstGeom>
        </p:spPr>
      </p:pic>
      <p:sp>
        <p:nvSpPr>
          <p:cNvPr id="34" name="Rectangle 33">
            <a:extLst>
              <a:ext uri="{FF2B5EF4-FFF2-40B4-BE49-F238E27FC236}">
                <a16:creationId xmlns:a16="http://schemas.microsoft.com/office/drawing/2014/main" id="{49F2B270-B076-4A19-9D9D-E478028965A3}"/>
              </a:ext>
            </a:extLst>
          </p:cNvPr>
          <p:cNvSpPr/>
          <p:nvPr/>
        </p:nvSpPr>
        <p:spPr bwMode="auto">
          <a:xfrm>
            <a:off x="9203192" y="2852789"/>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Videos</a:t>
            </a:r>
          </a:p>
        </p:txBody>
      </p:sp>
      <p:pic>
        <p:nvPicPr>
          <p:cNvPr id="10" name="Graphic 9">
            <a:extLst>
              <a:ext uri="{FF2B5EF4-FFF2-40B4-BE49-F238E27FC236}">
                <a16:creationId xmlns:a16="http://schemas.microsoft.com/office/drawing/2014/main" id="{6BABD02A-E74B-4FD3-951F-53327C89A481}"/>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17592" y="2827819"/>
            <a:ext cx="914400" cy="914400"/>
          </a:xfrm>
          <a:prstGeom prst="rect">
            <a:avLst/>
          </a:prstGeom>
        </p:spPr>
      </p:pic>
      <p:sp>
        <p:nvSpPr>
          <p:cNvPr id="7" name="Title 1">
            <a:extLst>
              <a:ext uri="{FF2B5EF4-FFF2-40B4-BE49-F238E27FC236}">
                <a16:creationId xmlns:a16="http://schemas.microsoft.com/office/drawing/2014/main" id="{17BD7895-CF0A-4114-98CD-55C2A4997B56}"/>
              </a:ext>
            </a:extLst>
          </p:cNvPr>
          <p:cNvSpPr txBox="1">
            <a:spLocks/>
          </p:cNvSpPr>
          <p:nvPr/>
        </p:nvSpPr>
        <p:spPr>
          <a:xfrm>
            <a:off x="402169" y="4984638"/>
            <a:ext cx="1822745" cy="920266"/>
          </a:xfrm>
          <a:prstGeom prst="rect">
            <a:avLst/>
          </a:prstGeom>
          <a:solidFill>
            <a:srgbClr val="FFFFFF">
              <a:lumMod val="95000"/>
            </a:srgbClr>
          </a:solidFill>
          <a:effectLst/>
        </p:spPr>
        <p:style>
          <a:lnRef idx="0">
            <a:scrgbClr r="0" g="0" b="0"/>
          </a:lnRef>
          <a:fillRef idx="0">
            <a:scrgbClr r="0" g="0" b="0"/>
          </a:fillRef>
          <a:effectRef idx="0">
            <a:scrgbClr r="0" g="0" b="0"/>
          </a:effectRef>
          <a:fontRef idx="major"/>
        </p:style>
        <p:txBody>
          <a:bodyPr vert="horz" wrap="square" lIns="448212" tIns="179285" rIns="0" bIns="179285" rtlCol="0" anchor="ctr" anchorCtr="0">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L="0" marR="0" lvl="0" indent="0" algn="ctr" defTabSz="914367" rtl="0" eaLnBrk="1" fontAlgn="auto" latinLnBrk="0" hangingPunct="1">
              <a:lnSpc>
                <a:spcPct val="100000"/>
              </a:lnSpc>
              <a:spcBef>
                <a:spcPct val="0"/>
              </a:spcBef>
              <a:spcAft>
                <a:spcPts val="588"/>
              </a:spcAft>
              <a:buClrTx/>
              <a:buSzTx/>
              <a:buFontTx/>
              <a:buNone/>
              <a:tabLst/>
              <a:defRPr/>
            </a:pPr>
            <a:r>
              <a:rPr kumimoji="0" lang="en-US" sz="1568" b="1" i="0" u="none" strike="noStrike" kern="1200" cap="none" spc="0" normalizeH="0" baseline="0" noProof="0" dirty="0">
                <a:ln w="3175">
                  <a:noFill/>
                </a:ln>
                <a:gradFill>
                  <a:gsLst>
                    <a:gs pos="0">
                      <a:srgbClr val="000000"/>
                    </a:gs>
                    <a:gs pos="100000">
                      <a:srgbClr val="000000"/>
                    </a:gs>
                  </a:gsLst>
                </a:gradFill>
                <a:effectLst/>
                <a:uLnTx/>
                <a:uFillTx/>
                <a:latin typeface="Segoe UI Semibold"/>
                <a:ea typeface="+mn-ea"/>
                <a:cs typeface="Segoe UI" panose="020B0502040204020203" pitchFamily="34" charset="0"/>
              </a:rPr>
              <a:t>Microsoft Docs</a:t>
            </a:r>
          </a:p>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568" b="1" i="0" u="none" strike="noStrike" kern="1200" cap="none" spc="0" normalizeH="0" baseline="0" noProof="0" dirty="0">
                <a:ln w="3175">
                  <a:noFill/>
                </a:ln>
                <a:solidFill>
                  <a:srgbClr val="0078D4"/>
                </a:solidFill>
                <a:effectLst/>
                <a:uLnTx/>
                <a:uFillTx/>
                <a:latin typeface="Segoe UI Semibold"/>
                <a:ea typeface="+mn-ea"/>
                <a:cs typeface="Segoe UI" panose="020B0502040204020203" pitchFamily="34" charset="0"/>
                <a:hlinkClick r:id="rId15">
                  <a:extLst>
                    <a:ext uri="{A12FA001-AC4F-418D-AE19-62706E023703}">
                      <ahyp:hlinkClr xmlns:ahyp="http://schemas.microsoft.com/office/drawing/2018/hyperlinkcolor" val="tx"/>
                    </a:ext>
                  </a:extLst>
                </a:hlinkClick>
              </a:rPr>
              <a:t>aka.ms/Docs</a:t>
            </a:r>
            <a:endParaRPr kumimoji="0" lang="en-US" sz="1568" b="1" i="0" u="none" strike="noStrike" kern="1200" cap="none" spc="0" normalizeH="0" baseline="0" noProof="0" dirty="0">
              <a:ln w="3175">
                <a:noFill/>
              </a:ln>
              <a:solidFill>
                <a:srgbClr val="0078D4"/>
              </a:solidFill>
              <a:effectLst/>
              <a:uLnTx/>
              <a:uFillTx/>
              <a:latin typeface="Segoe UI Semibold"/>
              <a:ea typeface="+mn-ea"/>
              <a:cs typeface="Segoe UI" panose="020B0502040204020203" pitchFamily="34" charset="0"/>
            </a:endParaRPr>
          </a:p>
        </p:txBody>
      </p:sp>
      <p:sp>
        <p:nvSpPr>
          <p:cNvPr id="28" name="Title 1">
            <a:extLst>
              <a:ext uri="{FF2B5EF4-FFF2-40B4-BE49-F238E27FC236}">
                <a16:creationId xmlns:a16="http://schemas.microsoft.com/office/drawing/2014/main" id="{602E6692-B7B3-4D30-A060-E4F83D0ADAF5}"/>
              </a:ext>
            </a:extLst>
          </p:cNvPr>
          <p:cNvSpPr txBox="1">
            <a:spLocks/>
          </p:cNvSpPr>
          <p:nvPr/>
        </p:nvSpPr>
        <p:spPr>
          <a:xfrm>
            <a:off x="2699281" y="4983979"/>
            <a:ext cx="2656140" cy="921584"/>
          </a:xfrm>
          <a:prstGeom prst="rect">
            <a:avLst/>
          </a:prstGeom>
          <a:solidFill>
            <a:srgbClr val="FFFFFF">
              <a:lumMod val="95000"/>
            </a:srgbClr>
          </a:solidFill>
          <a:effectLst/>
        </p:spPr>
        <p:txBody>
          <a:bodyPr vert="horz" wrap="square" lIns="448212" tIns="179285" rIns="0" bIns="179285" rtlCol="0" anchor="ctr" anchorCtr="0">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L="0" marR="0" lvl="0" indent="0" algn="ctr" defTabSz="914367" rtl="0" eaLnBrk="1" fontAlgn="auto" latinLnBrk="0" hangingPunct="1">
              <a:lnSpc>
                <a:spcPct val="100000"/>
              </a:lnSpc>
              <a:spcBef>
                <a:spcPct val="0"/>
              </a:spcBef>
              <a:spcAft>
                <a:spcPts val="588"/>
              </a:spcAft>
              <a:buClrTx/>
              <a:buSzTx/>
              <a:buFontTx/>
              <a:buNone/>
              <a:tabLst/>
              <a:defRPr/>
            </a:pPr>
            <a:r>
              <a:rPr kumimoji="0" lang="en-US" sz="1568" b="1" i="0" u="none" strike="noStrike" kern="1200" cap="none" spc="0" normalizeH="0" baseline="0" noProof="0" dirty="0">
                <a:ln w="3175">
                  <a:noFill/>
                </a:ln>
                <a:gradFill>
                  <a:gsLst>
                    <a:gs pos="0">
                      <a:srgbClr val="000000"/>
                    </a:gs>
                    <a:gs pos="100000">
                      <a:srgbClr val="000000"/>
                    </a:gs>
                  </a:gsLst>
                </a:gradFill>
                <a:effectLst/>
                <a:uLnTx/>
                <a:uFillTx/>
                <a:latin typeface="Segoe UI Semibold"/>
                <a:ea typeface="+mn-ea"/>
                <a:cs typeface="Segoe UI" panose="020B0502040204020203" pitchFamily="34" charset="0"/>
              </a:rPr>
              <a:t>Microsoft Learn</a:t>
            </a:r>
          </a:p>
          <a:p>
            <a:pPr marL="0" marR="0" lvl="0" indent="0" algn="ctr" defTabSz="914367" rtl="0" eaLnBrk="1" fontAlgn="auto" latinLnBrk="0" hangingPunct="1">
              <a:lnSpc>
                <a:spcPct val="100000"/>
              </a:lnSpc>
              <a:spcBef>
                <a:spcPct val="0"/>
              </a:spcBef>
              <a:spcAft>
                <a:spcPts val="588"/>
              </a:spcAft>
              <a:buClrTx/>
              <a:buSzTx/>
              <a:buFontTx/>
              <a:buNone/>
              <a:tabLst/>
              <a:defRPr/>
            </a:pPr>
            <a:r>
              <a:rPr kumimoji="0" lang="en-US" sz="1568" b="1" i="0" u="none" strike="noStrike" kern="1200" cap="none" spc="0" normalizeH="0" baseline="0" noProof="0" dirty="0">
                <a:ln w="3175">
                  <a:noFill/>
                </a:ln>
                <a:gradFill>
                  <a:gsLst>
                    <a:gs pos="0">
                      <a:srgbClr val="000000"/>
                    </a:gs>
                    <a:gs pos="100000">
                      <a:srgbClr val="000000"/>
                    </a:gs>
                  </a:gsLst>
                </a:gradFill>
                <a:effectLst/>
                <a:uLnTx/>
                <a:uFillTx/>
                <a:latin typeface="Segoe UI Semibold"/>
                <a:ea typeface="+mn-ea"/>
                <a:cs typeface="Segoe UI" panose="020B0502040204020203" pitchFamily="34" charset="0"/>
                <a:hlinkClick r:id="rId16"/>
              </a:rPr>
              <a:t>Microsoft.com/Learn</a:t>
            </a:r>
            <a:endParaRPr kumimoji="0" lang="en-US" sz="1568" b="1" i="0" u="none" strike="noStrike" kern="1200" cap="none" spc="0" normalizeH="0" baseline="0" noProof="0" dirty="0">
              <a:ln w="3175">
                <a:noFill/>
              </a:ln>
              <a:gradFill>
                <a:gsLst>
                  <a:gs pos="0">
                    <a:srgbClr val="000000"/>
                  </a:gs>
                  <a:gs pos="100000">
                    <a:srgbClr val="000000"/>
                  </a:gs>
                </a:gsLst>
              </a:gradFill>
              <a:effectLst/>
              <a:uLnTx/>
              <a:uFillTx/>
              <a:latin typeface="Segoe UI Semibold"/>
              <a:ea typeface="+mn-ea"/>
              <a:cs typeface="Segoe UI" panose="020B0502040204020203" pitchFamily="34" charset="0"/>
            </a:endParaRPr>
          </a:p>
        </p:txBody>
      </p:sp>
      <p:sp>
        <p:nvSpPr>
          <p:cNvPr id="37" name="Title 1">
            <a:extLst>
              <a:ext uri="{FF2B5EF4-FFF2-40B4-BE49-F238E27FC236}">
                <a16:creationId xmlns:a16="http://schemas.microsoft.com/office/drawing/2014/main" id="{1336A35F-A070-4C1A-80E8-56805EF8484E}"/>
              </a:ext>
            </a:extLst>
          </p:cNvPr>
          <p:cNvSpPr txBox="1">
            <a:spLocks/>
          </p:cNvSpPr>
          <p:nvPr/>
        </p:nvSpPr>
        <p:spPr>
          <a:xfrm>
            <a:off x="5829788" y="4983979"/>
            <a:ext cx="2656139" cy="921584"/>
          </a:xfrm>
          <a:prstGeom prst="rect">
            <a:avLst/>
          </a:prstGeom>
          <a:solidFill>
            <a:srgbClr val="FFFFFF">
              <a:lumMod val="95000"/>
            </a:srgbClr>
          </a:solidFill>
          <a:effectLst/>
        </p:spPr>
        <p:txBody>
          <a:bodyPr vert="horz" wrap="square" lIns="448212" tIns="179285" rIns="0" bIns="179285" rtlCol="0" anchor="ctr" anchorCtr="0">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L="0" marR="0" lvl="0" indent="0" algn="ctr" defTabSz="914367" rtl="0" eaLnBrk="1" fontAlgn="auto" latinLnBrk="0" hangingPunct="1">
              <a:lnSpc>
                <a:spcPct val="100000"/>
              </a:lnSpc>
              <a:spcBef>
                <a:spcPct val="0"/>
              </a:spcBef>
              <a:spcAft>
                <a:spcPts val="588"/>
              </a:spcAft>
              <a:buClrTx/>
              <a:buSzTx/>
              <a:buFontTx/>
              <a:buNone/>
              <a:tabLst/>
              <a:defRPr/>
            </a:pPr>
            <a:r>
              <a:rPr kumimoji="0" lang="en-US" sz="1568" b="1" i="0" u="none" strike="noStrike" kern="1200" cap="none" spc="0" normalizeH="0" baseline="0" noProof="0" dirty="0">
                <a:ln w="3175">
                  <a:noFill/>
                </a:ln>
                <a:gradFill>
                  <a:gsLst>
                    <a:gs pos="0">
                      <a:srgbClr val="000000"/>
                    </a:gs>
                    <a:gs pos="100000">
                      <a:srgbClr val="000000"/>
                    </a:gs>
                  </a:gsLst>
                </a:gradFill>
                <a:effectLst/>
                <a:uLnTx/>
                <a:uFillTx/>
                <a:latin typeface="Segoe UI Semibold"/>
                <a:ea typeface="+mn-ea"/>
                <a:cs typeface="Segoe UI" panose="020B0502040204020203" pitchFamily="34" charset="0"/>
              </a:rPr>
              <a:t>Certification poster</a:t>
            </a:r>
          </a:p>
          <a:p>
            <a:pPr marL="0" marR="0" lvl="0" indent="0" algn="ctr" defTabSz="914367" rtl="0" eaLnBrk="1" fontAlgn="auto" latinLnBrk="0" hangingPunct="1">
              <a:lnSpc>
                <a:spcPct val="100000"/>
              </a:lnSpc>
              <a:spcBef>
                <a:spcPct val="0"/>
              </a:spcBef>
              <a:spcAft>
                <a:spcPts val="588"/>
              </a:spcAft>
              <a:buClrTx/>
              <a:buSzTx/>
              <a:buFontTx/>
              <a:buNone/>
              <a:tabLst/>
              <a:defRPr/>
            </a:pPr>
            <a:r>
              <a:rPr kumimoji="0" lang="en-US" sz="1568" b="1" i="0" u="none" strike="noStrike" kern="1200" cap="none" spc="0" normalizeH="0" baseline="0" noProof="0" dirty="0">
                <a:ln w="3175">
                  <a:noFill/>
                </a:ln>
                <a:solidFill>
                  <a:schemeClr val="accent1"/>
                </a:solidFill>
                <a:effectLst/>
                <a:uLnTx/>
                <a:uFillTx/>
                <a:latin typeface="Segoe UI Semibold"/>
                <a:ea typeface="+mn-ea"/>
                <a:cs typeface="Segoe UI" panose="020B0502040204020203" pitchFamily="34" charset="0"/>
                <a:hlinkClick r:id="rId17">
                  <a:extLst>
                    <a:ext uri="{A12FA001-AC4F-418D-AE19-62706E023703}">
                      <ahyp:hlinkClr xmlns:ahyp="http://schemas.microsoft.com/office/drawing/2018/hyperlinkcolor" val="tx"/>
                    </a:ext>
                  </a:extLst>
                </a:hlinkClick>
              </a:rPr>
              <a:t>aka.ms/</a:t>
            </a:r>
            <a:r>
              <a:rPr kumimoji="0" lang="en-US" sz="1568" b="1" i="0" u="none" strike="noStrike" kern="1200" cap="none" spc="0" normalizeH="0" baseline="0" noProof="0" dirty="0" err="1">
                <a:ln w="3175">
                  <a:noFill/>
                </a:ln>
                <a:solidFill>
                  <a:schemeClr val="accent1"/>
                </a:solidFill>
                <a:effectLst/>
                <a:uLnTx/>
                <a:uFillTx/>
                <a:latin typeface="Segoe UI Semibold"/>
                <a:ea typeface="+mn-ea"/>
                <a:cs typeface="Segoe UI" panose="020B0502040204020203" pitchFamily="34" charset="0"/>
                <a:hlinkClick r:id="rId17">
                  <a:extLst>
                    <a:ext uri="{A12FA001-AC4F-418D-AE19-62706E023703}">
                      <ahyp:hlinkClr xmlns:ahyp="http://schemas.microsoft.com/office/drawing/2018/hyperlinkcolor" val="tx"/>
                    </a:ext>
                  </a:extLst>
                </a:hlinkClick>
              </a:rPr>
              <a:t>TrainCertPoster</a:t>
            </a:r>
            <a:endParaRPr kumimoji="0" lang="en-US" sz="1568" b="1" i="0" u="none" strike="noStrike" kern="1200" cap="none" spc="0" normalizeH="0" baseline="0" noProof="0" dirty="0">
              <a:ln w="3175">
                <a:noFill/>
              </a:ln>
              <a:solidFill>
                <a:schemeClr val="accent1"/>
              </a:solidFill>
              <a:effectLst/>
              <a:uLnTx/>
              <a:uFillTx/>
              <a:latin typeface="Segoe UI Semibold"/>
              <a:ea typeface="+mn-ea"/>
              <a:cs typeface="Segoe UI" panose="020B0502040204020203" pitchFamily="34" charset="0"/>
            </a:endParaRPr>
          </a:p>
        </p:txBody>
      </p:sp>
      <p:sp>
        <p:nvSpPr>
          <p:cNvPr id="5" name="Title 1">
            <a:extLst>
              <a:ext uri="{FF2B5EF4-FFF2-40B4-BE49-F238E27FC236}">
                <a16:creationId xmlns:a16="http://schemas.microsoft.com/office/drawing/2014/main" id="{558C3AED-D08C-46A2-A39D-E38722DF0BDD}"/>
              </a:ext>
            </a:extLst>
          </p:cNvPr>
          <p:cNvSpPr txBox="1">
            <a:spLocks/>
          </p:cNvSpPr>
          <p:nvPr/>
        </p:nvSpPr>
        <p:spPr>
          <a:xfrm>
            <a:off x="8960293" y="4842624"/>
            <a:ext cx="2986099" cy="1204294"/>
          </a:xfrm>
          <a:prstGeom prst="rect">
            <a:avLst/>
          </a:prstGeom>
          <a:solidFill>
            <a:srgbClr val="FFFFFF">
              <a:lumMod val="95000"/>
            </a:srgbClr>
          </a:solidFill>
          <a:effectLst/>
        </p:spPr>
        <p:style>
          <a:lnRef idx="0">
            <a:scrgbClr r="0" g="0" b="0"/>
          </a:lnRef>
          <a:fillRef idx="0">
            <a:scrgbClr r="0" g="0" b="0"/>
          </a:fillRef>
          <a:effectRef idx="0">
            <a:scrgbClr r="0" g="0" b="0"/>
          </a:effectRef>
          <a:fontRef idx="major"/>
        </p:style>
        <p:txBody>
          <a:bodyPr vert="horz" wrap="square" lIns="448212" tIns="179285" rIns="0" bIns="179285" rtlCol="0" anchor="ctr" anchorCtr="0">
            <a:no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lang="en-US" sz="1570" dirty="0">
                <a:gradFill>
                  <a:gsLst>
                    <a:gs pos="0">
                      <a:srgbClr val="000000"/>
                    </a:gs>
                    <a:gs pos="100000">
                      <a:srgbClr val="000000"/>
                    </a:gs>
                  </a:gsLst>
                </a:gradFill>
                <a:latin typeface="Segoe UI Semibold"/>
              </a:rPr>
              <a:t>Skills measured </a:t>
            </a:r>
          </a:p>
          <a:p>
            <a:pPr algn="ctr" defTabSz="914367">
              <a:lnSpc>
                <a:spcPct val="90000"/>
              </a:lnSpc>
              <a:spcAft>
                <a:spcPts val="588"/>
              </a:spcAft>
              <a:defRPr/>
            </a:pPr>
            <a:r>
              <a:rPr lang="en-US" sz="1570" b="0" i="0" dirty="0">
                <a:effectLst/>
                <a:hlinkClick r:id="rId18" tooltip="https://aka.ms/az-900update"/>
              </a:rPr>
              <a:t>aka.ms/AZ-900Update</a:t>
            </a:r>
            <a:endParaRPr lang="en-US" sz="1570" b="0" i="0" dirty="0">
              <a:effectLst/>
            </a:endParaRPr>
          </a:p>
        </p:txBody>
      </p:sp>
    </p:spTree>
    <p:extLst>
      <p:ext uri="{BB962C8B-B14F-4D97-AF65-F5344CB8AC3E}">
        <p14:creationId xmlns:p14="http://schemas.microsoft.com/office/powerpoint/2010/main" val="2650328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Exam preparation</a:t>
            </a:r>
          </a:p>
        </p:txBody>
      </p:sp>
    </p:spTree>
    <p:extLst>
      <p:ext uri="{BB962C8B-B14F-4D97-AF65-F5344CB8AC3E}">
        <p14:creationId xmlns:p14="http://schemas.microsoft.com/office/powerpoint/2010/main" val="216998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859B09-EFC0-4767-9611-2302C69757B0}"/>
              </a:ext>
            </a:extLst>
          </p:cNvPr>
          <p:cNvSpPr>
            <a:spLocks noGrp="1"/>
          </p:cNvSpPr>
          <p:nvPr>
            <p:ph type="title"/>
          </p:nvPr>
        </p:nvSpPr>
        <p:spPr>
          <a:xfrm>
            <a:off x="275482" y="295275"/>
            <a:ext cx="10785565" cy="917575"/>
          </a:xfrm>
        </p:spPr>
        <p:txBody>
          <a:bodyPr lIns="182880"/>
          <a:lstStyle/>
          <a:p>
            <a:r>
              <a:rPr lang="en-US" dirty="0">
                <a:solidFill>
                  <a:srgbClr val="002060"/>
                </a:solidFill>
              </a:rPr>
              <a:t>Wrap up</a:t>
            </a:r>
          </a:p>
        </p:txBody>
      </p:sp>
      <p:sp>
        <p:nvSpPr>
          <p:cNvPr id="84" name="Rectangle 83">
            <a:extLst>
              <a:ext uri="{FF2B5EF4-FFF2-40B4-BE49-F238E27FC236}">
                <a16:creationId xmlns:a16="http://schemas.microsoft.com/office/drawing/2014/main" id="{B772C5E9-ED15-4331-A7CC-C0D0F14C5EA5}"/>
              </a:ext>
            </a:extLst>
          </p:cNvPr>
          <p:cNvSpPr/>
          <p:nvPr/>
        </p:nvSpPr>
        <p:spPr bwMode="auto">
          <a:xfrm>
            <a:off x="817483" y="2325497"/>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Summary of learning</a:t>
            </a:r>
          </a:p>
        </p:txBody>
      </p:sp>
      <p:sp>
        <p:nvSpPr>
          <p:cNvPr id="27" name="Rectangle 26">
            <a:extLst>
              <a:ext uri="{FF2B5EF4-FFF2-40B4-BE49-F238E27FC236}">
                <a16:creationId xmlns:a16="http://schemas.microsoft.com/office/drawing/2014/main" id="{048ECB98-CF43-E144-AA9D-A0314B19BEFA}"/>
              </a:ext>
            </a:extLst>
          </p:cNvPr>
          <p:cNvSpPr/>
          <p:nvPr/>
        </p:nvSpPr>
        <p:spPr bwMode="auto">
          <a:xfrm>
            <a:off x="4844844" y="2330581"/>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Learning resources</a:t>
            </a:r>
          </a:p>
        </p:txBody>
      </p:sp>
      <p:sp>
        <p:nvSpPr>
          <p:cNvPr id="30" name="Rectangle 29">
            <a:extLst>
              <a:ext uri="{FF2B5EF4-FFF2-40B4-BE49-F238E27FC236}">
                <a16:creationId xmlns:a16="http://schemas.microsoft.com/office/drawing/2014/main" id="{D6A4A8B2-4672-424C-903D-FEF3C913F5A4}"/>
              </a:ext>
            </a:extLst>
          </p:cNvPr>
          <p:cNvSpPr/>
          <p:nvPr/>
        </p:nvSpPr>
        <p:spPr bwMode="auto">
          <a:xfrm>
            <a:off x="9005123" y="2325497"/>
            <a:ext cx="2743200" cy="128016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1" forceAA="0" compatLnSpc="1">
            <a:prstTxWarp prst="textNoShape">
              <a:avLst/>
            </a:prstTxWarp>
            <a:noAutofit/>
          </a:bodyPr>
          <a:lstStyle/>
          <a:p>
            <a:pPr defTabSz="498680">
              <a:spcBef>
                <a:spcPct val="0"/>
              </a:spcBef>
              <a:spcAft>
                <a:spcPts val="306"/>
              </a:spcAft>
            </a:pPr>
            <a:r>
              <a:rPr lang="en-US" sz="1500" dirty="0">
                <a:solidFill>
                  <a:schemeClr val="bg1"/>
                </a:solidFill>
                <a:cs typeface="Segoe UI" pitchFamily="34" charset="0"/>
              </a:rPr>
              <a:t>Exam discussion</a:t>
            </a:r>
          </a:p>
        </p:txBody>
      </p:sp>
      <p:pic>
        <p:nvPicPr>
          <p:cNvPr id="6" name="Graphic 5">
            <a:extLst>
              <a:ext uri="{FF2B5EF4-FFF2-40B4-BE49-F238E27FC236}">
                <a16:creationId xmlns:a16="http://schemas.microsoft.com/office/drawing/2014/main" id="{90A267B7-A3EC-4D95-9C8B-FA5745EBFDA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59244" y="2386884"/>
            <a:ext cx="914400" cy="914400"/>
          </a:xfrm>
          <a:prstGeom prst="rect">
            <a:avLst/>
          </a:prstGeom>
        </p:spPr>
      </p:pic>
      <p:pic>
        <p:nvPicPr>
          <p:cNvPr id="9" name="Graphic 8">
            <a:extLst>
              <a:ext uri="{FF2B5EF4-FFF2-40B4-BE49-F238E27FC236}">
                <a16:creationId xmlns:a16="http://schemas.microsoft.com/office/drawing/2014/main" id="{A6486C65-B63E-4F29-8DF0-4316053B2A5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19523" y="2386884"/>
            <a:ext cx="914400" cy="914400"/>
          </a:xfrm>
          <a:prstGeom prst="rect">
            <a:avLst/>
          </a:prstGeom>
        </p:spPr>
      </p:pic>
      <p:pic>
        <p:nvPicPr>
          <p:cNvPr id="17" name="Graphic 16">
            <a:extLst>
              <a:ext uri="{FF2B5EF4-FFF2-40B4-BE49-F238E27FC236}">
                <a16:creationId xmlns:a16="http://schemas.microsoft.com/office/drawing/2014/main" id="{4652DAEC-1804-4622-AAE5-A88C5C448FD9}"/>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31883" y="2382164"/>
            <a:ext cx="914400" cy="914400"/>
          </a:xfrm>
          <a:prstGeom prst="rect">
            <a:avLst/>
          </a:prstGeom>
        </p:spPr>
      </p:pic>
      <p:grpSp>
        <p:nvGrpSpPr>
          <p:cNvPr id="18" name="Group 17">
            <a:extLst>
              <a:ext uri="{FF2B5EF4-FFF2-40B4-BE49-F238E27FC236}">
                <a16:creationId xmlns:a16="http://schemas.microsoft.com/office/drawing/2014/main" id="{B1A89EF1-17A9-4D41-838D-D1246AF5ED35}"/>
              </a:ext>
              <a:ext uri="{C183D7F6-B498-43B3-948B-1728B52AA6E4}">
                <adec:decorative xmlns:adec="http://schemas.microsoft.com/office/drawing/2017/decorative" val="1"/>
              </a:ext>
            </a:extLst>
          </p:cNvPr>
          <p:cNvGrpSpPr/>
          <p:nvPr/>
        </p:nvGrpSpPr>
        <p:grpSpPr>
          <a:xfrm>
            <a:off x="275482" y="5305986"/>
            <a:ext cx="12160953" cy="1984376"/>
            <a:chOff x="274638" y="5010150"/>
            <a:chExt cx="12160953" cy="1984376"/>
          </a:xfrm>
        </p:grpSpPr>
        <p:grpSp>
          <p:nvGrpSpPr>
            <p:cNvPr id="19" name="Group 18">
              <a:extLst>
                <a:ext uri="{FF2B5EF4-FFF2-40B4-BE49-F238E27FC236}">
                  <a16:creationId xmlns:a16="http://schemas.microsoft.com/office/drawing/2014/main" id="{E332B756-8527-4D75-9656-EB0248DE6AC7}"/>
                </a:ext>
                <a:ext uri="{C183D7F6-B498-43B3-948B-1728B52AA6E4}">
                  <adec:decorative xmlns:adec="http://schemas.microsoft.com/office/drawing/2017/decorative" val="1"/>
                </a:ext>
              </a:extLst>
            </p:cNvPr>
            <p:cNvGrpSpPr/>
            <p:nvPr/>
          </p:nvGrpSpPr>
          <p:grpSpPr>
            <a:xfrm>
              <a:off x="274638" y="5029201"/>
              <a:ext cx="12160953" cy="1965325"/>
              <a:chOff x="274638" y="5029201"/>
              <a:chExt cx="12160953" cy="1965325"/>
            </a:xfrm>
          </p:grpSpPr>
          <p:grpSp>
            <p:nvGrpSpPr>
              <p:cNvPr id="22" name="Group 21">
                <a:extLst>
                  <a:ext uri="{FF2B5EF4-FFF2-40B4-BE49-F238E27FC236}">
                    <a16:creationId xmlns:a16="http://schemas.microsoft.com/office/drawing/2014/main" id="{0733D029-11B7-4493-AF29-7ABA8D9B0E59}"/>
                  </a:ext>
                </a:extLst>
              </p:cNvPr>
              <p:cNvGrpSpPr/>
              <p:nvPr/>
            </p:nvGrpSpPr>
            <p:grpSpPr>
              <a:xfrm>
                <a:off x="275482" y="5029201"/>
                <a:ext cx="12148452" cy="1965325"/>
                <a:chOff x="269241" y="4842232"/>
                <a:chExt cx="11911328" cy="1926964"/>
              </a:xfrm>
            </p:grpSpPr>
            <p:pic>
              <p:nvPicPr>
                <p:cNvPr id="24" name="Graphic 23">
                  <a:extLst>
                    <a:ext uri="{FF2B5EF4-FFF2-40B4-BE49-F238E27FC236}">
                      <a16:creationId xmlns:a16="http://schemas.microsoft.com/office/drawing/2014/main" id="{D0FE8264-C11E-4F63-AF08-E28C099A4CED}"/>
                    </a:ext>
                    <a:ext uri="{C183D7F6-B498-43B3-948B-1728B52AA6E4}">
                      <adec:decorative xmlns:adec="http://schemas.microsoft.com/office/drawing/2017/decorative" val="1"/>
                    </a:ext>
                  </a:extLst>
                </p:cNvPr>
                <p:cNvPicPr>
                  <a:picLocks noChangeAspect="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t="1" r="16311" b="48531"/>
                <a:stretch/>
              </p:blipFill>
              <p:spPr>
                <a:xfrm>
                  <a:off x="6610088" y="4842232"/>
                  <a:ext cx="5570481" cy="1926963"/>
                </a:xfrm>
                <a:prstGeom prst="rect">
                  <a:avLst/>
                </a:prstGeom>
              </p:spPr>
            </p:pic>
            <p:pic>
              <p:nvPicPr>
                <p:cNvPr id="25" name="Graphic 24">
                  <a:extLst>
                    <a:ext uri="{FF2B5EF4-FFF2-40B4-BE49-F238E27FC236}">
                      <a16:creationId xmlns:a16="http://schemas.microsoft.com/office/drawing/2014/main" id="{B2F3A07A-BB0C-4DF1-8825-A89E822B5618}"/>
                    </a:ext>
                    <a:ext uri="{C183D7F6-B498-43B3-948B-1728B52AA6E4}">
                      <adec:decorative xmlns:adec="http://schemas.microsoft.com/office/drawing/2017/decorative" val="1"/>
                    </a:ext>
                  </a:extLst>
                </p:cNvPr>
                <p:cNvPicPr>
                  <a:picLocks noChangeAspect="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l="6928" t="1602" b="49765"/>
                <a:stretch/>
              </p:blipFill>
              <p:spPr>
                <a:xfrm>
                  <a:off x="269241" y="4902201"/>
                  <a:ext cx="6352278" cy="1866995"/>
                </a:xfrm>
                <a:custGeom>
                  <a:avLst/>
                  <a:gdLst>
                    <a:gd name="connsiteX0" fmla="*/ 1097537 w 6352278"/>
                    <a:gd name="connsiteY0" fmla="*/ 0 h 1955800"/>
                    <a:gd name="connsiteX1" fmla="*/ 6352278 w 6352278"/>
                    <a:gd name="connsiteY1" fmla="*/ 0 h 1955800"/>
                    <a:gd name="connsiteX2" fmla="*/ 6352278 w 6352278"/>
                    <a:gd name="connsiteY2" fmla="*/ 1955800 h 1955800"/>
                    <a:gd name="connsiteX3" fmla="*/ 30416 w 6352278"/>
                    <a:gd name="connsiteY3" fmla="*/ 1955800 h 1955800"/>
                    <a:gd name="connsiteX4" fmla="*/ 22298 w 6352278"/>
                    <a:gd name="connsiteY4" fmla="*/ 1929650 h 1955800"/>
                    <a:gd name="connsiteX5" fmla="*/ 0 w 6352278"/>
                    <a:gd name="connsiteY5" fmla="*/ 1708457 h 1955800"/>
                    <a:gd name="connsiteX6" fmla="*/ 0 w 6352278"/>
                    <a:gd name="connsiteY6" fmla="*/ 1097537 h 1955800"/>
                    <a:gd name="connsiteX7" fmla="*/ 1097537 w 6352278"/>
                    <a:gd name="connsiteY7" fmla="*/ 0 h 195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2278" h="1955800">
                      <a:moveTo>
                        <a:pt x="1097537" y="0"/>
                      </a:moveTo>
                      <a:lnTo>
                        <a:pt x="6352278" y="0"/>
                      </a:lnTo>
                      <a:lnTo>
                        <a:pt x="6352278" y="1955800"/>
                      </a:lnTo>
                      <a:lnTo>
                        <a:pt x="30416" y="1955800"/>
                      </a:lnTo>
                      <a:lnTo>
                        <a:pt x="22298" y="1929650"/>
                      </a:lnTo>
                      <a:cubicBezTo>
                        <a:pt x="7678" y="1858202"/>
                        <a:pt x="0" y="1784227"/>
                        <a:pt x="0" y="1708457"/>
                      </a:cubicBezTo>
                      <a:lnTo>
                        <a:pt x="0" y="1097537"/>
                      </a:lnTo>
                      <a:cubicBezTo>
                        <a:pt x="0" y="491384"/>
                        <a:pt x="491384" y="0"/>
                        <a:pt x="1097537" y="0"/>
                      </a:cubicBezTo>
                      <a:close/>
                    </a:path>
                  </a:pathLst>
                </a:custGeom>
              </p:spPr>
            </p:pic>
          </p:grpSp>
          <p:sp>
            <p:nvSpPr>
              <p:cNvPr id="23" name="Freeform: Shape 22">
                <a:extLst>
                  <a:ext uri="{FF2B5EF4-FFF2-40B4-BE49-F238E27FC236}">
                    <a16:creationId xmlns:a16="http://schemas.microsoft.com/office/drawing/2014/main" id="{70C17BFF-9220-4D53-A256-F5D09813408E}"/>
                  </a:ext>
                  <a:ext uri="{C183D7F6-B498-43B3-948B-1728B52AA6E4}">
                    <adec:decorative xmlns:adec="http://schemas.microsoft.com/office/drawing/2017/decorative" val="1"/>
                  </a:ext>
                </a:extLst>
              </p:cNvPr>
              <p:cNvSpPr/>
              <p:nvPr/>
            </p:nvSpPr>
            <p:spPr>
              <a:xfrm rot="10800000">
                <a:off x="274638" y="5077609"/>
                <a:ext cx="12160953" cy="1916916"/>
              </a:xfrm>
              <a:custGeom>
                <a:avLst/>
                <a:gdLst>
                  <a:gd name="connsiteX0" fmla="*/ 10669828 w 11724030"/>
                  <a:gd name="connsiteY0" fmla="*/ 1968304 h 1968304"/>
                  <a:gd name="connsiteX1" fmla="*/ 0 w 11724030"/>
                  <a:gd name="connsiteY1" fmla="*/ 1968304 h 1968304"/>
                  <a:gd name="connsiteX2" fmla="*/ 3103706 w 11724030"/>
                  <a:gd name="connsiteY2" fmla="*/ 0 h 1968304"/>
                  <a:gd name="connsiteX3" fmla="*/ 11724030 w 11724030"/>
                  <a:gd name="connsiteY3" fmla="*/ 0 h 1968304"/>
                  <a:gd name="connsiteX4" fmla="*/ 11724030 w 11724030"/>
                  <a:gd name="connsiteY4" fmla="*/ 914085 h 1968304"/>
                  <a:gd name="connsiteX5" fmla="*/ 10669828 w 11724030"/>
                  <a:gd name="connsiteY5" fmla="*/ 1968304 h 1968304"/>
                  <a:gd name="connsiteX0" fmla="*/ 3103706 w 11724030"/>
                  <a:gd name="connsiteY0" fmla="*/ 0 h 1968304"/>
                  <a:gd name="connsiteX1" fmla="*/ 11724030 w 11724030"/>
                  <a:gd name="connsiteY1" fmla="*/ 0 h 1968304"/>
                  <a:gd name="connsiteX2" fmla="*/ 11724030 w 11724030"/>
                  <a:gd name="connsiteY2" fmla="*/ 914085 h 1968304"/>
                  <a:gd name="connsiteX3" fmla="*/ 10669828 w 11724030"/>
                  <a:gd name="connsiteY3" fmla="*/ 1968304 h 1968304"/>
                  <a:gd name="connsiteX4" fmla="*/ 0 w 11724030"/>
                  <a:gd name="connsiteY4" fmla="*/ 1968304 h 1968304"/>
                  <a:gd name="connsiteX5" fmla="*/ 3195146 w 11724030"/>
                  <a:gd name="connsiteY5" fmla="*/ 91440 h 1968304"/>
                  <a:gd name="connsiteX0" fmla="*/ 3103706 w 11724030"/>
                  <a:gd name="connsiteY0" fmla="*/ 0 h 1968304"/>
                  <a:gd name="connsiteX1" fmla="*/ 11724030 w 11724030"/>
                  <a:gd name="connsiteY1" fmla="*/ 0 h 1968304"/>
                  <a:gd name="connsiteX2" fmla="*/ 11724030 w 11724030"/>
                  <a:gd name="connsiteY2" fmla="*/ 914085 h 1968304"/>
                  <a:gd name="connsiteX3" fmla="*/ 10669828 w 11724030"/>
                  <a:gd name="connsiteY3" fmla="*/ 1968304 h 1968304"/>
                  <a:gd name="connsiteX4" fmla="*/ 0 w 11724030"/>
                  <a:gd name="connsiteY4" fmla="*/ 1968304 h 1968304"/>
                  <a:gd name="connsiteX0" fmla="*/ 11724030 w 11724030"/>
                  <a:gd name="connsiteY0" fmla="*/ 0 h 1968304"/>
                  <a:gd name="connsiteX1" fmla="*/ 11724030 w 11724030"/>
                  <a:gd name="connsiteY1" fmla="*/ 914085 h 1968304"/>
                  <a:gd name="connsiteX2" fmla="*/ 10669828 w 11724030"/>
                  <a:gd name="connsiteY2" fmla="*/ 1968304 h 1968304"/>
                  <a:gd name="connsiteX3" fmla="*/ 0 w 11724030"/>
                  <a:gd name="connsiteY3" fmla="*/ 1968304 h 1968304"/>
                </a:gdLst>
                <a:ahLst/>
                <a:cxnLst>
                  <a:cxn ang="0">
                    <a:pos x="connsiteX0" y="connsiteY0"/>
                  </a:cxn>
                  <a:cxn ang="0">
                    <a:pos x="connsiteX1" y="connsiteY1"/>
                  </a:cxn>
                  <a:cxn ang="0">
                    <a:pos x="connsiteX2" y="connsiteY2"/>
                  </a:cxn>
                  <a:cxn ang="0">
                    <a:pos x="connsiteX3" y="connsiteY3"/>
                  </a:cxn>
                </a:cxnLst>
                <a:rect l="l" t="t" r="r" b="b"/>
                <a:pathLst>
                  <a:path w="11724030" h="1968304">
                    <a:moveTo>
                      <a:pt x="11724030" y="0"/>
                    </a:moveTo>
                    <a:lnTo>
                      <a:pt x="11724030" y="914085"/>
                    </a:lnTo>
                    <a:cubicBezTo>
                      <a:pt x="11724030" y="1496304"/>
                      <a:pt x="11252037" y="1968304"/>
                      <a:pt x="10669828" y="1968304"/>
                    </a:cubicBezTo>
                    <a:lnTo>
                      <a:pt x="0" y="1968304"/>
                    </a:lnTo>
                  </a:path>
                </a:pathLst>
              </a:custGeom>
              <a:noFill/>
              <a:ln w="127000" cap="flat">
                <a:solidFill>
                  <a:srgbClr val="8661C5"/>
                </a:solidFill>
                <a:prstDash val="solid"/>
                <a:miter/>
              </a:ln>
            </p:spPr>
            <p:txBody>
              <a:bodyPr rtlCol="0" anchor="ctr"/>
              <a:lstStyle/>
              <a:p>
                <a:pPr defTabSz="932597"/>
                <a:endParaRPr lang="en-US" sz="1836" dirty="0">
                  <a:solidFill>
                    <a:srgbClr val="1A1A1A"/>
                  </a:solidFill>
                  <a:latin typeface="Segoe UI"/>
                </a:endParaRPr>
              </a:p>
            </p:txBody>
          </p:sp>
        </p:grpSp>
        <p:sp>
          <p:nvSpPr>
            <p:cNvPr id="20" name="Oval 19">
              <a:extLst>
                <a:ext uri="{FF2B5EF4-FFF2-40B4-BE49-F238E27FC236}">
                  <a16:creationId xmlns:a16="http://schemas.microsoft.com/office/drawing/2014/main" id="{859872EB-C320-473C-AE6A-F527F8AE93D2}"/>
                </a:ext>
              </a:extLst>
            </p:cNvPr>
            <p:cNvSpPr/>
            <p:nvPr/>
          </p:nvSpPr>
          <p:spPr bwMode="auto">
            <a:xfrm>
              <a:off x="1778000" y="5016500"/>
              <a:ext cx="128016" cy="128016"/>
            </a:xfrm>
            <a:prstGeom prst="ellipse">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D2E5734D-CAC6-4D4E-8677-C192766112D2}"/>
                </a:ext>
              </a:extLst>
            </p:cNvPr>
            <p:cNvSpPr/>
            <p:nvPr/>
          </p:nvSpPr>
          <p:spPr bwMode="auto">
            <a:xfrm>
              <a:off x="10922000" y="5010150"/>
              <a:ext cx="128016" cy="128016"/>
            </a:xfrm>
            <a:prstGeom prst="ellipse">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328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4A2C5-48DE-47FF-913A-BD2A653AA3FC}"/>
              </a:ext>
            </a:extLst>
          </p:cNvPr>
          <p:cNvSpPr>
            <a:spLocks noGrp="1"/>
          </p:cNvSpPr>
          <p:nvPr>
            <p:ph type="title"/>
          </p:nvPr>
        </p:nvSpPr>
        <p:spPr/>
        <p:txBody>
          <a:bodyPr/>
          <a:lstStyle/>
          <a:p>
            <a:r>
              <a:rPr lang="en-US" dirty="0">
                <a:solidFill>
                  <a:srgbClr val="002060"/>
                </a:solidFill>
              </a:rPr>
              <a:t>Take the survey</a:t>
            </a:r>
          </a:p>
        </p:txBody>
      </p:sp>
      <p:sp>
        <p:nvSpPr>
          <p:cNvPr id="30" name="TextBox 29">
            <a:extLst>
              <a:ext uri="{FF2B5EF4-FFF2-40B4-BE49-F238E27FC236}">
                <a16:creationId xmlns:a16="http://schemas.microsoft.com/office/drawing/2014/main" id="{786864CA-4B26-409E-B997-B9D5C17C4FA9}"/>
              </a:ext>
            </a:extLst>
          </p:cNvPr>
          <p:cNvSpPr txBox="1"/>
          <p:nvPr/>
        </p:nvSpPr>
        <p:spPr>
          <a:xfrm>
            <a:off x="489140" y="1290299"/>
            <a:ext cx="5551279" cy="923330"/>
          </a:xfrm>
          <a:prstGeom prst="rect">
            <a:avLst/>
          </a:prstGeom>
          <a:solidFill>
            <a:schemeClr val="bg1"/>
          </a:solidFill>
        </p:spPr>
        <p:txBody>
          <a:bodyPr wrap="square" lIns="182880" tIns="182880" rIns="182880" bIns="182880" rtlCol="0">
            <a:spAutoFit/>
          </a:bodyPr>
          <a:lstStyle/>
          <a:p>
            <a:pPr defTabSz="951028" fontAlgn="base">
              <a:spcBef>
                <a:spcPct val="0"/>
              </a:spcBef>
              <a:spcAft>
                <a:spcPts val="600"/>
              </a:spcAft>
            </a:pPr>
            <a:r>
              <a:rPr lang="en-US" sz="1800" dirty="0">
                <a:solidFill>
                  <a:srgbClr val="000000"/>
                </a:solidFill>
              </a:rPr>
              <a:t>Please help us continue to improve our trainings by completing our survey at </a:t>
            </a:r>
            <a:r>
              <a:rPr lang="en-US" sz="1800" dirty="0">
                <a:solidFill>
                  <a:srgbClr val="000000"/>
                </a:solidFill>
                <a:hlinkClick r:id="rId3"/>
              </a:rPr>
              <a:t>aka.ms/MSLEVEPSSurvey</a:t>
            </a:r>
            <a:endParaRPr lang="en-US" sz="1800" b="0" i="0" dirty="0">
              <a:solidFill>
                <a:srgbClr val="000000"/>
              </a:solidFill>
              <a:effectLst/>
            </a:endParaRPr>
          </a:p>
        </p:txBody>
      </p:sp>
      <p:grpSp>
        <p:nvGrpSpPr>
          <p:cNvPr id="5" name="Group 4">
            <a:extLst>
              <a:ext uri="{FF2B5EF4-FFF2-40B4-BE49-F238E27FC236}">
                <a16:creationId xmlns:a16="http://schemas.microsoft.com/office/drawing/2014/main" id="{C5CE1D75-CA9B-46F0-8391-DF84F342F0D2}"/>
              </a:ext>
              <a:ext uri="{C183D7F6-B498-43B3-948B-1728B52AA6E4}">
                <adec:decorative xmlns:adec="http://schemas.microsoft.com/office/drawing/2017/decorative" val="1"/>
              </a:ext>
            </a:extLst>
          </p:cNvPr>
          <p:cNvGrpSpPr/>
          <p:nvPr/>
        </p:nvGrpSpPr>
        <p:grpSpPr>
          <a:xfrm>
            <a:off x="10986843" y="4065562"/>
            <a:ext cx="1447870" cy="2941982"/>
            <a:chOff x="10752275" y="3973033"/>
            <a:chExt cx="1419811" cy="2884967"/>
          </a:xfrm>
        </p:grpSpPr>
        <p:pic>
          <p:nvPicPr>
            <p:cNvPr id="6" name="Graphic 5">
              <a:extLst>
                <a:ext uri="{FF2B5EF4-FFF2-40B4-BE49-F238E27FC236}">
                  <a16:creationId xmlns:a16="http://schemas.microsoft.com/office/drawing/2014/main" id="{A743CF1B-724C-4D2B-95D3-2F9C360C1ABA}"/>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28" t="24838" r="73426" b="33095"/>
            <a:stretch/>
          </p:blipFill>
          <p:spPr>
            <a:xfrm>
              <a:off x="10752275" y="3973033"/>
              <a:ext cx="1419811" cy="2884967"/>
            </a:xfrm>
            <a:prstGeom prst="rect">
              <a:avLst/>
            </a:prstGeom>
          </p:spPr>
        </p:pic>
        <p:sp>
          <p:nvSpPr>
            <p:cNvPr id="7" name="Oval 6">
              <a:extLst>
                <a:ext uri="{FF2B5EF4-FFF2-40B4-BE49-F238E27FC236}">
                  <a16:creationId xmlns:a16="http://schemas.microsoft.com/office/drawing/2014/main" id="{B976513D-B9E8-4D59-AAF0-E0F6ADF683AB}"/>
                </a:ext>
                <a:ext uri="{C183D7F6-B498-43B3-948B-1728B52AA6E4}">
                  <adec:decorative xmlns:adec="http://schemas.microsoft.com/office/drawing/2017/decorative" val="1"/>
                </a:ext>
              </a:extLst>
            </p:cNvPr>
            <p:cNvSpPr/>
            <p:nvPr/>
          </p:nvSpPr>
          <p:spPr bwMode="auto">
            <a:xfrm>
              <a:off x="11412581" y="6556913"/>
              <a:ext cx="121291" cy="121291"/>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14" name="Picture 13">
            <a:extLst>
              <a:ext uri="{FF2B5EF4-FFF2-40B4-BE49-F238E27FC236}">
                <a16:creationId xmlns:a16="http://schemas.microsoft.com/office/drawing/2014/main" id="{A6419557-170A-4557-A285-5F246EA7D43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914543" y="455042"/>
            <a:ext cx="6324157" cy="6244207"/>
          </a:xfrm>
          <a:prstGeom prst="rect">
            <a:avLst/>
          </a:prstGeom>
        </p:spPr>
      </p:pic>
      <p:pic>
        <p:nvPicPr>
          <p:cNvPr id="15" name="Picture 14" descr="Survey Qr code">
            <a:extLst>
              <a:ext uri="{FF2B5EF4-FFF2-40B4-BE49-F238E27FC236}">
                <a16:creationId xmlns:a16="http://schemas.microsoft.com/office/drawing/2014/main" id="{DB40F7AF-6C99-402D-BE24-E63513460D6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9140" y="3291881"/>
            <a:ext cx="1676150" cy="1676150"/>
          </a:xfrm>
          <a:prstGeom prst="rect">
            <a:avLst/>
          </a:prstGeom>
        </p:spPr>
      </p:pic>
    </p:spTree>
    <p:extLst>
      <p:ext uri="{BB962C8B-B14F-4D97-AF65-F5344CB8AC3E}">
        <p14:creationId xmlns:p14="http://schemas.microsoft.com/office/powerpoint/2010/main" val="273876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2730B-BA09-4CBB-8BF2-721CB2CDD86E}"/>
              </a:ext>
            </a:extLst>
          </p:cNvPr>
          <p:cNvSpPr>
            <a:spLocks noGrp="1"/>
          </p:cNvSpPr>
          <p:nvPr>
            <p:ph type="title" idx="4294967295"/>
          </p:nvPr>
        </p:nvSpPr>
        <p:spPr>
          <a:xfrm>
            <a:off x="392654" y="2125663"/>
            <a:ext cx="11494546" cy="866775"/>
          </a:xfrm>
        </p:spPr>
        <p:txBody>
          <a:bodyPr/>
          <a:lstStyle/>
          <a:p>
            <a:r>
              <a:rPr lang="en-US" dirty="0"/>
              <a:t>Thank you!</a:t>
            </a:r>
          </a:p>
        </p:txBody>
      </p:sp>
    </p:spTree>
    <p:extLst>
      <p:ext uri="{BB962C8B-B14F-4D97-AF65-F5344CB8AC3E}">
        <p14:creationId xmlns:p14="http://schemas.microsoft.com/office/powerpoint/2010/main" val="7878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1" name="Group 70">
            <a:extLst>
              <a:ext uri="{FF2B5EF4-FFF2-40B4-BE49-F238E27FC236}">
                <a16:creationId xmlns:a16="http://schemas.microsoft.com/office/drawing/2014/main" id="{000798B7-D8FD-46C3-B813-A4C0EB2B6189}"/>
              </a:ext>
              <a:ext uri="{C183D7F6-B498-43B3-948B-1728B52AA6E4}">
                <adec:decorative xmlns:adec="http://schemas.microsoft.com/office/drawing/2017/decorative" val="1"/>
              </a:ext>
            </a:extLst>
          </p:cNvPr>
          <p:cNvGrpSpPr/>
          <p:nvPr/>
        </p:nvGrpSpPr>
        <p:grpSpPr>
          <a:xfrm>
            <a:off x="274638" y="5011008"/>
            <a:ext cx="12160953" cy="1983518"/>
            <a:chOff x="274638" y="5011008"/>
            <a:chExt cx="12160953" cy="1983518"/>
          </a:xfrm>
        </p:grpSpPr>
        <p:grpSp>
          <p:nvGrpSpPr>
            <p:cNvPr id="72" name="Group 71">
              <a:extLst>
                <a:ext uri="{FF2B5EF4-FFF2-40B4-BE49-F238E27FC236}">
                  <a16:creationId xmlns:a16="http://schemas.microsoft.com/office/drawing/2014/main" id="{A64A073B-C930-49B2-8373-21463F28659D}"/>
                </a:ext>
                <a:ext uri="{C183D7F6-B498-43B3-948B-1728B52AA6E4}">
                  <adec:decorative xmlns:adec="http://schemas.microsoft.com/office/drawing/2017/decorative" val="1"/>
                </a:ext>
              </a:extLst>
            </p:cNvPr>
            <p:cNvGrpSpPr/>
            <p:nvPr/>
          </p:nvGrpSpPr>
          <p:grpSpPr>
            <a:xfrm>
              <a:off x="274638" y="5029201"/>
              <a:ext cx="12160953" cy="1965325"/>
              <a:chOff x="274638" y="5029201"/>
              <a:chExt cx="12160953" cy="1965325"/>
            </a:xfrm>
          </p:grpSpPr>
          <p:grpSp>
            <p:nvGrpSpPr>
              <p:cNvPr id="75" name="Group 74">
                <a:extLst>
                  <a:ext uri="{FF2B5EF4-FFF2-40B4-BE49-F238E27FC236}">
                    <a16:creationId xmlns:a16="http://schemas.microsoft.com/office/drawing/2014/main" id="{0C147593-E99F-4B86-8424-E026BE1F53F6}"/>
                  </a:ext>
                </a:extLst>
              </p:cNvPr>
              <p:cNvGrpSpPr/>
              <p:nvPr/>
            </p:nvGrpSpPr>
            <p:grpSpPr>
              <a:xfrm>
                <a:off x="275482" y="5029201"/>
                <a:ext cx="12148452" cy="1965325"/>
                <a:chOff x="269241" y="4842232"/>
                <a:chExt cx="11911328" cy="1926964"/>
              </a:xfrm>
            </p:grpSpPr>
            <p:pic>
              <p:nvPicPr>
                <p:cNvPr id="77" name="Graphic 76">
                  <a:extLst>
                    <a:ext uri="{FF2B5EF4-FFF2-40B4-BE49-F238E27FC236}">
                      <a16:creationId xmlns:a16="http://schemas.microsoft.com/office/drawing/2014/main" id="{AD67713B-AA49-47D3-9A45-EA3D5ED553A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t="1" r="16311" b="48531"/>
                <a:stretch/>
              </p:blipFill>
              <p:spPr>
                <a:xfrm>
                  <a:off x="6610088" y="4842232"/>
                  <a:ext cx="5570481" cy="1926963"/>
                </a:xfrm>
                <a:prstGeom prst="rect">
                  <a:avLst/>
                </a:prstGeom>
              </p:spPr>
            </p:pic>
            <p:pic>
              <p:nvPicPr>
                <p:cNvPr id="78" name="Graphic 77">
                  <a:extLst>
                    <a:ext uri="{FF2B5EF4-FFF2-40B4-BE49-F238E27FC236}">
                      <a16:creationId xmlns:a16="http://schemas.microsoft.com/office/drawing/2014/main" id="{17F6BF3C-02F0-443F-99F0-C7578769CCF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6928" t="1602" b="49765"/>
                <a:stretch/>
              </p:blipFill>
              <p:spPr>
                <a:xfrm>
                  <a:off x="269241" y="4902201"/>
                  <a:ext cx="6352278" cy="1866995"/>
                </a:xfrm>
                <a:custGeom>
                  <a:avLst/>
                  <a:gdLst>
                    <a:gd name="connsiteX0" fmla="*/ 1097537 w 6352278"/>
                    <a:gd name="connsiteY0" fmla="*/ 0 h 1955800"/>
                    <a:gd name="connsiteX1" fmla="*/ 6352278 w 6352278"/>
                    <a:gd name="connsiteY1" fmla="*/ 0 h 1955800"/>
                    <a:gd name="connsiteX2" fmla="*/ 6352278 w 6352278"/>
                    <a:gd name="connsiteY2" fmla="*/ 1955800 h 1955800"/>
                    <a:gd name="connsiteX3" fmla="*/ 30416 w 6352278"/>
                    <a:gd name="connsiteY3" fmla="*/ 1955800 h 1955800"/>
                    <a:gd name="connsiteX4" fmla="*/ 22298 w 6352278"/>
                    <a:gd name="connsiteY4" fmla="*/ 1929650 h 1955800"/>
                    <a:gd name="connsiteX5" fmla="*/ 0 w 6352278"/>
                    <a:gd name="connsiteY5" fmla="*/ 1708457 h 1955800"/>
                    <a:gd name="connsiteX6" fmla="*/ 0 w 6352278"/>
                    <a:gd name="connsiteY6" fmla="*/ 1097537 h 1955800"/>
                    <a:gd name="connsiteX7" fmla="*/ 1097537 w 6352278"/>
                    <a:gd name="connsiteY7" fmla="*/ 0 h 195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2278" h="1955800">
                      <a:moveTo>
                        <a:pt x="1097537" y="0"/>
                      </a:moveTo>
                      <a:lnTo>
                        <a:pt x="6352278" y="0"/>
                      </a:lnTo>
                      <a:lnTo>
                        <a:pt x="6352278" y="1955800"/>
                      </a:lnTo>
                      <a:lnTo>
                        <a:pt x="30416" y="1955800"/>
                      </a:lnTo>
                      <a:lnTo>
                        <a:pt x="22298" y="1929650"/>
                      </a:lnTo>
                      <a:cubicBezTo>
                        <a:pt x="7678" y="1858202"/>
                        <a:pt x="0" y="1784227"/>
                        <a:pt x="0" y="1708457"/>
                      </a:cubicBezTo>
                      <a:lnTo>
                        <a:pt x="0" y="1097537"/>
                      </a:lnTo>
                      <a:cubicBezTo>
                        <a:pt x="0" y="491384"/>
                        <a:pt x="491384" y="0"/>
                        <a:pt x="1097537" y="0"/>
                      </a:cubicBezTo>
                      <a:close/>
                    </a:path>
                  </a:pathLst>
                </a:custGeom>
              </p:spPr>
            </p:pic>
          </p:grpSp>
          <p:sp>
            <p:nvSpPr>
              <p:cNvPr id="76" name="Freeform: Shape 75">
                <a:extLst>
                  <a:ext uri="{FF2B5EF4-FFF2-40B4-BE49-F238E27FC236}">
                    <a16:creationId xmlns:a16="http://schemas.microsoft.com/office/drawing/2014/main" id="{758DB2FA-8516-42D5-9A25-F5C15BC7281D}"/>
                  </a:ext>
                  <a:ext uri="{C183D7F6-B498-43B3-948B-1728B52AA6E4}">
                    <adec:decorative xmlns:adec="http://schemas.microsoft.com/office/drawing/2017/decorative" val="1"/>
                  </a:ext>
                </a:extLst>
              </p:cNvPr>
              <p:cNvSpPr/>
              <p:nvPr/>
            </p:nvSpPr>
            <p:spPr>
              <a:xfrm rot="10800000">
                <a:off x="274638" y="5077609"/>
                <a:ext cx="12160953" cy="1916916"/>
              </a:xfrm>
              <a:custGeom>
                <a:avLst/>
                <a:gdLst>
                  <a:gd name="connsiteX0" fmla="*/ 10669828 w 11724030"/>
                  <a:gd name="connsiteY0" fmla="*/ 1968304 h 1968304"/>
                  <a:gd name="connsiteX1" fmla="*/ 0 w 11724030"/>
                  <a:gd name="connsiteY1" fmla="*/ 1968304 h 1968304"/>
                  <a:gd name="connsiteX2" fmla="*/ 3103706 w 11724030"/>
                  <a:gd name="connsiteY2" fmla="*/ 0 h 1968304"/>
                  <a:gd name="connsiteX3" fmla="*/ 11724030 w 11724030"/>
                  <a:gd name="connsiteY3" fmla="*/ 0 h 1968304"/>
                  <a:gd name="connsiteX4" fmla="*/ 11724030 w 11724030"/>
                  <a:gd name="connsiteY4" fmla="*/ 914085 h 1968304"/>
                  <a:gd name="connsiteX5" fmla="*/ 10669828 w 11724030"/>
                  <a:gd name="connsiteY5" fmla="*/ 1968304 h 1968304"/>
                  <a:gd name="connsiteX0" fmla="*/ 3103706 w 11724030"/>
                  <a:gd name="connsiteY0" fmla="*/ 0 h 1968304"/>
                  <a:gd name="connsiteX1" fmla="*/ 11724030 w 11724030"/>
                  <a:gd name="connsiteY1" fmla="*/ 0 h 1968304"/>
                  <a:gd name="connsiteX2" fmla="*/ 11724030 w 11724030"/>
                  <a:gd name="connsiteY2" fmla="*/ 914085 h 1968304"/>
                  <a:gd name="connsiteX3" fmla="*/ 10669828 w 11724030"/>
                  <a:gd name="connsiteY3" fmla="*/ 1968304 h 1968304"/>
                  <a:gd name="connsiteX4" fmla="*/ 0 w 11724030"/>
                  <a:gd name="connsiteY4" fmla="*/ 1968304 h 1968304"/>
                  <a:gd name="connsiteX5" fmla="*/ 3195146 w 11724030"/>
                  <a:gd name="connsiteY5" fmla="*/ 91440 h 1968304"/>
                  <a:gd name="connsiteX0" fmla="*/ 3103706 w 11724030"/>
                  <a:gd name="connsiteY0" fmla="*/ 0 h 1968304"/>
                  <a:gd name="connsiteX1" fmla="*/ 11724030 w 11724030"/>
                  <a:gd name="connsiteY1" fmla="*/ 0 h 1968304"/>
                  <a:gd name="connsiteX2" fmla="*/ 11724030 w 11724030"/>
                  <a:gd name="connsiteY2" fmla="*/ 914085 h 1968304"/>
                  <a:gd name="connsiteX3" fmla="*/ 10669828 w 11724030"/>
                  <a:gd name="connsiteY3" fmla="*/ 1968304 h 1968304"/>
                  <a:gd name="connsiteX4" fmla="*/ 0 w 11724030"/>
                  <a:gd name="connsiteY4" fmla="*/ 1968304 h 1968304"/>
                  <a:gd name="connsiteX0" fmla="*/ 11724030 w 11724030"/>
                  <a:gd name="connsiteY0" fmla="*/ 0 h 1968304"/>
                  <a:gd name="connsiteX1" fmla="*/ 11724030 w 11724030"/>
                  <a:gd name="connsiteY1" fmla="*/ 914085 h 1968304"/>
                  <a:gd name="connsiteX2" fmla="*/ 10669828 w 11724030"/>
                  <a:gd name="connsiteY2" fmla="*/ 1968304 h 1968304"/>
                  <a:gd name="connsiteX3" fmla="*/ 0 w 11724030"/>
                  <a:gd name="connsiteY3" fmla="*/ 1968304 h 1968304"/>
                </a:gdLst>
                <a:ahLst/>
                <a:cxnLst>
                  <a:cxn ang="0">
                    <a:pos x="connsiteX0" y="connsiteY0"/>
                  </a:cxn>
                  <a:cxn ang="0">
                    <a:pos x="connsiteX1" y="connsiteY1"/>
                  </a:cxn>
                  <a:cxn ang="0">
                    <a:pos x="connsiteX2" y="connsiteY2"/>
                  </a:cxn>
                  <a:cxn ang="0">
                    <a:pos x="connsiteX3" y="connsiteY3"/>
                  </a:cxn>
                </a:cxnLst>
                <a:rect l="l" t="t" r="r" b="b"/>
                <a:pathLst>
                  <a:path w="11724030" h="1968304">
                    <a:moveTo>
                      <a:pt x="11724030" y="0"/>
                    </a:moveTo>
                    <a:lnTo>
                      <a:pt x="11724030" y="914085"/>
                    </a:lnTo>
                    <a:cubicBezTo>
                      <a:pt x="11724030" y="1496304"/>
                      <a:pt x="11252037" y="1968304"/>
                      <a:pt x="10669828" y="1968304"/>
                    </a:cubicBezTo>
                    <a:lnTo>
                      <a:pt x="0" y="1968304"/>
                    </a:lnTo>
                  </a:path>
                </a:pathLst>
              </a:custGeom>
              <a:noFill/>
              <a:ln w="127000" cap="flat">
                <a:solidFill>
                  <a:srgbClr val="FFC000"/>
                </a:solidFill>
                <a:prstDash val="solid"/>
                <a:miter/>
              </a:ln>
            </p:spPr>
            <p:txBody>
              <a:bodyPr rtlCol="0" anchor="ctr"/>
              <a:lstStyle/>
              <a:p>
                <a:pPr defTabSz="932597"/>
                <a:endParaRPr lang="en-US" sz="1836" dirty="0">
                  <a:solidFill>
                    <a:srgbClr val="1A1A1A"/>
                  </a:solidFill>
                  <a:latin typeface="Segoe UI"/>
                </a:endParaRPr>
              </a:p>
            </p:txBody>
          </p:sp>
        </p:grpSp>
        <p:sp>
          <p:nvSpPr>
            <p:cNvPr id="73" name="Oval 72">
              <a:extLst>
                <a:ext uri="{FF2B5EF4-FFF2-40B4-BE49-F238E27FC236}">
                  <a16:creationId xmlns:a16="http://schemas.microsoft.com/office/drawing/2014/main" id="{B8FFE368-8A06-47EF-BBF7-1C624D371D8C}"/>
                </a:ext>
                <a:ext uri="{C183D7F6-B498-43B3-948B-1728B52AA6E4}">
                  <adec:decorative xmlns:adec="http://schemas.microsoft.com/office/drawing/2017/decorative" val="1"/>
                </a:ext>
              </a:extLst>
            </p:cNvPr>
            <p:cNvSpPr/>
            <p:nvPr/>
          </p:nvSpPr>
          <p:spPr bwMode="auto">
            <a:xfrm>
              <a:off x="6372393" y="5011008"/>
              <a:ext cx="123706" cy="123706"/>
            </a:xfrm>
            <a:prstGeom prst="ellipse">
              <a:avLst/>
            </a:prstGeom>
            <a:solidFill>
              <a:srgbClr val="FEF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Oval 73">
              <a:extLst>
                <a:ext uri="{FF2B5EF4-FFF2-40B4-BE49-F238E27FC236}">
                  <a16:creationId xmlns:a16="http://schemas.microsoft.com/office/drawing/2014/main" id="{E4BDCE06-FECC-407B-B179-3DB3FE997987}"/>
                </a:ext>
                <a:ext uri="{C183D7F6-B498-43B3-948B-1728B52AA6E4}">
                  <adec:decorative xmlns:adec="http://schemas.microsoft.com/office/drawing/2017/decorative" val="1"/>
                </a:ext>
              </a:extLst>
            </p:cNvPr>
            <p:cNvSpPr/>
            <p:nvPr/>
          </p:nvSpPr>
          <p:spPr bwMode="auto">
            <a:xfrm>
              <a:off x="694168" y="5190303"/>
              <a:ext cx="123706" cy="123706"/>
            </a:xfrm>
            <a:prstGeom prst="ellipse">
              <a:avLst/>
            </a:prstGeom>
            <a:solidFill>
              <a:srgbClr val="FEF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13" name="Rectangle 112">
            <a:extLst>
              <a:ext uri="{FF2B5EF4-FFF2-40B4-BE49-F238E27FC236}">
                <a16:creationId xmlns:a16="http://schemas.microsoft.com/office/drawing/2014/main" id="{EA62E78A-C1BE-0A46-8375-B2019224971F}"/>
              </a:ext>
              <a:ext uri="{C183D7F6-B498-43B3-948B-1728B52AA6E4}">
                <adec:decorative xmlns:adec="http://schemas.microsoft.com/office/drawing/2017/decorative" val="1"/>
              </a:ext>
            </a:extLst>
          </p:cNvPr>
          <p:cNvSpPr/>
          <p:nvPr/>
        </p:nvSpPr>
        <p:spPr bwMode="auto">
          <a:xfrm>
            <a:off x="175684" y="942296"/>
            <a:ext cx="11988519" cy="40181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lvl="0" defTabSz="533298">
              <a:spcBef>
                <a:spcPct val="0"/>
              </a:spcBef>
              <a:defRPr/>
            </a:pPr>
            <a:endParaRPr lang="en-US" sz="2448">
              <a:solidFill>
                <a:srgbClr val="1A1A1A"/>
              </a:solidFill>
              <a:latin typeface="Segoe UI Semilight"/>
              <a:ea typeface="Segoe UI" pitchFamily="34" charset="0"/>
              <a:cs typeface="Segoe UI" pitchFamily="34" charset="0"/>
            </a:endParaRPr>
          </a:p>
        </p:txBody>
      </p:sp>
      <p:sp>
        <p:nvSpPr>
          <p:cNvPr id="8" name="Title 5">
            <a:extLst>
              <a:ext uri="{FF2B5EF4-FFF2-40B4-BE49-F238E27FC236}">
                <a16:creationId xmlns:a16="http://schemas.microsoft.com/office/drawing/2014/main" id="{109EBDE4-7BCB-411C-AC5A-D5026E6BEAED}"/>
              </a:ext>
            </a:extLst>
          </p:cNvPr>
          <p:cNvSpPr>
            <a:spLocks noGrp="1"/>
          </p:cNvSpPr>
          <p:nvPr>
            <p:ph type="title"/>
          </p:nvPr>
        </p:nvSpPr>
        <p:spPr/>
        <p:txBody>
          <a:bodyPr/>
          <a:lstStyle/>
          <a:p>
            <a:r>
              <a:rPr lang="en-US" dirty="0">
                <a:solidFill>
                  <a:srgbClr val="002060"/>
                </a:solidFill>
                <a:cs typeface="Segoe UI"/>
              </a:rPr>
              <a:t>Welcome!</a:t>
            </a:r>
          </a:p>
        </p:txBody>
      </p:sp>
      <p:sp>
        <p:nvSpPr>
          <p:cNvPr id="115" name="Text Placeholder 2">
            <a:extLst>
              <a:ext uri="{FF2B5EF4-FFF2-40B4-BE49-F238E27FC236}">
                <a16:creationId xmlns:a16="http://schemas.microsoft.com/office/drawing/2014/main" id="{89BD6EC5-538C-3F45-BBAC-EE0C509CCAE9}"/>
              </a:ext>
              <a:ext uri="{C183D7F6-B498-43B3-948B-1728B52AA6E4}">
                <adec:decorative xmlns:adec="http://schemas.microsoft.com/office/drawing/2017/decorative" val="1"/>
              </a:ext>
            </a:extLst>
          </p:cNvPr>
          <p:cNvSpPr txBox="1">
            <a:spLocks/>
          </p:cNvSpPr>
          <p:nvPr/>
        </p:nvSpPr>
        <p:spPr>
          <a:xfrm>
            <a:off x="523246" y="1554480"/>
            <a:ext cx="11428370" cy="3236976"/>
          </a:xfrm>
          <a:prstGeom prst="rect">
            <a:avLst/>
          </a:prstGeom>
        </p:spPr>
        <p:txBody>
          <a:bodyPr lIns="186521" tIns="93260" rIns="186521" bIns="93260"/>
          <a:lst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defTabSz="932384">
              <a:lnSpc>
                <a:spcPct val="100000"/>
              </a:lnSpc>
              <a:spcBef>
                <a:spcPts val="600"/>
              </a:spcBef>
              <a:buAutoNum type="arabicPeriod"/>
            </a:pPr>
            <a:endParaRPr lang="en-US" sz="1800" dirty="0">
              <a:latin typeface="+mn-lt"/>
            </a:endParaRPr>
          </a:p>
        </p:txBody>
      </p:sp>
      <p:grpSp>
        <p:nvGrpSpPr>
          <p:cNvPr id="14" name="Group 13">
            <a:extLst>
              <a:ext uri="{FF2B5EF4-FFF2-40B4-BE49-F238E27FC236}">
                <a16:creationId xmlns:a16="http://schemas.microsoft.com/office/drawing/2014/main" id="{3BC05A92-E594-4D75-A910-048E0B179F79}"/>
              </a:ext>
              <a:ext uri="{C183D7F6-B498-43B3-948B-1728B52AA6E4}">
                <adec:decorative xmlns:adec="http://schemas.microsoft.com/office/drawing/2017/decorative" val="1"/>
              </a:ext>
            </a:extLst>
          </p:cNvPr>
          <p:cNvGrpSpPr/>
          <p:nvPr/>
        </p:nvGrpSpPr>
        <p:grpSpPr>
          <a:xfrm>
            <a:off x="9986481" y="2107595"/>
            <a:ext cx="2274310" cy="3952231"/>
            <a:chOff x="9221325" y="2400206"/>
            <a:chExt cx="2623138" cy="3952231"/>
          </a:xfrm>
        </p:grpSpPr>
        <p:sp>
          <p:nvSpPr>
            <p:cNvPr id="15" name="Freeform: Shape 14">
              <a:extLst>
                <a:ext uri="{FF2B5EF4-FFF2-40B4-BE49-F238E27FC236}">
                  <a16:creationId xmlns:a16="http://schemas.microsoft.com/office/drawing/2014/main" id="{B0CA71FA-CF3E-466E-A8C0-5ECD3EC50D92}"/>
                </a:ext>
                <a:ext uri="{C183D7F6-B498-43B3-948B-1728B52AA6E4}">
                  <adec:decorative xmlns:adec="http://schemas.microsoft.com/office/drawing/2017/decorative" val="1"/>
                </a:ext>
              </a:extLst>
            </p:cNvPr>
            <p:cNvSpPr>
              <a:spLocks noChangeAspect="1"/>
            </p:cNvSpPr>
            <p:nvPr/>
          </p:nvSpPr>
          <p:spPr>
            <a:xfrm>
              <a:off x="10417999" y="2400206"/>
              <a:ext cx="1426464" cy="548640"/>
            </a:xfrm>
            <a:custGeom>
              <a:avLst/>
              <a:gdLst>
                <a:gd name="connsiteX0" fmla="*/ 1038196 w 1097279"/>
                <a:gd name="connsiteY0" fmla="*/ 295844 h 422030"/>
                <a:gd name="connsiteX1" fmla="*/ 978267 w 1097279"/>
                <a:gd name="connsiteY1" fmla="*/ 321165 h 422030"/>
                <a:gd name="connsiteX2" fmla="*/ 978689 w 1097279"/>
                <a:gd name="connsiteY2" fmla="*/ 309349 h 422030"/>
                <a:gd name="connsiteX3" fmla="*/ 825070 w 1097279"/>
                <a:gd name="connsiteY3" fmla="*/ 155729 h 422030"/>
                <a:gd name="connsiteX4" fmla="*/ 692131 w 1097279"/>
                <a:gd name="connsiteY4" fmla="*/ 232539 h 422030"/>
                <a:gd name="connsiteX5" fmla="*/ 692131 w 1097279"/>
                <a:gd name="connsiteY5" fmla="*/ 231695 h 422030"/>
                <a:gd name="connsiteX6" fmla="*/ 460436 w 1097279"/>
                <a:gd name="connsiteY6" fmla="*/ 0 h 422030"/>
                <a:gd name="connsiteX7" fmla="*/ 228741 w 1097279"/>
                <a:gd name="connsiteY7" fmla="*/ 231695 h 422030"/>
                <a:gd name="connsiteX8" fmla="*/ 233383 w 1097279"/>
                <a:gd name="connsiteY8" fmla="*/ 278540 h 422030"/>
                <a:gd name="connsiteX9" fmla="*/ 124499 w 1097279"/>
                <a:gd name="connsiteY9" fmla="*/ 214392 h 422030"/>
                <a:gd name="connsiteX10" fmla="*/ 0 w 1097279"/>
                <a:gd name="connsiteY10" fmla="*/ 338891 h 422030"/>
                <a:gd name="connsiteX11" fmla="*/ 124499 w 1097279"/>
                <a:gd name="connsiteY11" fmla="*/ 463390 h 422030"/>
                <a:gd name="connsiteX12" fmla="*/ 460436 w 1097279"/>
                <a:gd name="connsiteY12" fmla="*/ 463390 h 422030"/>
                <a:gd name="connsiteX13" fmla="*/ 825070 w 1097279"/>
                <a:gd name="connsiteY13" fmla="*/ 463390 h 422030"/>
                <a:gd name="connsiteX14" fmla="*/ 1038196 w 1097279"/>
                <a:gd name="connsiteY14" fmla="*/ 463390 h 422030"/>
                <a:gd name="connsiteX15" fmla="*/ 1121758 w 1097279"/>
                <a:gd name="connsiteY15" fmla="*/ 379828 h 422030"/>
                <a:gd name="connsiteX16" fmla="*/ 1038196 w 1097279"/>
                <a:gd name="connsiteY16" fmla="*/ 295844 h 42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79" h="422030">
                  <a:moveTo>
                    <a:pt x="1038196" y="295844"/>
                  </a:moveTo>
                  <a:cubicBezTo>
                    <a:pt x="1014562" y="295844"/>
                    <a:pt x="993460" y="305550"/>
                    <a:pt x="978267" y="321165"/>
                  </a:cubicBezTo>
                  <a:cubicBezTo>
                    <a:pt x="978689" y="317367"/>
                    <a:pt x="978689" y="313569"/>
                    <a:pt x="978689" y="309349"/>
                  </a:cubicBezTo>
                  <a:cubicBezTo>
                    <a:pt x="978689" y="224520"/>
                    <a:pt x="909898" y="155729"/>
                    <a:pt x="825070" y="155729"/>
                  </a:cubicBezTo>
                  <a:cubicBezTo>
                    <a:pt x="768096" y="155729"/>
                    <a:pt x="718718" y="186538"/>
                    <a:pt x="692131" y="232539"/>
                  </a:cubicBezTo>
                  <a:cubicBezTo>
                    <a:pt x="692131" y="232117"/>
                    <a:pt x="692131" y="232117"/>
                    <a:pt x="692131" y="231695"/>
                  </a:cubicBezTo>
                  <a:cubicBezTo>
                    <a:pt x="692131" y="103820"/>
                    <a:pt x="588311" y="0"/>
                    <a:pt x="460436" y="0"/>
                  </a:cubicBezTo>
                  <a:cubicBezTo>
                    <a:pt x="332560" y="0"/>
                    <a:pt x="228741" y="103820"/>
                    <a:pt x="228741" y="231695"/>
                  </a:cubicBezTo>
                  <a:cubicBezTo>
                    <a:pt x="228741" y="247732"/>
                    <a:pt x="230429" y="263347"/>
                    <a:pt x="233383" y="278540"/>
                  </a:cubicBezTo>
                  <a:cubicBezTo>
                    <a:pt x="212281" y="240136"/>
                    <a:pt x="171345" y="214392"/>
                    <a:pt x="124499" y="214392"/>
                  </a:cubicBezTo>
                  <a:cubicBezTo>
                    <a:pt x="55708" y="214392"/>
                    <a:pt x="0" y="270100"/>
                    <a:pt x="0" y="338891"/>
                  </a:cubicBezTo>
                  <a:cubicBezTo>
                    <a:pt x="0" y="407682"/>
                    <a:pt x="55708" y="463390"/>
                    <a:pt x="124499" y="463390"/>
                  </a:cubicBezTo>
                  <a:lnTo>
                    <a:pt x="460436" y="463390"/>
                  </a:lnTo>
                  <a:lnTo>
                    <a:pt x="825070" y="463390"/>
                  </a:lnTo>
                  <a:lnTo>
                    <a:pt x="1038196" y="463390"/>
                  </a:lnTo>
                  <a:cubicBezTo>
                    <a:pt x="1084619" y="463390"/>
                    <a:pt x="1121758" y="425829"/>
                    <a:pt x="1121758" y="379828"/>
                  </a:cubicBezTo>
                  <a:cubicBezTo>
                    <a:pt x="1121758" y="333404"/>
                    <a:pt x="1084619" y="295844"/>
                    <a:pt x="1038196" y="295844"/>
                  </a:cubicBezTo>
                </a:path>
              </a:pathLst>
            </a:custGeom>
            <a:solidFill>
              <a:srgbClr val="49CDF3"/>
            </a:solidFill>
            <a:ln w="42182"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AD758A22-7426-4CC9-BC7F-66D3F093843E}"/>
                </a:ext>
                <a:ext uri="{C183D7F6-B498-43B3-948B-1728B52AA6E4}">
                  <adec:decorative xmlns:adec="http://schemas.microsoft.com/office/drawing/2017/decorative" val="1"/>
                </a:ext>
              </a:extLst>
            </p:cNvPr>
            <p:cNvSpPr/>
            <p:nvPr/>
          </p:nvSpPr>
          <p:spPr>
            <a:xfrm>
              <a:off x="9853105" y="5205357"/>
              <a:ext cx="548640" cy="1139483"/>
            </a:xfrm>
            <a:custGeom>
              <a:avLst/>
              <a:gdLst>
                <a:gd name="connsiteX0" fmla="*/ 568897 w 548639"/>
                <a:gd name="connsiteY0" fmla="*/ 104664 h 1139483"/>
                <a:gd name="connsiteX1" fmla="*/ 241402 w 548639"/>
                <a:gd name="connsiteY1" fmla="*/ 104664 h 1139483"/>
                <a:gd name="connsiteX2" fmla="*/ 241402 w 548639"/>
                <a:gd name="connsiteY2" fmla="*/ 0 h 1139483"/>
                <a:gd name="connsiteX3" fmla="*/ 114370 w 548639"/>
                <a:gd name="connsiteY3" fmla="*/ 54864 h 1139483"/>
                <a:gd name="connsiteX4" fmla="*/ 114370 w 548639"/>
                <a:gd name="connsiteY4" fmla="*/ 104664 h 1139483"/>
                <a:gd name="connsiteX5" fmla="*/ 0 w 548639"/>
                <a:gd name="connsiteY5" fmla="*/ 104664 h 1139483"/>
                <a:gd name="connsiteX6" fmla="*/ 0 w 548639"/>
                <a:gd name="connsiteY6" fmla="*/ 157418 h 1139483"/>
                <a:gd name="connsiteX7" fmla="*/ 23211 w 548639"/>
                <a:gd name="connsiteY7" fmla="*/ 157418 h 1139483"/>
                <a:gd name="connsiteX8" fmla="*/ 23211 w 548639"/>
                <a:gd name="connsiteY8" fmla="*/ 1163117 h 1139483"/>
                <a:gd name="connsiteX9" fmla="*/ 545686 w 548639"/>
                <a:gd name="connsiteY9" fmla="*/ 1163117 h 1139483"/>
                <a:gd name="connsiteX10" fmla="*/ 545686 w 548639"/>
                <a:gd name="connsiteY10" fmla="*/ 157418 h 1139483"/>
                <a:gd name="connsiteX11" fmla="*/ 568897 w 548639"/>
                <a:gd name="connsiteY11" fmla="*/ 157418 h 113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8639" h="1139483">
                  <a:moveTo>
                    <a:pt x="568897" y="104664"/>
                  </a:moveTo>
                  <a:lnTo>
                    <a:pt x="241402" y="104664"/>
                  </a:lnTo>
                  <a:lnTo>
                    <a:pt x="241402" y="0"/>
                  </a:lnTo>
                  <a:lnTo>
                    <a:pt x="114370" y="54864"/>
                  </a:lnTo>
                  <a:lnTo>
                    <a:pt x="114370" y="104664"/>
                  </a:lnTo>
                  <a:lnTo>
                    <a:pt x="0" y="104664"/>
                  </a:lnTo>
                  <a:lnTo>
                    <a:pt x="0" y="157418"/>
                  </a:lnTo>
                  <a:lnTo>
                    <a:pt x="23211" y="157418"/>
                  </a:lnTo>
                  <a:lnTo>
                    <a:pt x="23211" y="1163117"/>
                  </a:lnTo>
                  <a:lnTo>
                    <a:pt x="545686" y="1163117"/>
                  </a:lnTo>
                  <a:lnTo>
                    <a:pt x="545686" y="157418"/>
                  </a:lnTo>
                  <a:lnTo>
                    <a:pt x="568897" y="157418"/>
                  </a:lnTo>
                  <a:close/>
                </a:path>
              </a:pathLst>
            </a:custGeom>
            <a:solidFill>
              <a:srgbClr val="1070C4"/>
            </a:solidFill>
            <a:ln w="42182"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63CAD93-0A09-4807-A1DB-95B1D622146E}"/>
                </a:ext>
                <a:ext uri="{C183D7F6-B498-43B3-948B-1728B52AA6E4}">
                  <adec:decorative xmlns:adec="http://schemas.microsoft.com/office/drawing/2017/decorative" val="1"/>
                </a:ext>
              </a:extLst>
            </p:cNvPr>
            <p:cNvSpPr/>
            <p:nvPr/>
          </p:nvSpPr>
          <p:spPr>
            <a:xfrm>
              <a:off x="10324514" y="3480940"/>
              <a:ext cx="506437" cy="2869809"/>
            </a:xfrm>
            <a:custGeom>
              <a:avLst/>
              <a:gdLst>
                <a:gd name="connsiteX0" fmla="*/ 449041 w 506436"/>
                <a:gd name="connsiteY0" fmla="*/ 449041 h 2869809"/>
                <a:gd name="connsiteX1" fmla="*/ 449041 w 506436"/>
                <a:gd name="connsiteY1" fmla="*/ 377296 h 2869809"/>
                <a:gd name="connsiteX2" fmla="*/ 327496 w 506436"/>
                <a:gd name="connsiteY2" fmla="*/ 377296 h 2869809"/>
                <a:gd name="connsiteX3" fmla="*/ 327496 w 506436"/>
                <a:gd name="connsiteY3" fmla="*/ 315257 h 2869809"/>
                <a:gd name="connsiteX4" fmla="*/ 267567 w 506436"/>
                <a:gd name="connsiteY4" fmla="*/ 233805 h 2869809"/>
                <a:gd name="connsiteX5" fmla="*/ 267567 w 506436"/>
                <a:gd name="connsiteY5" fmla="*/ 0 h 2869809"/>
                <a:gd name="connsiteX6" fmla="*/ 246888 w 506436"/>
                <a:gd name="connsiteY6" fmla="*/ 0 h 2869809"/>
                <a:gd name="connsiteX7" fmla="*/ 246888 w 506436"/>
                <a:gd name="connsiteY7" fmla="*/ 233805 h 2869809"/>
                <a:gd name="connsiteX8" fmla="*/ 186960 w 506436"/>
                <a:gd name="connsiteY8" fmla="*/ 315257 h 2869809"/>
                <a:gd name="connsiteX9" fmla="*/ 186960 w 506436"/>
                <a:gd name="connsiteY9" fmla="*/ 377296 h 2869809"/>
                <a:gd name="connsiteX10" fmla="*/ 64993 w 506436"/>
                <a:gd name="connsiteY10" fmla="*/ 377296 h 2869809"/>
                <a:gd name="connsiteX11" fmla="*/ 64993 w 506436"/>
                <a:gd name="connsiteY11" fmla="*/ 449041 h 2869809"/>
                <a:gd name="connsiteX12" fmla="*/ 0 w 506436"/>
                <a:gd name="connsiteY12" fmla="*/ 449041 h 2869809"/>
                <a:gd name="connsiteX13" fmla="*/ 0 w 506436"/>
                <a:gd name="connsiteY13" fmla="*/ 2887535 h 2869809"/>
                <a:gd name="connsiteX14" fmla="*/ 522474 w 506436"/>
                <a:gd name="connsiteY14" fmla="*/ 2887535 h 2869809"/>
                <a:gd name="connsiteX15" fmla="*/ 522474 w 506436"/>
                <a:gd name="connsiteY15" fmla="*/ 449041 h 286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6436" h="2869809">
                  <a:moveTo>
                    <a:pt x="449041" y="449041"/>
                  </a:moveTo>
                  <a:lnTo>
                    <a:pt x="449041" y="377296"/>
                  </a:lnTo>
                  <a:lnTo>
                    <a:pt x="327496" y="377296"/>
                  </a:lnTo>
                  <a:lnTo>
                    <a:pt x="327496" y="315257"/>
                  </a:lnTo>
                  <a:lnTo>
                    <a:pt x="267567" y="233805"/>
                  </a:lnTo>
                  <a:lnTo>
                    <a:pt x="267567" y="0"/>
                  </a:lnTo>
                  <a:lnTo>
                    <a:pt x="246888" y="0"/>
                  </a:lnTo>
                  <a:lnTo>
                    <a:pt x="246888" y="233805"/>
                  </a:lnTo>
                  <a:lnTo>
                    <a:pt x="186960" y="315257"/>
                  </a:lnTo>
                  <a:lnTo>
                    <a:pt x="186960" y="377296"/>
                  </a:lnTo>
                  <a:lnTo>
                    <a:pt x="64993" y="377296"/>
                  </a:lnTo>
                  <a:lnTo>
                    <a:pt x="64993" y="449041"/>
                  </a:lnTo>
                  <a:lnTo>
                    <a:pt x="0" y="449041"/>
                  </a:lnTo>
                  <a:lnTo>
                    <a:pt x="0" y="2887535"/>
                  </a:lnTo>
                  <a:lnTo>
                    <a:pt x="522474" y="2887535"/>
                  </a:lnTo>
                  <a:lnTo>
                    <a:pt x="522474" y="449041"/>
                  </a:lnTo>
                  <a:close/>
                </a:path>
              </a:pathLst>
            </a:custGeom>
            <a:solidFill>
              <a:srgbClr val="1070C4"/>
            </a:solidFill>
            <a:ln w="42182"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5386490-79AA-4FE3-AD36-E88B33EB1597}"/>
                </a:ext>
                <a:ext uri="{C183D7F6-B498-43B3-948B-1728B52AA6E4}">
                  <adec:decorative xmlns:adec="http://schemas.microsoft.com/office/drawing/2017/decorative" val="1"/>
                </a:ext>
              </a:extLst>
            </p:cNvPr>
            <p:cNvSpPr/>
            <p:nvPr/>
          </p:nvSpPr>
          <p:spPr>
            <a:xfrm>
              <a:off x="10389506" y="43811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20C080C-62D6-4E69-AB04-42063840EFFD}"/>
                </a:ext>
                <a:ext uri="{C183D7F6-B498-43B3-948B-1728B52AA6E4}">
                  <adec:decorative xmlns:adec="http://schemas.microsoft.com/office/drawing/2017/decorative" val="1"/>
                </a:ext>
              </a:extLst>
            </p:cNvPr>
            <p:cNvSpPr/>
            <p:nvPr/>
          </p:nvSpPr>
          <p:spPr>
            <a:xfrm>
              <a:off x="10536373" y="43811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9900E5B-01A6-4CB1-AD98-5C3BC165BCF9}"/>
                </a:ext>
                <a:ext uri="{C183D7F6-B498-43B3-948B-1728B52AA6E4}">
                  <adec:decorative xmlns:adec="http://schemas.microsoft.com/office/drawing/2017/decorative" val="1"/>
                </a:ext>
              </a:extLst>
            </p:cNvPr>
            <p:cNvSpPr/>
            <p:nvPr/>
          </p:nvSpPr>
          <p:spPr>
            <a:xfrm>
              <a:off x="10682818" y="43811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04A0ADC-C331-43D4-931C-DBFE27042F20}"/>
                </a:ext>
                <a:ext uri="{C183D7F6-B498-43B3-948B-1728B52AA6E4}">
                  <adec:decorative xmlns:adec="http://schemas.microsoft.com/office/drawing/2017/decorative" val="1"/>
                </a:ext>
              </a:extLst>
            </p:cNvPr>
            <p:cNvSpPr/>
            <p:nvPr/>
          </p:nvSpPr>
          <p:spPr>
            <a:xfrm>
              <a:off x="10389506" y="41857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879D543-902B-4139-9515-E4AA37342A3F}"/>
                </a:ext>
                <a:ext uri="{C183D7F6-B498-43B3-948B-1728B52AA6E4}">
                  <adec:decorative xmlns:adec="http://schemas.microsoft.com/office/drawing/2017/decorative" val="1"/>
                </a:ext>
              </a:extLst>
            </p:cNvPr>
            <p:cNvSpPr/>
            <p:nvPr/>
          </p:nvSpPr>
          <p:spPr>
            <a:xfrm>
              <a:off x="10536373" y="41857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2591C1C7-8809-4B75-BB99-71C9026D1123}"/>
                </a:ext>
                <a:ext uri="{C183D7F6-B498-43B3-948B-1728B52AA6E4}">
                  <adec:decorative xmlns:adec="http://schemas.microsoft.com/office/drawing/2017/decorative" val="1"/>
                </a:ext>
              </a:extLst>
            </p:cNvPr>
            <p:cNvSpPr/>
            <p:nvPr/>
          </p:nvSpPr>
          <p:spPr>
            <a:xfrm>
              <a:off x="10682818" y="418573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E3CB405B-361C-4374-B09F-55D1815B7401}"/>
                </a:ext>
                <a:ext uri="{C183D7F6-B498-43B3-948B-1728B52AA6E4}">
                  <adec:decorative xmlns:adec="http://schemas.microsoft.com/office/drawing/2017/decorative" val="1"/>
                </a:ext>
              </a:extLst>
            </p:cNvPr>
            <p:cNvSpPr/>
            <p:nvPr/>
          </p:nvSpPr>
          <p:spPr>
            <a:xfrm>
              <a:off x="10389506" y="399075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74EB36EB-4EC0-44FF-A48C-644490EAA737}"/>
                </a:ext>
                <a:ext uri="{C183D7F6-B498-43B3-948B-1728B52AA6E4}">
                  <adec:decorative xmlns:adec="http://schemas.microsoft.com/office/drawing/2017/decorative" val="1"/>
                </a:ext>
              </a:extLst>
            </p:cNvPr>
            <p:cNvSpPr/>
            <p:nvPr/>
          </p:nvSpPr>
          <p:spPr>
            <a:xfrm>
              <a:off x="10536373" y="399075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C5011526-71BD-46A6-9EF7-4150BB0105FD}"/>
                </a:ext>
                <a:ext uri="{C183D7F6-B498-43B3-948B-1728B52AA6E4}">
                  <adec:decorative xmlns:adec="http://schemas.microsoft.com/office/drawing/2017/decorative" val="1"/>
                </a:ext>
              </a:extLst>
            </p:cNvPr>
            <p:cNvSpPr/>
            <p:nvPr/>
          </p:nvSpPr>
          <p:spPr>
            <a:xfrm>
              <a:off x="10682818" y="399075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C1B7B02F-BDEB-4AA1-BC56-A9F24E62E7B7}"/>
                </a:ext>
                <a:ext uri="{C183D7F6-B498-43B3-948B-1728B52AA6E4}">
                  <adec:decorative xmlns:adec="http://schemas.microsoft.com/office/drawing/2017/decorative" val="1"/>
                </a:ext>
              </a:extLst>
            </p:cNvPr>
            <p:cNvSpPr/>
            <p:nvPr/>
          </p:nvSpPr>
          <p:spPr>
            <a:xfrm>
              <a:off x="10389506" y="4576110"/>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79AE9663-6875-411F-931C-6ADF2950C2AB}"/>
                </a:ext>
                <a:ext uri="{C183D7F6-B498-43B3-948B-1728B52AA6E4}">
                  <adec:decorative xmlns:adec="http://schemas.microsoft.com/office/drawing/2017/decorative" val="1"/>
                </a:ext>
              </a:extLst>
            </p:cNvPr>
            <p:cNvSpPr/>
            <p:nvPr/>
          </p:nvSpPr>
          <p:spPr>
            <a:xfrm>
              <a:off x="10536373" y="4576110"/>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43836A6-7310-4E91-AD36-4F70AC3988FB}"/>
                </a:ext>
                <a:ext uri="{C183D7F6-B498-43B3-948B-1728B52AA6E4}">
                  <adec:decorative xmlns:adec="http://schemas.microsoft.com/office/drawing/2017/decorative" val="1"/>
                </a:ext>
              </a:extLst>
            </p:cNvPr>
            <p:cNvSpPr/>
            <p:nvPr/>
          </p:nvSpPr>
          <p:spPr>
            <a:xfrm>
              <a:off x="10682818" y="4576110"/>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18FBEC03-7856-4DEF-96BF-FCB173D1CF43}"/>
                </a:ext>
                <a:ext uri="{C183D7F6-B498-43B3-948B-1728B52AA6E4}">
                  <adec:decorative xmlns:adec="http://schemas.microsoft.com/office/drawing/2017/decorative" val="1"/>
                </a:ext>
              </a:extLst>
            </p:cNvPr>
            <p:cNvSpPr/>
            <p:nvPr/>
          </p:nvSpPr>
          <p:spPr>
            <a:xfrm>
              <a:off x="10389506" y="4771088"/>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B6726978-E880-4EAA-AB30-B8B8B17B1CE4}"/>
                </a:ext>
                <a:ext uri="{C183D7F6-B498-43B3-948B-1728B52AA6E4}">
                  <adec:decorative xmlns:adec="http://schemas.microsoft.com/office/drawing/2017/decorative" val="1"/>
                </a:ext>
              </a:extLst>
            </p:cNvPr>
            <p:cNvSpPr/>
            <p:nvPr/>
          </p:nvSpPr>
          <p:spPr>
            <a:xfrm>
              <a:off x="10536373" y="4771088"/>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39C4A3E-1790-4FE8-963A-4127709BD613}"/>
                </a:ext>
                <a:ext uri="{C183D7F6-B498-43B3-948B-1728B52AA6E4}">
                  <adec:decorative xmlns:adec="http://schemas.microsoft.com/office/drawing/2017/decorative" val="1"/>
                </a:ext>
              </a:extLst>
            </p:cNvPr>
            <p:cNvSpPr/>
            <p:nvPr/>
          </p:nvSpPr>
          <p:spPr>
            <a:xfrm>
              <a:off x="10682818" y="4771088"/>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738E90D-22C8-4D99-ABFE-987658CDFB58}"/>
                </a:ext>
                <a:ext uri="{C183D7F6-B498-43B3-948B-1728B52AA6E4}">
                  <adec:decorative xmlns:adec="http://schemas.microsoft.com/office/drawing/2017/decorative" val="1"/>
                </a:ext>
              </a:extLst>
            </p:cNvPr>
            <p:cNvSpPr/>
            <p:nvPr/>
          </p:nvSpPr>
          <p:spPr>
            <a:xfrm>
              <a:off x="10389506" y="49660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C42E31F-4A7B-49A9-99DC-EF7F2E2D229B}"/>
                </a:ext>
                <a:ext uri="{C183D7F6-B498-43B3-948B-1728B52AA6E4}">
                  <adec:decorative xmlns:adec="http://schemas.microsoft.com/office/drawing/2017/decorative" val="1"/>
                </a:ext>
              </a:extLst>
            </p:cNvPr>
            <p:cNvSpPr/>
            <p:nvPr/>
          </p:nvSpPr>
          <p:spPr>
            <a:xfrm>
              <a:off x="10536373" y="49660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53718153-50EA-48AE-B414-13FD7E7617B9}"/>
                </a:ext>
                <a:ext uri="{C183D7F6-B498-43B3-948B-1728B52AA6E4}">
                  <adec:decorative xmlns:adec="http://schemas.microsoft.com/office/drawing/2017/decorative" val="1"/>
                </a:ext>
              </a:extLst>
            </p:cNvPr>
            <p:cNvSpPr/>
            <p:nvPr/>
          </p:nvSpPr>
          <p:spPr>
            <a:xfrm>
              <a:off x="10682818" y="49660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4F8D71AF-8030-439A-A8B8-83188B6FBE01}"/>
                </a:ext>
                <a:ext uri="{C183D7F6-B498-43B3-948B-1728B52AA6E4}">
                  <adec:decorative xmlns:adec="http://schemas.microsoft.com/office/drawing/2017/decorative" val="1"/>
                </a:ext>
              </a:extLst>
            </p:cNvPr>
            <p:cNvSpPr/>
            <p:nvPr/>
          </p:nvSpPr>
          <p:spPr>
            <a:xfrm>
              <a:off x="10389506" y="51614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CDB8D82E-722A-4105-AE2A-85B79612D3A5}"/>
                </a:ext>
                <a:ext uri="{C183D7F6-B498-43B3-948B-1728B52AA6E4}">
                  <adec:decorative xmlns:adec="http://schemas.microsoft.com/office/drawing/2017/decorative" val="1"/>
                </a:ext>
              </a:extLst>
            </p:cNvPr>
            <p:cNvSpPr/>
            <p:nvPr/>
          </p:nvSpPr>
          <p:spPr>
            <a:xfrm>
              <a:off x="10536373" y="51614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BF95C3A3-9A9F-4369-86BB-2A28DB599594}"/>
                </a:ext>
                <a:ext uri="{C183D7F6-B498-43B3-948B-1728B52AA6E4}">
                  <adec:decorative xmlns:adec="http://schemas.microsoft.com/office/drawing/2017/decorative" val="1"/>
                </a:ext>
              </a:extLst>
            </p:cNvPr>
            <p:cNvSpPr/>
            <p:nvPr/>
          </p:nvSpPr>
          <p:spPr>
            <a:xfrm>
              <a:off x="10682818" y="5161466"/>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CB6A416-109A-41B9-8031-79BEE3A41294}"/>
                </a:ext>
                <a:ext uri="{C183D7F6-B498-43B3-948B-1728B52AA6E4}">
                  <adec:decorative xmlns:adec="http://schemas.microsoft.com/office/drawing/2017/decorative" val="1"/>
                </a:ext>
              </a:extLst>
            </p:cNvPr>
            <p:cNvSpPr/>
            <p:nvPr/>
          </p:nvSpPr>
          <p:spPr>
            <a:xfrm>
              <a:off x="10389506" y="5356445"/>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0C70868-71A0-4881-A74D-F6E55736769E}"/>
                </a:ext>
                <a:ext uri="{C183D7F6-B498-43B3-948B-1728B52AA6E4}">
                  <adec:decorative xmlns:adec="http://schemas.microsoft.com/office/drawing/2017/decorative" val="1"/>
                </a:ext>
              </a:extLst>
            </p:cNvPr>
            <p:cNvSpPr/>
            <p:nvPr/>
          </p:nvSpPr>
          <p:spPr>
            <a:xfrm>
              <a:off x="10536373" y="5356445"/>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5D7C8E0E-B159-4F72-9605-4F7DEEA77903}"/>
                </a:ext>
                <a:ext uri="{C183D7F6-B498-43B3-948B-1728B52AA6E4}">
                  <adec:decorative xmlns:adec="http://schemas.microsoft.com/office/drawing/2017/decorative" val="1"/>
                </a:ext>
              </a:extLst>
            </p:cNvPr>
            <p:cNvSpPr/>
            <p:nvPr/>
          </p:nvSpPr>
          <p:spPr>
            <a:xfrm>
              <a:off x="10682818" y="5356445"/>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403ED27-5EA9-4C94-9136-36C6B0A9477D}"/>
                </a:ext>
                <a:ext uri="{C183D7F6-B498-43B3-948B-1728B52AA6E4}">
                  <adec:decorative xmlns:adec="http://schemas.microsoft.com/office/drawing/2017/decorative" val="1"/>
                </a:ext>
              </a:extLst>
            </p:cNvPr>
            <p:cNvSpPr/>
            <p:nvPr/>
          </p:nvSpPr>
          <p:spPr>
            <a:xfrm>
              <a:off x="10389506" y="55514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1F072EDC-9759-4C05-8A17-62A7574F7096}"/>
                </a:ext>
                <a:ext uri="{C183D7F6-B498-43B3-948B-1728B52AA6E4}">
                  <adec:decorative xmlns:adec="http://schemas.microsoft.com/office/drawing/2017/decorative" val="1"/>
                </a:ext>
              </a:extLst>
            </p:cNvPr>
            <p:cNvSpPr/>
            <p:nvPr/>
          </p:nvSpPr>
          <p:spPr>
            <a:xfrm>
              <a:off x="10536373" y="55514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5687F58A-FA66-4FAA-99D8-AD45A00E4510}"/>
                </a:ext>
                <a:ext uri="{C183D7F6-B498-43B3-948B-1728B52AA6E4}">
                  <adec:decorative xmlns:adec="http://schemas.microsoft.com/office/drawing/2017/decorative" val="1"/>
                </a:ext>
              </a:extLst>
            </p:cNvPr>
            <p:cNvSpPr/>
            <p:nvPr/>
          </p:nvSpPr>
          <p:spPr>
            <a:xfrm>
              <a:off x="10682818" y="55514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7AAA3E00-7447-4569-83C4-225E102A351B}"/>
                </a:ext>
                <a:ext uri="{C183D7F6-B498-43B3-948B-1728B52AA6E4}">
                  <adec:decorative xmlns:adec="http://schemas.microsoft.com/office/drawing/2017/decorative" val="1"/>
                </a:ext>
              </a:extLst>
            </p:cNvPr>
            <p:cNvSpPr/>
            <p:nvPr/>
          </p:nvSpPr>
          <p:spPr>
            <a:xfrm>
              <a:off x="10389506" y="57468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2313B4E4-4FEC-4BE8-B810-0E9C0EFA79B4}"/>
                </a:ext>
                <a:ext uri="{C183D7F6-B498-43B3-948B-1728B52AA6E4}">
                  <adec:decorative xmlns:adec="http://schemas.microsoft.com/office/drawing/2017/decorative" val="1"/>
                </a:ext>
              </a:extLst>
            </p:cNvPr>
            <p:cNvSpPr/>
            <p:nvPr/>
          </p:nvSpPr>
          <p:spPr>
            <a:xfrm>
              <a:off x="10536373" y="57468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01BEFCB3-E25E-420B-9348-AD86051DBF87}"/>
                </a:ext>
                <a:ext uri="{C183D7F6-B498-43B3-948B-1728B52AA6E4}">
                  <adec:decorative xmlns:adec="http://schemas.microsoft.com/office/drawing/2017/decorative" val="1"/>
                </a:ext>
              </a:extLst>
            </p:cNvPr>
            <p:cNvSpPr/>
            <p:nvPr/>
          </p:nvSpPr>
          <p:spPr>
            <a:xfrm>
              <a:off x="10682818" y="5746823"/>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FBD3D49F-4469-4E63-A0D4-90C220BA677C}"/>
                </a:ext>
                <a:ext uri="{C183D7F6-B498-43B3-948B-1728B52AA6E4}">
                  <adec:decorative xmlns:adec="http://schemas.microsoft.com/office/drawing/2017/decorative" val="1"/>
                </a:ext>
              </a:extLst>
            </p:cNvPr>
            <p:cNvSpPr/>
            <p:nvPr/>
          </p:nvSpPr>
          <p:spPr>
            <a:xfrm>
              <a:off x="10389506" y="594180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F0F252E-1084-48D4-B793-485BBFB72CB4}"/>
                </a:ext>
                <a:ext uri="{C183D7F6-B498-43B3-948B-1728B52AA6E4}">
                  <adec:decorative xmlns:adec="http://schemas.microsoft.com/office/drawing/2017/decorative" val="1"/>
                </a:ext>
              </a:extLst>
            </p:cNvPr>
            <p:cNvSpPr/>
            <p:nvPr/>
          </p:nvSpPr>
          <p:spPr>
            <a:xfrm>
              <a:off x="10536373" y="594180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75E71B7F-AE7A-4F5E-BD25-C9A5C45972C7}"/>
                </a:ext>
                <a:ext uri="{C183D7F6-B498-43B3-948B-1728B52AA6E4}">
                  <adec:decorative xmlns:adec="http://schemas.microsoft.com/office/drawing/2017/decorative" val="1"/>
                </a:ext>
              </a:extLst>
            </p:cNvPr>
            <p:cNvSpPr/>
            <p:nvPr/>
          </p:nvSpPr>
          <p:spPr>
            <a:xfrm>
              <a:off x="10682818" y="5941801"/>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30D9B54-7854-413D-A480-C64072D718E3}"/>
                </a:ext>
                <a:ext uri="{C183D7F6-B498-43B3-948B-1728B52AA6E4}">
                  <adec:decorative xmlns:adec="http://schemas.microsoft.com/office/drawing/2017/decorative" val="1"/>
                </a:ext>
              </a:extLst>
            </p:cNvPr>
            <p:cNvSpPr/>
            <p:nvPr/>
          </p:nvSpPr>
          <p:spPr>
            <a:xfrm>
              <a:off x="10389506" y="6136779"/>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1AC9AAE6-35E7-41FA-BE20-71AE1E26F717}"/>
                </a:ext>
                <a:ext uri="{C183D7F6-B498-43B3-948B-1728B52AA6E4}">
                  <adec:decorative xmlns:adec="http://schemas.microsoft.com/office/drawing/2017/decorative" val="1"/>
                </a:ext>
              </a:extLst>
            </p:cNvPr>
            <p:cNvSpPr/>
            <p:nvPr/>
          </p:nvSpPr>
          <p:spPr>
            <a:xfrm>
              <a:off x="10536373" y="6136779"/>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B509866D-ED5C-4052-9401-5759F72E3D84}"/>
                </a:ext>
                <a:ext uri="{C183D7F6-B498-43B3-948B-1728B52AA6E4}">
                  <adec:decorative xmlns:adec="http://schemas.microsoft.com/office/drawing/2017/decorative" val="1"/>
                </a:ext>
              </a:extLst>
            </p:cNvPr>
            <p:cNvSpPr/>
            <p:nvPr/>
          </p:nvSpPr>
          <p:spPr>
            <a:xfrm>
              <a:off x="10682818" y="6136779"/>
              <a:ext cx="84406" cy="126609"/>
            </a:xfrm>
            <a:custGeom>
              <a:avLst/>
              <a:gdLst>
                <a:gd name="connsiteX0" fmla="*/ 0 w 84406"/>
                <a:gd name="connsiteY0" fmla="*/ 0 h 126609"/>
                <a:gd name="connsiteX1" fmla="*/ 90737 w 84406"/>
                <a:gd name="connsiteY1" fmla="*/ 0 h 126609"/>
                <a:gd name="connsiteX2" fmla="*/ 90737 w 84406"/>
                <a:gd name="connsiteY2" fmla="*/ 148133 h 126609"/>
                <a:gd name="connsiteX3" fmla="*/ 0 w 84406"/>
                <a:gd name="connsiteY3" fmla="*/ 148133 h 126609"/>
              </a:gdLst>
              <a:ahLst/>
              <a:cxnLst>
                <a:cxn ang="0">
                  <a:pos x="connsiteX0" y="connsiteY0"/>
                </a:cxn>
                <a:cxn ang="0">
                  <a:pos x="connsiteX1" y="connsiteY1"/>
                </a:cxn>
                <a:cxn ang="0">
                  <a:pos x="connsiteX2" y="connsiteY2"/>
                </a:cxn>
                <a:cxn ang="0">
                  <a:pos x="connsiteX3" y="connsiteY3"/>
                </a:cxn>
              </a:cxnLst>
              <a:rect l="l" t="t" r="r" b="b"/>
              <a:pathLst>
                <a:path w="84406" h="126609">
                  <a:moveTo>
                    <a:pt x="0" y="0"/>
                  </a:moveTo>
                  <a:lnTo>
                    <a:pt x="90737" y="0"/>
                  </a:lnTo>
                  <a:lnTo>
                    <a:pt x="90737" y="148133"/>
                  </a:lnTo>
                  <a:lnTo>
                    <a:pt x="0" y="148133"/>
                  </a:lnTo>
                  <a:close/>
                </a:path>
              </a:pathLst>
            </a:custGeom>
            <a:solidFill>
              <a:srgbClr val="09538F"/>
            </a:solidFill>
            <a:ln w="42182"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C9E5EAE7-8C5D-45CE-A1BA-800ECF38147A}"/>
                </a:ext>
                <a:ext uri="{C183D7F6-B498-43B3-948B-1728B52AA6E4}">
                  <adec:decorative xmlns:adec="http://schemas.microsoft.com/office/drawing/2017/decorative" val="1"/>
                </a:ext>
              </a:extLst>
            </p:cNvPr>
            <p:cNvSpPr/>
            <p:nvPr/>
          </p:nvSpPr>
          <p:spPr>
            <a:xfrm>
              <a:off x="9975494" y="6136779"/>
              <a:ext cx="295422" cy="211015"/>
            </a:xfrm>
            <a:custGeom>
              <a:avLst/>
              <a:gdLst>
                <a:gd name="connsiteX0" fmla="*/ 324119 w 295421"/>
                <a:gd name="connsiteY0" fmla="*/ 231695 h 211015"/>
                <a:gd name="connsiteX1" fmla="*/ 0 w 295421"/>
                <a:gd name="connsiteY1" fmla="*/ 231695 h 211015"/>
                <a:gd name="connsiteX2" fmla="*/ 0 w 295421"/>
                <a:gd name="connsiteY2" fmla="*/ 162060 h 211015"/>
                <a:gd name="connsiteX3" fmla="*/ 162060 w 295421"/>
                <a:gd name="connsiteY3" fmla="*/ 0 h 211015"/>
                <a:gd name="connsiteX4" fmla="*/ 324119 w 295421"/>
                <a:gd name="connsiteY4" fmla="*/ 162060 h 211015"/>
                <a:gd name="connsiteX5" fmla="*/ 324119 w 295421"/>
                <a:gd name="connsiteY5" fmla="*/ 231695 h 2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421" h="211015">
                  <a:moveTo>
                    <a:pt x="324119" y="231695"/>
                  </a:moveTo>
                  <a:lnTo>
                    <a:pt x="0" y="231695"/>
                  </a:lnTo>
                  <a:lnTo>
                    <a:pt x="0" y="162060"/>
                  </a:lnTo>
                  <a:cubicBezTo>
                    <a:pt x="0" y="72589"/>
                    <a:pt x="72589" y="0"/>
                    <a:pt x="162060" y="0"/>
                  </a:cubicBezTo>
                  <a:cubicBezTo>
                    <a:pt x="251530" y="0"/>
                    <a:pt x="324119" y="72589"/>
                    <a:pt x="324119" y="162060"/>
                  </a:cubicBezTo>
                  <a:lnTo>
                    <a:pt x="324119" y="231695"/>
                  </a:lnTo>
                  <a:close/>
                </a:path>
              </a:pathLst>
            </a:custGeom>
            <a:solidFill>
              <a:srgbClr val="09538F"/>
            </a:solidFill>
            <a:ln w="42182"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28C5988-9A45-4738-9C14-B4C23CCC8D88}"/>
                </a:ext>
                <a:ext uri="{C183D7F6-B498-43B3-948B-1728B52AA6E4}">
                  <adec:decorative xmlns:adec="http://schemas.microsoft.com/office/drawing/2017/decorative" val="1"/>
                </a:ext>
              </a:extLst>
            </p:cNvPr>
            <p:cNvSpPr/>
            <p:nvPr/>
          </p:nvSpPr>
          <p:spPr>
            <a:xfrm>
              <a:off x="9942576" y="5903818"/>
              <a:ext cx="84406" cy="168812"/>
            </a:xfrm>
            <a:custGeom>
              <a:avLst/>
              <a:gdLst>
                <a:gd name="connsiteX0" fmla="*/ 48956 w 84406"/>
                <a:gd name="connsiteY0" fmla="*/ 0 h 168812"/>
                <a:gd name="connsiteX1" fmla="*/ 48956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6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6" y="0"/>
                  </a:moveTo>
                  <a:lnTo>
                    <a:pt x="48956" y="0"/>
                  </a:lnTo>
                  <a:cubicBezTo>
                    <a:pt x="75966" y="0"/>
                    <a:pt x="98333" y="21945"/>
                    <a:pt x="98333" y="49378"/>
                  </a:cubicBezTo>
                  <a:lnTo>
                    <a:pt x="98333" y="178941"/>
                  </a:lnTo>
                  <a:lnTo>
                    <a:pt x="0" y="178941"/>
                  </a:lnTo>
                  <a:lnTo>
                    <a:pt x="0" y="49378"/>
                  </a:lnTo>
                  <a:cubicBezTo>
                    <a:pt x="0" y="21945"/>
                    <a:pt x="21946" y="0"/>
                    <a:pt x="48956" y="0"/>
                  </a:cubicBezTo>
                </a:path>
              </a:pathLst>
            </a:custGeom>
            <a:solidFill>
              <a:srgbClr val="09538F"/>
            </a:solidFill>
            <a:ln w="42182"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EFE0520B-9B5D-44C1-8612-E904AD6C05CD}"/>
                </a:ext>
                <a:ext uri="{C183D7F6-B498-43B3-948B-1728B52AA6E4}">
                  <adec:decorative xmlns:adec="http://schemas.microsoft.com/office/drawing/2017/decorative" val="1"/>
                </a:ext>
              </a:extLst>
            </p:cNvPr>
            <p:cNvSpPr/>
            <p:nvPr/>
          </p:nvSpPr>
          <p:spPr>
            <a:xfrm>
              <a:off x="10234199" y="5903818"/>
              <a:ext cx="84406" cy="168812"/>
            </a:xfrm>
            <a:custGeom>
              <a:avLst/>
              <a:gdLst>
                <a:gd name="connsiteX0" fmla="*/ 48955 w 84406"/>
                <a:gd name="connsiteY0" fmla="*/ 0 h 168812"/>
                <a:gd name="connsiteX1" fmla="*/ 48955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5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5" y="0"/>
                  </a:moveTo>
                  <a:lnTo>
                    <a:pt x="48955" y="0"/>
                  </a:lnTo>
                  <a:cubicBezTo>
                    <a:pt x="75965" y="0"/>
                    <a:pt x="98333" y="21945"/>
                    <a:pt x="98333" y="49378"/>
                  </a:cubicBezTo>
                  <a:lnTo>
                    <a:pt x="98333" y="178941"/>
                  </a:lnTo>
                  <a:lnTo>
                    <a:pt x="0" y="178941"/>
                  </a:lnTo>
                  <a:lnTo>
                    <a:pt x="0" y="49378"/>
                  </a:lnTo>
                  <a:cubicBezTo>
                    <a:pt x="0" y="21945"/>
                    <a:pt x="21945" y="0"/>
                    <a:pt x="48955" y="0"/>
                  </a:cubicBezTo>
                </a:path>
              </a:pathLst>
            </a:custGeom>
            <a:solidFill>
              <a:srgbClr val="09538F"/>
            </a:solidFill>
            <a:ln w="42182"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369D99AB-4096-4313-A0C8-6C47DA3ECD7A}"/>
                </a:ext>
                <a:ext uri="{C183D7F6-B498-43B3-948B-1728B52AA6E4}">
                  <adec:decorative xmlns:adec="http://schemas.microsoft.com/office/drawing/2017/decorative" val="1"/>
                </a:ext>
              </a:extLst>
            </p:cNvPr>
            <p:cNvSpPr/>
            <p:nvPr/>
          </p:nvSpPr>
          <p:spPr>
            <a:xfrm>
              <a:off x="10088592" y="5903818"/>
              <a:ext cx="84406" cy="168812"/>
            </a:xfrm>
            <a:custGeom>
              <a:avLst/>
              <a:gdLst>
                <a:gd name="connsiteX0" fmla="*/ 48962 w 84406"/>
                <a:gd name="connsiteY0" fmla="*/ 0 h 168812"/>
                <a:gd name="connsiteX1" fmla="*/ 48962 w 84406"/>
                <a:gd name="connsiteY1" fmla="*/ 0 h 168812"/>
                <a:gd name="connsiteX2" fmla="*/ 98339 w 84406"/>
                <a:gd name="connsiteY2" fmla="*/ 49378 h 168812"/>
                <a:gd name="connsiteX3" fmla="*/ 98339 w 84406"/>
                <a:gd name="connsiteY3" fmla="*/ 178941 h 168812"/>
                <a:gd name="connsiteX4" fmla="*/ 6 w 84406"/>
                <a:gd name="connsiteY4" fmla="*/ 178941 h 168812"/>
                <a:gd name="connsiteX5" fmla="*/ 6 w 84406"/>
                <a:gd name="connsiteY5" fmla="*/ 49378 h 168812"/>
                <a:gd name="connsiteX6" fmla="*/ 48962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62" y="0"/>
                  </a:moveTo>
                  <a:lnTo>
                    <a:pt x="48962" y="0"/>
                  </a:lnTo>
                  <a:cubicBezTo>
                    <a:pt x="75972" y="0"/>
                    <a:pt x="98339" y="21945"/>
                    <a:pt x="98339" y="49378"/>
                  </a:cubicBezTo>
                  <a:lnTo>
                    <a:pt x="98339" y="178941"/>
                  </a:lnTo>
                  <a:lnTo>
                    <a:pt x="6" y="178941"/>
                  </a:lnTo>
                  <a:lnTo>
                    <a:pt x="6" y="49378"/>
                  </a:lnTo>
                  <a:cubicBezTo>
                    <a:pt x="-416" y="21945"/>
                    <a:pt x="21530" y="0"/>
                    <a:pt x="48962" y="0"/>
                  </a:cubicBezTo>
                </a:path>
              </a:pathLst>
            </a:custGeom>
            <a:solidFill>
              <a:srgbClr val="09538F"/>
            </a:solidFill>
            <a:ln w="42182"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F65722FB-FAC8-445F-A8EE-8EA04D94735A}"/>
                </a:ext>
                <a:ext uri="{C183D7F6-B498-43B3-948B-1728B52AA6E4}">
                  <adec:decorative xmlns:adec="http://schemas.microsoft.com/office/drawing/2017/decorative" val="1"/>
                </a:ext>
              </a:extLst>
            </p:cNvPr>
            <p:cNvSpPr/>
            <p:nvPr/>
          </p:nvSpPr>
          <p:spPr>
            <a:xfrm>
              <a:off x="9942576" y="5654398"/>
              <a:ext cx="84406" cy="168812"/>
            </a:xfrm>
            <a:custGeom>
              <a:avLst/>
              <a:gdLst>
                <a:gd name="connsiteX0" fmla="*/ 48956 w 84406"/>
                <a:gd name="connsiteY0" fmla="*/ 0 h 168812"/>
                <a:gd name="connsiteX1" fmla="*/ 48956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6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6" y="0"/>
                  </a:moveTo>
                  <a:lnTo>
                    <a:pt x="48956" y="0"/>
                  </a:lnTo>
                  <a:cubicBezTo>
                    <a:pt x="75966" y="0"/>
                    <a:pt x="98333" y="21946"/>
                    <a:pt x="98333" y="49378"/>
                  </a:cubicBezTo>
                  <a:lnTo>
                    <a:pt x="98333" y="178941"/>
                  </a:lnTo>
                  <a:lnTo>
                    <a:pt x="0" y="178941"/>
                  </a:lnTo>
                  <a:lnTo>
                    <a:pt x="0" y="49378"/>
                  </a:lnTo>
                  <a:cubicBezTo>
                    <a:pt x="0" y="22368"/>
                    <a:pt x="21946" y="0"/>
                    <a:pt x="48956" y="0"/>
                  </a:cubicBezTo>
                </a:path>
              </a:pathLst>
            </a:custGeom>
            <a:solidFill>
              <a:srgbClr val="09538F"/>
            </a:solidFill>
            <a:ln w="42182"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678E0314-9438-4293-9021-FC2D9A0A8448}"/>
                </a:ext>
                <a:ext uri="{C183D7F6-B498-43B3-948B-1728B52AA6E4}">
                  <adec:decorative xmlns:adec="http://schemas.microsoft.com/office/drawing/2017/decorative" val="1"/>
                </a:ext>
              </a:extLst>
            </p:cNvPr>
            <p:cNvSpPr/>
            <p:nvPr/>
          </p:nvSpPr>
          <p:spPr>
            <a:xfrm>
              <a:off x="10234199" y="5654398"/>
              <a:ext cx="84406" cy="168812"/>
            </a:xfrm>
            <a:custGeom>
              <a:avLst/>
              <a:gdLst>
                <a:gd name="connsiteX0" fmla="*/ 48955 w 84406"/>
                <a:gd name="connsiteY0" fmla="*/ 0 h 168812"/>
                <a:gd name="connsiteX1" fmla="*/ 48955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5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5" y="0"/>
                  </a:moveTo>
                  <a:lnTo>
                    <a:pt x="48955" y="0"/>
                  </a:lnTo>
                  <a:cubicBezTo>
                    <a:pt x="75965" y="0"/>
                    <a:pt x="98333" y="21946"/>
                    <a:pt x="98333" y="49378"/>
                  </a:cubicBezTo>
                  <a:lnTo>
                    <a:pt x="98333" y="178941"/>
                  </a:lnTo>
                  <a:lnTo>
                    <a:pt x="0" y="178941"/>
                  </a:lnTo>
                  <a:lnTo>
                    <a:pt x="0" y="49378"/>
                  </a:lnTo>
                  <a:cubicBezTo>
                    <a:pt x="0" y="22368"/>
                    <a:pt x="21945" y="0"/>
                    <a:pt x="48955" y="0"/>
                  </a:cubicBezTo>
                </a:path>
              </a:pathLst>
            </a:custGeom>
            <a:solidFill>
              <a:srgbClr val="09538F"/>
            </a:solidFill>
            <a:ln w="42182"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1F626654-DED6-46E5-A568-1361CB27EF1E}"/>
                </a:ext>
                <a:ext uri="{C183D7F6-B498-43B3-948B-1728B52AA6E4}">
                  <adec:decorative xmlns:adec="http://schemas.microsoft.com/office/drawing/2017/decorative" val="1"/>
                </a:ext>
              </a:extLst>
            </p:cNvPr>
            <p:cNvSpPr/>
            <p:nvPr/>
          </p:nvSpPr>
          <p:spPr>
            <a:xfrm>
              <a:off x="10088592" y="5654398"/>
              <a:ext cx="84406" cy="168812"/>
            </a:xfrm>
            <a:custGeom>
              <a:avLst/>
              <a:gdLst>
                <a:gd name="connsiteX0" fmla="*/ 48962 w 84406"/>
                <a:gd name="connsiteY0" fmla="*/ 0 h 168812"/>
                <a:gd name="connsiteX1" fmla="*/ 48962 w 84406"/>
                <a:gd name="connsiteY1" fmla="*/ 0 h 168812"/>
                <a:gd name="connsiteX2" fmla="*/ 98339 w 84406"/>
                <a:gd name="connsiteY2" fmla="*/ 49378 h 168812"/>
                <a:gd name="connsiteX3" fmla="*/ 98339 w 84406"/>
                <a:gd name="connsiteY3" fmla="*/ 178941 h 168812"/>
                <a:gd name="connsiteX4" fmla="*/ 6 w 84406"/>
                <a:gd name="connsiteY4" fmla="*/ 178941 h 168812"/>
                <a:gd name="connsiteX5" fmla="*/ 6 w 84406"/>
                <a:gd name="connsiteY5" fmla="*/ 49378 h 168812"/>
                <a:gd name="connsiteX6" fmla="*/ 48962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62" y="0"/>
                  </a:moveTo>
                  <a:lnTo>
                    <a:pt x="48962" y="0"/>
                  </a:lnTo>
                  <a:cubicBezTo>
                    <a:pt x="75972" y="0"/>
                    <a:pt x="98339" y="21946"/>
                    <a:pt x="98339" y="49378"/>
                  </a:cubicBezTo>
                  <a:lnTo>
                    <a:pt x="98339" y="178941"/>
                  </a:lnTo>
                  <a:lnTo>
                    <a:pt x="6" y="178941"/>
                  </a:lnTo>
                  <a:lnTo>
                    <a:pt x="6" y="49378"/>
                  </a:lnTo>
                  <a:cubicBezTo>
                    <a:pt x="-416" y="22368"/>
                    <a:pt x="21530" y="0"/>
                    <a:pt x="48962" y="0"/>
                  </a:cubicBezTo>
                </a:path>
              </a:pathLst>
            </a:custGeom>
            <a:solidFill>
              <a:srgbClr val="09538F"/>
            </a:solidFill>
            <a:ln w="42182"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E18CC66F-BE03-40A7-9852-46D3AD600826}"/>
                </a:ext>
                <a:ext uri="{C183D7F6-B498-43B3-948B-1728B52AA6E4}">
                  <adec:decorative xmlns:adec="http://schemas.microsoft.com/office/drawing/2017/decorative" val="1"/>
                </a:ext>
              </a:extLst>
            </p:cNvPr>
            <p:cNvSpPr/>
            <p:nvPr/>
          </p:nvSpPr>
          <p:spPr>
            <a:xfrm>
              <a:off x="9942576" y="5405400"/>
              <a:ext cx="84406" cy="168812"/>
            </a:xfrm>
            <a:custGeom>
              <a:avLst/>
              <a:gdLst>
                <a:gd name="connsiteX0" fmla="*/ 48956 w 84406"/>
                <a:gd name="connsiteY0" fmla="*/ 0 h 168812"/>
                <a:gd name="connsiteX1" fmla="*/ 48956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6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6" y="0"/>
                  </a:moveTo>
                  <a:lnTo>
                    <a:pt x="48956" y="0"/>
                  </a:lnTo>
                  <a:cubicBezTo>
                    <a:pt x="75966" y="0"/>
                    <a:pt x="98333" y="21945"/>
                    <a:pt x="98333" y="49378"/>
                  </a:cubicBezTo>
                  <a:lnTo>
                    <a:pt x="98333" y="178941"/>
                  </a:lnTo>
                  <a:lnTo>
                    <a:pt x="0" y="178941"/>
                  </a:lnTo>
                  <a:lnTo>
                    <a:pt x="0" y="49378"/>
                  </a:lnTo>
                  <a:cubicBezTo>
                    <a:pt x="0" y="21945"/>
                    <a:pt x="21946" y="0"/>
                    <a:pt x="48956" y="0"/>
                  </a:cubicBezTo>
                </a:path>
              </a:pathLst>
            </a:custGeom>
            <a:solidFill>
              <a:srgbClr val="09538F"/>
            </a:solidFill>
            <a:ln w="42182"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236C56F-C62A-402A-9EF7-496ABB2F3356}"/>
                </a:ext>
                <a:ext uri="{C183D7F6-B498-43B3-948B-1728B52AA6E4}">
                  <adec:decorative xmlns:adec="http://schemas.microsoft.com/office/drawing/2017/decorative" val="1"/>
                </a:ext>
              </a:extLst>
            </p:cNvPr>
            <p:cNvSpPr/>
            <p:nvPr/>
          </p:nvSpPr>
          <p:spPr>
            <a:xfrm>
              <a:off x="10234199" y="5405400"/>
              <a:ext cx="84406" cy="168812"/>
            </a:xfrm>
            <a:custGeom>
              <a:avLst/>
              <a:gdLst>
                <a:gd name="connsiteX0" fmla="*/ 48955 w 84406"/>
                <a:gd name="connsiteY0" fmla="*/ 0 h 168812"/>
                <a:gd name="connsiteX1" fmla="*/ 48955 w 84406"/>
                <a:gd name="connsiteY1" fmla="*/ 0 h 168812"/>
                <a:gd name="connsiteX2" fmla="*/ 98333 w 84406"/>
                <a:gd name="connsiteY2" fmla="*/ 49378 h 168812"/>
                <a:gd name="connsiteX3" fmla="*/ 98333 w 84406"/>
                <a:gd name="connsiteY3" fmla="*/ 178941 h 168812"/>
                <a:gd name="connsiteX4" fmla="*/ 0 w 84406"/>
                <a:gd name="connsiteY4" fmla="*/ 178941 h 168812"/>
                <a:gd name="connsiteX5" fmla="*/ 0 w 84406"/>
                <a:gd name="connsiteY5" fmla="*/ 49378 h 168812"/>
                <a:gd name="connsiteX6" fmla="*/ 48955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55" y="0"/>
                  </a:moveTo>
                  <a:lnTo>
                    <a:pt x="48955" y="0"/>
                  </a:lnTo>
                  <a:cubicBezTo>
                    <a:pt x="75965" y="0"/>
                    <a:pt x="98333" y="21945"/>
                    <a:pt x="98333" y="49378"/>
                  </a:cubicBezTo>
                  <a:lnTo>
                    <a:pt x="98333" y="178941"/>
                  </a:lnTo>
                  <a:lnTo>
                    <a:pt x="0" y="178941"/>
                  </a:lnTo>
                  <a:lnTo>
                    <a:pt x="0" y="49378"/>
                  </a:lnTo>
                  <a:cubicBezTo>
                    <a:pt x="0" y="21945"/>
                    <a:pt x="21945" y="0"/>
                    <a:pt x="48955" y="0"/>
                  </a:cubicBezTo>
                </a:path>
              </a:pathLst>
            </a:custGeom>
            <a:solidFill>
              <a:srgbClr val="09538F"/>
            </a:solidFill>
            <a:ln w="42182"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F9F0AC9D-790F-459E-82DE-D680899F24E5}"/>
                </a:ext>
                <a:ext uri="{C183D7F6-B498-43B3-948B-1728B52AA6E4}">
                  <adec:decorative xmlns:adec="http://schemas.microsoft.com/office/drawing/2017/decorative" val="1"/>
                </a:ext>
              </a:extLst>
            </p:cNvPr>
            <p:cNvSpPr/>
            <p:nvPr/>
          </p:nvSpPr>
          <p:spPr>
            <a:xfrm>
              <a:off x="10088592" y="5405400"/>
              <a:ext cx="84406" cy="168812"/>
            </a:xfrm>
            <a:custGeom>
              <a:avLst/>
              <a:gdLst>
                <a:gd name="connsiteX0" fmla="*/ 48962 w 84406"/>
                <a:gd name="connsiteY0" fmla="*/ 0 h 168812"/>
                <a:gd name="connsiteX1" fmla="*/ 48962 w 84406"/>
                <a:gd name="connsiteY1" fmla="*/ 0 h 168812"/>
                <a:gd name="connsiteX2" fmla="*/ 98339 w 84406"/>
                <a:gd name="connsiteY2" fmla="*/ 49378 h 168812"/>
                <a:gd name="connsiteX3" fmla="*/ 98339 w 84406"/>
                <a:gd name="connsiteY3" fmla="*/ 178941 h 168812"/>
                <a:gd name="connsiteX4" fmla="*/ 6 w 84406"/>
                <a:gd name="connsiteY4" fmla="*/ 178941 h 168812"/>
                <a:gd name="connsiteX5" fmla="*/ 6 w 84406"/>
                <a:gd name="connsiteY5" fmla="*/ 49378 h 168812"/>
                <a:gd name="connsiteX6" fmla="*/ 48962 w 84406"/>
                <a:gd name="connsiteY6" fmla="*/ 0 h 16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6" h="168812">
                  <a:moveTo>
                    <a:pt x="48962" y="0"/>
                  </a:moveTo>
                  <a:lnTo>
                    <a:pt x="48962" y="0"/>
                  </a:lnTo>
                  <a:cubicBezTo>
                    <a:pt x="75972" y="0"/>
                    <a:pt x="98339" y="21945"/>
                    <a:pt x="98339" y="49378"/>
                  </a:cubicBezTo>
                  <a:lnTo>
                    <a:pt x="98339" y="178941"/>
                  </a:lnTo>
                  <a:lnTo>
                    <a:pt x="6" y="178941"/>
                  </a:lnTo>
                  <a:lnTo>
                    <a:pt x="6" y="49378"/>
                  </a:lnTo>
                  <a:cubicBezTo>
                    <a:pt x="-416" y="21945"/>
                    <a:pt x="21530" y="0"/>
                    <a:pt x="48962" y="0"/>
                  </a:cubicBezTo>
                </a:path>
              </a:pathLst>
            </a:custGeom>
            <a:solidFill>
              <a:srgbClr val="09538F"/>
            </a:solidFill>
            <a:ln w="42182"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204FE89-3588-4997-B7B2-782D9B9501BC}"/>
                </a:ext>
                <a:ext uri="{C183D7F6-B498-43B3-948B-1728B52AA6E4}">
                  <adec:decorative xmlns:adec="http://schemas.microsoft.com/office/drawing/2017/decorative" val="1"/>
                </a:ext>
              </a:extLst>
            </p:cNvPr>
            <p:cNvSpPr/>
            <p:nvPr/>
          </p:nvSpPr>
          <p:spPr>
            <a:xfrm>
              <a:off x="9396468" y="5677188"/>
              <a:ext cx="506437" cy="675249"/>
            </a:xfrm>
            <a:custGeom>
              <a:avLst/>
              <a:gdLst>
                <a:gd name="connsiteX0" fmla="*/ 406838 w 506436"/>
                <a:gd name="connsiteY0" fmla="*/ 119857 h 675249"/>
                <a:gd name="connsiteX1" fmla="*/ 406838 w 506436"/>
                <a:gd name="connsiteY1" fmla="*/ 57396 h 675249"/>
                <a:gd name="connsiteX2" fmla="*/ 261237 w 506436"/>
                <a:gd name="connsiteY2" fmla="*/ 0 h 675249"/>
                <a:gd name="connsiteX3" fmla="*/ 115636 w 506436"/>
                <a:gd name="connsiteY3" fmla="*/ 57396 h 675249"/>
                <a:gd name="connsiteX4" fmla="*/ 115636 w 506436"/>
                <a:gd name="connsiteY4" fmla="*/ 119857 h 675249"/>
                <a:gd name="connsiteX5" fmla="*/ 0 w 506436"/>
                <a:gd name="connsiteY5" fmla="*/ 119857 h 675249"/>
                <a:gd name="connsiteX6" fmla="*/ 0 w 506436"/>
                <a:gd name="connsiteY6" fmla="*/ 691708 h 675249"/>
                <a:gd name="connsiteX7" fmla="*/ 167546 w 506436"/>
                <a:gd name="connsiteY7" fmla="*/ 691708 h 675249"/>
                <a:gd name="connsiteX8" fmla="*/ 167546 w 506436"/>
                <a:gd name="connsiteY8" fmla="*/ 543576 h 675249"/>
                <a:gd name="connsiteX9" fmla="*/ 354506 w 506436"/>
                <a:gd name="connsiteY9" fmla="*/ 543576 h 675249"/>
                <a:gd name="connsiteX10" fmla="*/ 354506 w 506436"/>
                <a:gd name="connsiteY10" fmla="*/ 691708 h 675249"/>
                <a:gd name="connsiteX11" fmla="*/ 522052 w 506436"/>
                <a:gd name="connsiteY11" fmla="*/ 691708 h 675249"/>
                <a:gd name="connsiteX12" fmla="*/ 522052 w 506436"/>
                <a:gd name="connsiteY12" fmla="*/ 119857 h 675249"/>
                <a:gd name="connsiteX13" fmla="*/ 406838 w 506436"/>
                <a:gd name="connsiteY13" fmla="*/ 119857 h 675249"/>
                <a:gd name="connsiteX14" fmla="*/ 115214 w 506436"/>
                <a:gd name="connsiteY14" fmla="*/ 490822 h 675249"/>
                <a:gd name="connsiteX15" fmla="*/ 54864 w 506436"/>
                <a:gd name="connsiteY15" fmla="*/ 490822 h 675249"/>
                <a:gd name="connsiteX16" fmla="*/ 54864 w 506436"/>
                <a:gd name="connsiteY16" fmla="*/ 397975 h 675249"/>
                <a:gd name="connsiteX17" fmla="*/ 115214 w 506436"/>
                <a:gd name="connsiteY17" fmla="*/ 397975 h 675249"/>
                <a:gd name="connsiteX18" fmla="*/ 115214 w 506436"/>
                <a:gd name="connsiteY18" fmla="*/ 490822 h 675249"/>
                <a:gd name="connsiteX19" fmla="*/ 115214 w 506436"/>
                <a:gd name="connsiteY19" fmla="*/ 373919 h 675249"/>
                <a:gd name="connsiteX20" fmla="*/ 54864 w 506436"/>
                <a:gd name="connsiteY20" fmla="*/ 373919 h 675249"/>
                <a:gd name="connsiteX21" fmla="*/ 54864 w 506436"/>
                <a:gd name="connsiteY21" fmla="*/ 281073 h 675249"/>
                <a:gd name="connsiteX22" fmla="*/ 115214 w 506436"/>
                <a:gd name="connsiteY22" fmla="*/ 281073 h 675249"/>
                <a:gd name="connsiteX23" fmla="*/ 115214 w 506436"/>
                <a:gd name="connsiteY23" fmla="*/ 373919 h 675249"/>
                <a:gd name="connsiteX24" fmla="*/ 115214 w 506436"/>
                <a:gd name="connsiteY24" fmla="*/ 256595 h 675249"/>
                <a:gd name="connsiteX25" fmla="*/ 54864 w 506436"/>
                <a:gd name="connsiteY25" fmla="*/ 256595 h 675249"/>
                <a:gd name="connsiteX26" fmla="*/ 54864 w 506436"/>
                <a:gd name="connsiteY26" fmla="*/ 163748 h 675249"/>
                <a:gd name="connsiteX27" fmla="*/ 115214 w 506436"/>
                <a:gd name="connsiteY27" fmla="*/ 163748 h 675249"/>
                <a:gd name="connsiteX28" fmla="*/ 115214 w 506436"/>
                <a:gd name="connsiteY28" fmla="*/ 256595 h 675249"/>
                <a:gd name="connsiteX29" fmla="*/ 202997 w 506436"/>
                <a:gd name="connsiteY29" fmla="*/ 490822 h 675249"/>
                <a:gd name="connsiteX30" fmla="*/ 142646 w 506436"/>
                <a:gd name="connsiteY30" fmla="*/ 490822 h 675249"/>
                <a:gd name="connsiteX31" fmla="*/ 142646 w 506436"/>
                <a:gd name="connsiteY31" fmla="*/ 397975 h 675249"/>
                <a:gd name="connsiteX32" fmla="*/ 202997 w 506436"/>
                <a:gd name="connsiteY32" fmla="*/ 397975 h 675249"/>
                <a:gd name="connsiteX33" fmla="*/ 202997 w 506436"/>
                <a:gd name="connsiteY33" fmla="*/ 490822 h 675249"/>
                <a:gd name="connsiteX34" fmla="*/ 202997 w 506436"/>
                <a:gd name="connsiteY34" fmla="*/ 373919 h 675249"/>
                <a:gd name="connsiteX35" fmla="*/ 142646 w 506436"/>
                <a:gd name="connsiteY35" fmla="*/ 373919 h 675249"/>
                <a:gd name="connsiteX36" fmla="*/ 142646 w 506436"/>
                <a:gd name="connsiteY36" fmla="*/ 281073 h 675249"/>
                <a:gd name="connsiteX37" fmla="*/ 202997 w 506436"/>
                <a:gd name="connsiteY37" fmla="*/ 281073 h 675249"/>
                <a:gd name="connsiteX38" fmla="*/ 202997 w 506436"/>
                <a:gd name="connsiteY38" fmla="*/ 373919 h 675249"/>
                <a:gd name="connsiteX39" fmla="*/ 202997 w 506436"/>
                <a:gd name="connsiteY39" fmla="*/ 256595 h 675249"/>
                <a:gd name="connsiteX40" fmla="*/ 142646 w 506436"/>
                <a:gd name="connsiteY40" fmla="*/ 256595 h 675249"/>
                <a:gd name="connsiteX41" fmla="*/ 142646 w 506436"/>
                <a:gd name="connsiteY41" fmla="*/ 163748 h 675249"/>
                <a:gd name="connsiteX42" fmla="*/ 202997 w 506436"/>
                <a:gd name="connsiteY42" fmla="*/ 163748 h 675249"/>
                <a:gd name="connsiteX43" fmla="*/ 202997 w 506436"/>
                <a:gd name="connsiteY43" fmla="*/ 256595 h 675249"/>
                <a:gd name="connsiteX44" fmla="*/ 291201 w 506436"/>
                <a:gd name="connsiteY44" fmla="*/ 490822 h 675249"/>
                <a:gd name="connsiteX45" fmla="*/ 230851 w 506436"/>
                <a:gd name="connsiteY45" fmla="*/ 490822 h 675249"/>
                <a:gd name="connsiteX46" fmla="*/ 230851 w 506436"/>
                <a:gd name="connsiteY46" fmla="*/ 397975 h 675249"/>
                <a:gd name="connsiteX47" fmla="*/ 291201 w 506436"/>
                <a:gd name="connsiteY47" fmla="*/ 397975 h 675249"/>
                <a:gd name="connsiteX48" fmla="*/ 291201 w 506436"/>
                <a:gd name="connsiteY48" fmla="*/ 490822 h 675249"/>
                <a:gd name="connsiteX49" fmla="*/ 291201 w 506436"/>
                <a:gd name="connsiteY49" fmla="*/ 373919 h 675249"/>
                <a:gd name="connsiteX50" fmla="*/ 230851 w 506436"/>
                <a:gd name="connsiteY50" fmla="*/ 373919 h 675249"/>
                <a:gd name="connsiteX51" fmla="*/ 230851 w 506436"/>
                <a:gd name="connsiteY51" fmla="*/ 281073 h 675249"/>
                <a:gd name="connsiteX52" fmla="*/ 291201 w 506436"/>
                <a:gd name="connsiteY52" fmla="*/ 281073 h 675249"/>
                <a:gd name="connsiteX53" fmla="*/ 291201 w 506436"/>
                <a:gd name="connsiteY53" fmla="*/ 373919 h 675249"/>
                <a:gd name="connsiteX54" fmla="*/ 291201 w 506436"/>
                <a:gd name="connsiteY54" fmla="*/ 256595 h 675249"/>
                <a:gd name="connsiteX55" fmla="*/ 230851 w 506436"/>
                <a:gd name="connsiteY55" fmla="*/ 256595 h 675249"/>
                <a:gd name="connsiteX56" fmla="*/ 230851 w 506436"/>
                <a:gd name="connsiteY56" fmla="*/ 163748 h 675249"/>
                <a:gd name="connsiteX57" fmla="*/ 291201 w 506436"/>
                <a:gd name="connsiteY57" fmla="*/ 163748 h 675249"/>
                <a:gd name="connsiteX58" fmla="*/ 291201 w 506436"/>
                <a:gd name="connsiteY58" fmla="*/ 256595 h 675249"/>
                <a:gd name="connsiteX59" fmla="*/ 378983 w 506436"/>
                <a:gd name="connsiteY59" fmla="*/ 490822 h 675249"/>
                <a:gd name="connsiteX60" fmla="*/ 318633 w 506436"/>
                <a:gd name="connsiteY60" fmla="*/ 490822 h 675249"/>
                <a:gd name="connsiteX61" fmla="*/ 318633 w 506436"/>
                <a:gd name="connsiteY61" fmla="*/ 397975 h 675249"/>
                <a:gd name="connsiteX62" fmla="*/ 378983 w 506436"/>
                <a:gd name="connsiteY62" fmla="*/ 397975 h 675249"/>
                <a:gd name="connsiteX63" fmla="*/ 378983 w 506436"/>
                <a:gd name="connsiteY63" fmla="*/ 490822 h 675249"/>
                <a:gd name="connsiteX64" fmla="*/ 378983 w 506436"/>
                <a:gd name="connsiteY64" fmla="*/ 373919 h 675249"/>
                <a:gd name="connsiteX65" fmla="*/ 318633 w 506436"/>
                <a:gd name="connsiteY65" fmla="*/ 373919 h 675249"/>
                <a:gd name="connsiteX66" fmla="*/ 318633 w 506436"/>
                <a:gd name="connsiteY66" fmla="*/ 281073 h 675249"/>
                <a:gd name="connsiteX67" fmla="*/ 378983 w 506436"/>
                <a:gd name="connsiteY67" fmla="*/ 281073 h 675249"/>
                <a:gd name="connsiteX68" fmla="*/ 378983 w 506436"/>
                <a:gd name="connsiteY68" fmla="*/ 373919 h 675249"/>
                <a:gd name="connsiteX69" fmla="*/ 378983 w 506436"/>
                <a:gd name="connsiteY69" fmla="*/ 256595 h 675249"/>
                <a:gd name="connsiteX70" fmla="*/ 318633 w 506436"/>
                <a:gd name="connsiteY70" fmla="*/ 256595 h 675249"/>
                <a:gd name="connsiteX71" fmla="*/ 318633 w 506436"/>
                <a:gd name="connsiteY71" fmla="*/ 163748 h 675249"/>
                <a:gd name="connsiteX72" fmla="*/ 378983 w 506436"/>
                <a:gd name="connsiteY72" fmla="*/ 163748 h 675249"/>
                <a:gd name="connsiteX73" fmla="*/ 378983 w 506436"/>
                <a:gd name="connsiteY73" fmla="*/ 256595 h 675249"/>
                <a:gd name="connsiteX74" fmla="*/ 467188 w 506436"/>
                <a:gd name="connsiteY74" fmla="*/ 490822 h 675249"/>
                <a:gd name="connsiteX75" fmla="*/ 406838 w 506436"/>
                <a:gd name="connsiteY75" fmla="*/ 490822 h 675249"/>
                <a:gd name="connsiteX76" fmla="*/ 406838 w 506436"/>
                <a:gd name="connsiteY76" fmla="*/ 397975 h 675249"/>
                <a:gd name="connsiteX77" fmla="*/ 467188 w 506436"/>
                <a:gd name="connsiteY77" fmla="*/ 397975 h 675249"/>
                <a:gd name="connsiteX78" fmla="*/ 467188 w 506436"/>
                <a:gd name="connsiteY78" fmla="*/ 490822 h 675249"/>
                <a:gd name="connsiteX79" fmla="*/ 467188 w 506436"/>
                <a:gd name="connsiteY79" fmla="*/ 373919 h 675249"/>
                <a:gd name="connsiteX80" fmla="*/ 406838 w 506436"/>
                <a:gd name="connsiteY80" fmla="*/ 373919 h 675249"/>
                <a:gd name="connsiteX81" fmla="*/ 406838 w 506436"/>
                <a:gd name="connsiteY81" fmla="*/ 281073 h 675249"/>
                <a:gd name="connsiteX82" fmla="*/ 467188 w 506436"/>
                <a:gd name="connsiteY82" fmla="*/ 281073 h 675249"/>
                <a:gd name="connsiteX83" fmla="*/ 467188 w 506436"/>
                <a:gd name="connsiteY83" fmla="*/ 373919 h 675249"/>
                <a:gd name="connsiteX84" fmla="*/ 467188 w 506436"/>
                <a:gd name="connsiteY84" fmla="*/ 256595 h 675249"/>
                <a:gd name="connsiteX85" fmla="*/ 406838 w 506436"/>
                <a:gd name="connsiteY85" fmla="*/ 256595 h 675249"/>
                <a:gd name="connsiteX86" fmla="*/ 406838 w 506436"/>
                <a:gd name="connsiteY86" fmla="*/ 163748 h 675249"/>
                <a:gd name="connsiteX87" fmla="*/ 467188 w 506436"/>
                <a:gd name="connsiteY87" fmla="*/ 163748 h 675249"/>
                <a:gd name="connsiteX88" fmla="*/ 467188 w 506436"/>
                <a:gd name="connsiteY88" fmla="*/ 256595 h 6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06436" h="675249">
                  <a:moveTo>
                    <a:pt x="406838" y="119857"/>
                  </a:moveTo>
                  <a:lnTo>
                    <a:pt x="406838" y="57396"/>
                  </a:lnTo>
                  <a:lnTo>
                    <a:pt x="261237" y="0"/>
                  </a:lnTo>
                  <a:lnTo>
                    <a:pt x="115636" y="57396"/>
                  </a:lnTo>
                  <a:lnTo>
                    <a:pt x="115636" y="119857"/>
                  </a:lnTo>
                  <a:lnTo>
                    <a:pt x="0" y="119857"/>
                  </a:lnTo>
                  <a:lnTo>
                    <a:pt x="0" y="691708"/>
                  </a:lnTo>
                  <a:lnTo>
                    <a:pt x="167546" y="691708"/>
                  </a:lnTo>
                  <a:lnTo>
                    <a:pt x="167546" y="543576"/>
                  </a:lnTo>
                  <a:lnTo>
                    <a:pt x="354506" y="543576"/>
                  </a:lnTo>
                  <a:lnTo>
                    <a:pt x="354506" y="691708"/>
                  </a:lnTo>
                  <a:lnTo>
                    <a:pt x="522052" y="691708"/>
                  </a:lnTo>
                  <a:lnTo>
                    <a:pt x="522052" y="119857"/>
                  </a:lnTo>
                  <a:lnTo>
                    <a:pt x="406838" y="119857"/>
                  </a:lnTo>
                  <a:close/>
                  <a:moveTo>
                    <a:pt x="115214" y="490822"/>
                  </a:moveTo>
                  <a:lnTo>
                    <a:pt x="54864" y="490822"/>
                  </a:lnTo>
                  <a:lnTo>
                    <a:pt x="54864" y="397975"/>
                  </a:lnTo>
                  <a:lnTo>
                    <a:pt x="115214" y="397975"/>
                  </a:lnTo>
                  <a:lnTo>
                    <a:pt x="115214" y="490822"/>
                  </a:lnTo>
                  <a:close/>
                  <a:moveTo>
                    <a:pt x="115214" y="373919"/>
                  </a:moveTo>
                  <a:lnTo>
                    <a:pt x="54864" y="373919"/>
                  </a:lnTo>
                  <a:lnTo>
                    <a:pt x="54864" y="281073"/>
                  </a:lnTo>
                  <a:lnTo>
                    <a:pt x="115214" y="281073"/>
                  </a:lnTo>
                  <a:lnTo>
                    <a:pt x="115214" y="373919"/>
                  </a:lnTo>
                  <a:close/>
                  <a:moveTo>
                    <a:pt x="115214" y="256595"/>
                  </a:moveTo>
                  <a:lnTo>
                    <a:pt x="54864" y="256595"/>
                  </a:lnTo>
                  <a:lnTo>
                    <a:pt x="54864" y="163748"/>
                  </a:lnTo>
                  <a:lnTo>
                    <a:pt x="115214" y="163748"/>
                  </a:lnTo>
                  <a:lnTo>
                    <a:pt x="115214" y="256595"/>
                  </a:lnTo>
                  <a:close/>
                  <a:moveTo>
                    <a:pt x="202997" y="490822"/>
                  </a:moveTo>
                  <a:lnTo>
                    <a:pt x="142646" y="490822"/>
                  </a:lnTo>
                  <a:lnTo>
                    <a:pt x="142646" y="397975"/>
                  </a:lnTo>
                  <a:lnTo>
                    <a:pt x="202997" y="397975"/>
                  </a:lnTo>
                  <a:lnTo>
                    <a:pt x="202997" y="490822"/>
                  </a:lnTo>
                  <a:close/>
                  <a:moveTo>
                    <a:pt x="202997" y="373919"/>
                  </a:moveTo>
                  <a:lnTo>
                    <a:pt x="142646" y="373919"/>
                  </a:lnTo>
                  <a:lnTo>
                    <a:pt x="142646" y="281073"/>
                  </a:lnTo>
                  <a:lnTo>
                    <a:pt x="202997" y="281073"/>
                  </a:lnTo>
                  <a:lnTo>
                    <a:pt x="202997" y="373919"/>
                  </a:lnTo>
                  <a:close/>
                  <a:moveTo>
                    <a:pt x="202997" y="256595"/>
                  </a:moveTo>
                  <a:lnTo>
                    <a:pt x="142646" y="256595"/>
                  </a:lnTo>
                  <a:lnTo>
                    <a:pt x="142646" y="163748"/>
                  </a:lnTo>
                  <a:lnTo>
                    <a:pt x="202997" y="163748"/>
                  </a:lnTo>
                  <a:lnTo>
                    <a:pt x="202997" y="256595"/>
                  </a:lnTo>
                  <a:close/>
                  <a:moveTo>
                    <a:pt x="291201" y="490822"/>
                  </a:moveTo>
                  <a:lnTo>
                    <a:pt x="230851" y="490822"/>
                  </a:lnTo>
                  <a:lnTo>
                    <a:pt x="230851" y="397975"/>
                  </a:lnTo>
                  <a:lnTo>
                    <a:pt x="291201" y="397975"/>
                  </a:lnTo>
                  <a:lnTo>
                    <a:pt x="291201" y="490822"/>
                  </a:lnTo>
                  <a:close/>
                  <a:moveTo>
                    <a:pt x="291201" y="373919"/>
                  </a:moveTo>
                  <a:lnTo>
                    <a:pt x="230851" y="373919"/>
                  </a:lnTo>
                  <a:lnTo>
                    <a:pt x="230851" y="281073"/>
                  </a:lnTo>
                  <a:lnTo>
                    <a:pt x="291201" y="281073"/>
                  </a:lnTo>
                  <a:lnTo>
                    <a:pt x="291201" y="373919"/>
                  </a:lnTo>
                  <a:close/>
                  <a:moveTo>
                    <a:pt x="291201" y="256595"/>
                  </a:moveTo>
                  <a:lnTo>
                    <a:pt x="230851" y="256595"/>
                  </a:lnTo>
                  <a:lnTo>
                    <a:pt x="230851" y="163748"/>
                  </a:lnTo>
                  <a:lnTo>
                    <a:pt x="291201" y="163748"/>
                  </a:lnTo>
                  <a:lnTo>
                    <a:pt x="291201" y="256595"/>
                  </a:lnTo>
                  <a:close/>
                  <a:moveTo>
                    <a:pt x="378983" y="490822"/>
                  </a:moveTo>
                  <a:lnTo>
                    <a:pt x="318633" y="490822"/>
                  </a:lnTo>
                  <a:lnTo>
                    <a:pt x="318633" y="397975"/>
                  </a:lnTo>
                  <a:lnTo>
                    <a:pt x="378983" y="397975"/>
                  </a:lnTo>
                  <a:lnTo>
                    <a:pt x="378983" y="490822"/>
                  </a:lnTo>
                  <a:close/>
                  <a:moveTo>
                    <a:pt x="378983" y="373919"/>
                  </a:moveTo>
                  <a:lnTo>
                    <a:pt x="318633" y="373919"/>
                  </a:lnTo>
                  <a:lnTo>
                    <a:pt x="318633" y="281073"/>
                  </a:lnTo>
                  <a:lnTo>
                    <a:pt x="378983" y="281073"/>
                  </a:lnTo>
                  <a:lnTo>
                    <a:pt x="378983" y="373919"/>
                  </a:lnTo>
                  <a:close/>
                  <a:moveTo>
                    <a:pt x="378983" y="256595"/>
                  </a:moveTo>
                  <a:lnTo>
                    <a:pt x="318633" y="256595"/>
                  </a:lnTo>
                  <a:lnTo>
                    <a:pt x="318633" y="163748"/>
                  </a:lnTo>
                  <a:lnTo>
                    <a:pt x="378983" y="163748"/>
                  </a:lnTo>
                  <a:lnTo>
                    <a:pt x="378983" y="256595"/>
                  </a:lnTo>
                  <a:close/>
                  <a:moveTo>
                    <a:pt x="467188" y="490822"/>
                  </a:moveTo>
                  <a:lnTo>
                    <a:pt x="406838" y="490822"/>
                  </a:lnTo>
                  <a:lnTo>
                    <a:pt x="406838" y="397975"/>
                  </a:lnTo>
                  <a:lnTo>
                    <a:pt x="467188" y="397975"/>
                  </a:lnTo>
                  <a:lnTo>
                    <a:pt x="467188" y="490822"/>
                  </a:lnTo>
                  <a:close/>
                  <a:moveTo>
                    <a:pt x="467188" y="373919"/>
                  </a:moveTo>
                  <a:lnTo>
                    <a:pt x="406838" y="373919"/>
                  </a:lnTo>
                  <a:lnTo>
                    <a:pt x="406838" y="281073"/>
                  </a:lnTo>
                  <a:lnTo>
                    <a:pt x="467188" y="281073"/>
                  </a:lnTo>
                  <a:lnTo>
                    <a:pt x="467188" y="373919"/>
                  </a:lnTo>
                  <a:close/>
                  <a:moveTo>
                    <a:pt x="467188" y="256595"/>
                  </a:moveTo>
                  <a:lnTo>
                    <a:pt x="406838" y="256595"/>
                  </a:lnTo>
                  <a:lnTo>
                    <a:pt x="406838" y="163748"/>
                  </a:lnTo>
                  <a:lnTo>
                    <a:pt x="467188" y="163748"/>
                  </a:lnTo>
                  <a:lnTo>
                    <a:pt x="467188" y="256595"/>
                  </a:lnTo>
                  <a:close/>
                </a:path>
              </a:pathLst>
            </a:custGeom>
            <a:solidFill>
              <a:srgbClr val="1070C4"/>
            </a:solidFill>
            <a:ln w="42182"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26C1FF8-18F6-42EA-9609-D517A5DDBB58}"/>
                </a:ext>
                <a:ext uri="{C183D7F6-B498-43B3-948B-1728B52AA6E4}">
                  <adec:decorative xmlns:adec="http://schemas.microsoft.com/office/drawing/2017/decorative" val="1"/>
                </a:ext>
              </a:extLst>
            </p:cNvPr>
            <p:cNvSpPr/>
            <p:nvPr/>
          </p:nvSpPr>
          <p:spPr>
            <a:xfrm>
              <a:off x="9221325" y="4657140"/>
              <a:ext cx="633046" cy="295422"/>
            </a:xfrm>
            <a:custGeom>
              <a:avLst/>
              <a:gdLst>
                <a:gd name="connsiteX0" fmla="*/ 559613 w 633046"/>
                <a:gd name="connsiteY0" fmla="*/ 162904 h 295421"/>
                <a:gd name="connsiteX1" fmla="*/ 525006 w 633046"/>
                <a:gd name="connsiteY1" fmla="*/ 170922 h 295421"/>
                <a:gd name="connsiteX2" fmla="*/ 525006 w 633046"/>
                <a:gd name="connsiteY2" fmla="*/ 162904 h 295421"/>
                <a:gd name="connsiteX3" fmla="*/ 362102 w 633046"/>
                <a:gd name="connsiteY3" fmla="*/ 0 h 295421"/>
                <a:gd name="connsiteX4" fmla="*/ 200042 w 633046"/>
                <a:gd name="connsiteY4" fmla="*/ 148133 h 295421"/>
                <a:gd name="connsiteX5" fmla="*/ 110994 w 633046"/>
                <a:gd name="connsiteY5" fmla="*/ 103398 h 295421"/>
                <a:gd name="connsiteX6" fmla="*/ 0 w 633046"/>
                <a:gd name="connsiteY6" fmla="*/ 214392 h 295421"/>
                <a:gd name="connsiteX7" fmla="*/ 110994 w 633046"/>
                <a:gd name="connsiteY7" fmla="*/ 325386 h 295421"/>
                <a:gd name="connsiteX8" fmla="*/ 559613 w 633046"/>
                <a:gd name="connsiteY8" fmla="*/ 325386 h 295421"/>
                <a:gd name="connsiteX9" fmla="*/ 641065 w 633046"/>
                <a:gd name="connsiteY9" fmla="*/ 243934 h 295421"/>
                <a:gd name="connsiteX10" fmla="*/ 559613 w 633046"/>
                <a:gd name="connsiteY10" fmla="*/ 162904 h 29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046" h="295421">
                  <a:moveTo>
                    <a:pt x="559613" y="162904"/>
                  </a:moveTo>
                  <a:cubicBezTo>
                    <a:pt x="547374" y="162904"/>
                    <a:pt x="535557" y="165858"/>
                    <a:pt x="525006" y="170922"/>
                  </a:cubicBezTo>
                  <a:cubicBezTo>
                    <a:pt x="525006" y="168390"/>
                    <a:pt x="525006" y="165858"/>
                    <a:pt x="525006" y="162904"/>
                  </a:cubicBezTo>
                  <a:cubicBezTo>
                    <a:pt x="525006" y="73011"/>
                    <a:pt x="451995" y="0"/>
                    <a:pt x="362102" y="0"/>
                  </a:cubicBezTo>
                  <a:cubicBezTo>
                    <a:pt x="276852" y="0"/>
                    <a:pt x="207217" y="65415"/>
                    <a:pt x="200042" y="148133"/>
                  </a:cubicBezTo>
                  <a:cubicBezTo>
                    <a:pt x="179785" y="121123"/>
                    <a:pt x="147289" y="103398"/>
                    <a:pt x="110994" y="103398"/>
                  </a:cubicBezTo>
                  <a:cubicBezTo>
                    <a:pt x="49800" y="103398"/>
                    <a:pt x="0" y="153197"/>
                    <a:pt x="0" y="214392"/>
                  </a:cubicBezTo>
                  <a:cubicBezTo>
                    <a:pt x="0" y="275586"/>
                    <a:pt x="49800" y="325386"/>
                    <a:pt x="110994" y="325386"/>
                  </a:cubicBezTo>
                  <a:lnTo>
                    <a:pt x="559613" y="325386"/>
                  </a:lnTo>
                  <a:cubicBezTo>
                    <a:pt x="604770" y="325386"/>
                    <a:pt x="641065" y="289091"/>
                    <a:pt x="641065" y="243934"/>
                  </a:cubicBezTo>
                  <a:cubicBezTo>
                    <a:pt x="641065" y="199621"/>
                    <a:pt x="604348" y="162904"/>
                    <a:pt x="559613" y="162904"/>
                  </a:cubicBezTo>
                </a:path>
              </a:pathLst>
            </a:custGeom>
            <a:solidFill>
              <a:srgbClr val="49CDF3"/>
            </a:solidFill>
            <a:ln w="42182" cap="flat">
              <a:noFill/>
              <a:prstDash val="solid"/>
              <a:miter/>
            </a:ln>
          </p:spPr>
          <p:txBody>
            <a:bodyPr rtlCol="0" anchor="ctr"/>
            <a:lstStyle/>
            <a:p>
              <a:endParaRPr lang="en-US"/>
            </a:p>
          </p:txBody>
        </p:sp>
      </p:grpSp>
      <p:pic>
        <p:nvPicPr>
          <p:cNvPr id="6" name="Picture 5" descr="A portrait of the Azure Technical Trainer Mahlah Murray">
            <a:extLst>
              <a:ext uri="{FF2B5EF4-FFF2-40B4-BE49-F238E27FC236}">
                <a16:creationId xmlns:a16="http://schemas.microsoft.com/office/drawing/2014/main" id="{98A1E495-587E-47ED-96E1-5F4F04F5235B}"/>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955809" y="1203489"/>
            <a:ext cx="2255294" cy="2585284"/>
          </a:xfrm>
          <a:prstGeom prst="rect">
            <a:avLst/>
          </a:prstGeom>
        </p:spPr>
      </p:pic>
      <p:sp>
        <p:nvSpPr>
          <p:cNvPr id="2" name="TextBox 1">
            <a:extLst>
              <a:ext uri="{FF2B5EF4-FFF2-40B4-BE49-F238E27FC236}">
                <a16:creationId xmlns:a16="http://schemas.microsoft.com/office/drawing/2014/main" id="{0B6457CC-B1A4-4A43-84CC-21996B427531}"/>
              </a:ext>
            </a:extLst>
          </p:cNvPr>
          <p:cNvSpPr txBox="1"/>
          <p:nvPr/>
        </p:nvSpPr>
        <p:spPr>
          <a:xfrm>
            <a:off x="77430" y="3785503"/>
            <a:ext cx="4012052" cy="898708"/>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ahlah Murray</a:t>
            </a:r>
          </a:p>
          <a:p>
            <a:pPr algn="ctr">
              <a:lnSpc>
                <a:spcPct val="90000"/>
              </a:lnSpc>
              <a:spcAft>
                <a:spcPts val="600"/>
              </a:spcAft>
            </a:pPr>
            <a:r>
              <a:rPr lang="en-US" sz="1800" dirty="0">
                <a:gradFill>
                  <a:gsLst>
                    <a:gs pos="2917">
                      <a:schemeClr val="tx1"/>
                    </a:gs>
                    <a:gs pos="30000">
                      <a:schemeClr val="tx1"/>
                    </a:gs>
                  </a:gsLst>
                  <a:lin ang="5400000" scaled="0"/>
                </a:gradFill>
              </a:rPr>
              <a:t>Microsoft Technical Trainer</a:t>
            </a:r>
          </a:p>
        </p:txBody>
      </p:sp>
      <p:pic>
        <p:nvPicPr>
          <p:cNvPr id="70" name="Picture 2" descr="Microsoft logo">
            <a:extLst>
              <a:ext uri="{FF2B5EF4-FFF2-40B4-BE49-F238E27FC236}">
                <a16:creationId xmlns:a16="http://schemas.microsoft.com/office/drawing/2014/main" id="{866DDD0A-F524-4891-B328-0CB547FD0B62}"/>
              </a:ext>
              <a:ext uri="{C183D7F6-B498-43B3-948B-1728B52AA6E4}">
                <adec:decorative xmlns:adec="http://schemas.microsoft.com/office/drawing/2017/decorative" val="0"/>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666776" y="4530128"/>
            <a:ext cx="833360" cy="416680"/>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018E6A1-76F6-4ACC-915A-14B2B0CBB187}"/>
              </a:ext>
            </a:extLst>
          </p:cNvPr>
          <p:cNvSpPr txBox="1"/>
          <p:nvPr/>
        </p:nvSpPr>
        <p:spPr>
          <a:xfrm>
            <a:off x="4027468" y="1650633"/>
            <a:ext cx="3142087" cy="2099036"/>
          </a:xfrm>
          <a:prstGeom prst="rect">
            <a:avLst/>
          </a:prstGeom>
          <a:noFill/>
        </p:spPr>
        <p:txBody>
          <a:bodyPr wrap="square" lIns="182880" tIns="146304" rIns="182880" bIns="146304" rtlCol="0">
            <a:spAutoFit/>
          </a:bodyPr>
          <a:lstStyle/>
          <a:p>
            <a:pPr>
              <a:lnSpc>
                <a:spcPct val="90000"/>
              </a:lnSpc>
              <a:spcAft>
                <a:spcPts val="600"/>
              </a:spcAft>
            </a:pPr>
            <a:r>
              <a:rPr lang="en-US" sz="2000" spc="-102" dirty="0">
                <a:ln w="3175">
                  <a:noFill/>
                </a:ln>
                <a:solidFill>
                  <a:schemeClr val="accent1"/>
                </a:solidFill>
                <a:latin typeface="+mj-lt"/>
                <a:cs typeface="Segoe UI"/>
              </a:rPr>
              <a:t>Experience</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Software Developer</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Technical Consulting </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Microsoft Technical Trainer</a:t>
            </a:r>
          </a:p>
          <a:p>
            <a:pPr>
              <a:lnSpc>
                <a:spcPct val="90000"/>
              </a:lnSpc>
              <a:spcAft>
                <a:spcPts val="600"/>
              </a:spcAft>
            </a:pPr>
            <a:endParaRPr lang="en-US" sz="1600" dirty="0">
              <a:gradFill>
                <a:gsLst>
                  <a:gs pos="2917">
                    <a:schemeClr val="tx1"/>
                  </a:gs>
                  <a:gs pos="30000">
                    <a:schemeClr val="tx1"/>
                  </a:gs>
                </a:gsLst>
                <a:lin ang="5400000" scaled="0"/>
              </a:gradFill>
            </a:endParaRPr>
          </a:p>
        </p:txBody>
      </p:sp>
      <p:sp>
        <p:nvSpPr>
          <p:cNvPr id="68" name="TextBox 67">
            <a:extLst>
              <a:ext uri="{FF2B5EF4-FFF2-40B4-BE49-F238E27FC236}">
                <a16:creationId xmlns:a16="http://schemas.microsoft.com/office/drawing/2014/main" id="{B14BE501-53B5-4C0E-9837-641F7D8C421D}"/>
              </a:ext>
            </a:extLst>
          </p:cNvPr>
          <p:cNvSpPr txBox="1"/>
          <p:nvPr/>
        </p:nvSpPr>
        <p:spPr>
          <a:xfrm>
            <a:off x="4064906" y="3291102"/>
            <a:ext cx="3166663" cy="898708"/>
          </a:xfrm>
          <a:prstGeom prst="rect">
            <a:avLst/>
          </a:prstGeom>
          <a:noFill/>
        </p:spPr>
        <p:txBody>
          <a:bodyPr wrap="square" lIns="182880" tIns="146304" rIns="182880" bIns="146304" rtlCol="0">
            <a:spAutoFit/>
          </a:bodyPr>
          <a:lstStyle/>
          <a:p>
            <a:pPr>
              <a:lnSpc>
                <a:spcPct val="90000"/>
              </a:lnSpc>
              <a:spcAft>
                <a:spcPts val="600"/>
              </a:spcAft>
            </a:pPr>
            <a:r>
              <a:rPr lang="en-US" sz="2000" spc="-102" dirty="0">
                <a:ln w="3175">
                  <a:noFill/>
                </a:ln>
                <a:solidFill>
                  <a:schemeClr val="accent1"/>
                </a:solidFill>
                <a:latin typeface="+mj-lt"/>
                <a:cs typeface="Segoe UI"/>
              </a:rPr>
              <a:t>Location</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Dallas, TX United States</a:t>
            </a:r>
          </a:p>
        </p:txBody>
      </p:sp>
      <p:sp>
        <p:nvSpPr>
          <p:cNvPr id="67" name="TextBox 66">
            <a:extLst>
              <a:ext uri="{FF2B5EF4-FFF2-40B4-BE49-F238E27FC236}">
                <a16:creationId xmlns:a16="http://schemas.microsoft.com/office/drawing/2014/main" id="{A09CA8D9-2CC8-4876-A423-1721A3AA04C4}"/>
              </a:ext>
            </a:extLst>
          </p:cNvPr>
          <p:cNvSpPr txBox="1"/>
          <p:nvPr/>
        </p:nvSpPr>
        <p:spPr>
          <a:xfrm>
            <a:off x="7173097" y="1650633"/>
            <a:ext cx="4991106" cy="1551194"/>
          </a:xfrm>
          <a:prstGeom prst="rect">
            <a:avLst/>
          </a:prstGeom>
          <a:noFill/>
        </p:spPr>
        <p:txBody>
          <a:bodyPr wrap="square" lIns="182880" tIns="146304" rIns="182880" bIns="146304" rtlCol="0">
            <a:spAutoFit/>
          </a:bodyPr>
          <a:lstStyle/>
          <a:p>
            <a:pPr>
              <a:lnSpc>
                <a:spcPct val="90000"/>
              </a:lnSpc>
              <a:spcAft>
                <a:spcPts val="600"/>
              </a:spcAft>
            </a:pPr>
            <a:r>
              <a:rPr lang="en-US" sz="2000" spc="-102" dirty="0">
                <a:ln w="3175">
                  <a:noFill/>
                </a:ln>
                <a:solidFill>
                  <a:schemeClr val="accent1"/>
                </a:solidFill>
                <a:latin typeface="+mj-lt"/>
                <a:cs typeface="Segoe UI"/>
              </a:rPr>
              <a:t>Highlights</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Azure Fundamentals </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Azure AI Fundamentals </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Microsoft Certified Trainer </a:t>
            </a:r>
          </a:p>
        </p:txBody>
      </p:sp>
      <p:sp>
        <p:nvSpPr>
          <p:cNvPr id="69" name="TextBox 68">
            <a:extLst>
              <a:ext uri="{FF2B5EF4-FFF2-40B4-BE49-F238E27FC236}">
                <a16:creationId xmlns:a16="http://schemas.microsoft.com/office/drawing/2014/main" id="{AA377349-A71C-4005-8AC3-337BBC7FC049}"/>
              </a:ext>
            </a:extLst>
          </p:cNvPr>
          <p:cNvSpPr txBox="1"/>
          <p:nvPr/>
        </p:nvSpPr>
        <p:spPr>
          <a:xfrm>
            <a:off x="7169555" y="3288014"/>
            <a:ext cx="3746023" cy="898708"/>
          </a:xfrm>
          <a:prstGeom prst="rect">
            <a:avLst/>
          </a:prstGeom>
          <a:noFill/>
        </p:spPr>
        <p:txBody>
          <a:bodyPr wrap="square" lIns="182880" tIns="146304" rIns="182880" bIns="146304" rtlCol="0">
            <a:spAutoFit/>
          </a:bodyPr>
          <a:lstStyle/>
          <a:p>
            <a:pPr>
              <a:lnSpc>
                <a:spcPct val="90000"/>
              </a:lnSpc>
              <a:spcAft>
                <a:spcPts val="600"/>
              </a:spcAft>
            </a:pPr>
            <a:r>
              <a:rPr lang="en-US" sz="2000" spc="-102" dirty="0">
                <a:ln w="3175">
                  <a:noFill/>
                </a:ln>
                <a:solidFill>
                  <a:schemeClr val="accent1"/>
                </a:solidFill>
                <a:latin typeface="+mj-lt"/>
                <a:cs typeface="Segoe UI"/>
              </a:rPr>
              <a:t>Contact</a:t>
            </a:r>
          </a:p>
          <a:p>
            <a:pPr marL="342900" indent="-342900">
              <a:lnSpc>
                <a:spcPct val="90000"/>
              </a:lnSpc>
              <a:spcAft>
                <a:spcPts val="600"/>
              </a:spcAft>
              <a:buFont typeface="Arial" panose="020B0604020202020204" pitchFamily="34" charset="0"/>
              <a:buChar char="•"/>
            </a:pPr>
            <a:r>
              <a:rPr lang="en-US" sz="1800" dirty="0">
                <a:hlinkClick r:id="rId7"/>
              </a:rPr>
              <a:t>aka.ms/</a:t>
            </a:r>
            <a:r>
              <a:rPr lang="en-US" sz="1800" dirty="0" err="1">
                <a:hlinkClick r:id="rId7"/>
              </a:rPr>
              <a:t>MahlahMurray</a:t>
            </a:r>
            <a:endParaRPr lang="en-US" sz="1800" dirty="0">
              <a:hlinkClick r:id="rId7"/>
            </a:endParaRPr>
          </a:p>
        </p:txBody>
      </p:sp>
    </p:spTree>
    <p:extLst>
      <p:ext uri="{BB962C8B-B14F-4D97-AF65-F5344CB8AC3E}">
        <p14:creationId xmlns:p14="http://schemas.microsoft.com/office/powerpoint/2010/main" val="16161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5B93D8-A8C6-4CDE-9E07-180DA19F25E3}"/>
              </a:ext>
            </a:extLst>
          </p:cNvPr>
          <p:cNvSpPr>
            <a:spLocks noGrp="1"/>
          </p:cNvSpPr>
          <p:nvPr>
            <p:ph type="title"/>
          </p:nvPr>
        </p:nvSpPr>
        <p:spPr>
          <a:xfrm>
            <a:off x="274640" y="2125664"/>
            <a:ext cx="11887200" cy="1540806"/>
          </a:xfrm>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rPr>
              <a:t>Virtual Educator Prep Session expectations</a:t>
            </a:r>
          </a:p>
        </p:txBody>
      </p:sp>
    </p:spTree>
    <p:extLst>
      <p:ext uri="{BB962C8B-B14F-4D97-AF65-F5344CB8AC3E}">
        <p14:creationId xmlns:p14="http://schemas.microsoft.com/office/powerpoint/2010/main" val="258876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1C654-ED6E-483A-B52F-5A1C284C7E87}"/>
              </a:ext>
            </a:extLst>
          </p:cNvPr>
          <p:cNvSpPr>
            <a:spLocks noGrp="1"/>
          </p:cNvSpPr>
          <p:nvPr>
            <p:ph type="title"/>
          </p:nvPr>
        </p:nvSpPr>
        <p:spPr/>
        <p:txBody>
          <a:bodyPr/>
          <a:lstStyle/>
          <a:p>
            <a:r>
              <a:rPr lang="en-US" dirty="0">
                <a:solidFill>
                  <a:srgbClr val="002060"/>
                </a:solidFill>
              </a:rPr>
              <a:t>Introductions!</a:t>
            </a:r>
          </a:p>
        </p:txBody>
      </p:sp>
      <p:sp>
        <p:nvSpPr>
          <p:cNvPr id="8" name="TextBox 7">
            <a:extLst>
              <a:ext uri="{FF2B5EF4-FFF2-40B4-BE49-F238E27FC236}">
                <a16:creationId xmlns:a16="http://schemas.microsoft.com/office/drawing/2014/main" id="{700D153F-C831-461A-B8CF-6367CF20E6E8}"/>
              </a:ext>
            </a:extLst>
          </p:cNvPr>
          <p:cNvSpPr txBox="1"/>
          <p:nvPr/>
        </p:nvSpPr>
        <p:spPr>
          <a:xfrm>
            <a:off x="493160" y="1212851"/>
            <a:ext cx="5386769" cy="1908215"/>
          </a:xfrm>
          <a:prstGeom prst="rect">
            <a:avLst/>
          </a:prstGeom>
          <a:solidFill>
            <a:schemeClr val="bg1"/>
          </a:solidFill>
        </p:spPr>
        <p:txBody>
          <a:bodyPr wrap="square" lIns="182880" tIns="182880" rIns="182880" bIns="182880" rtlCol="0">
            <a:spAutoFit/>
          </a:bodyPr>
          <a:lstStyle/>
          <a:p>
            <a:pPr marL="342900" indent="-342900">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What excites you about Azure Fundamentals?</a:t>
            </a:r>
          </a:p>
          <a:p>
            <a:pPr marL="342900" indent="-342900">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Please tell us about your cloud</a:t>
            </a:r>
            <a:br>
              <a:rPr lang="en-US" sz="1800" dirty="0">
                <a:gradFill>
                  <a:gsLst>
                    <a:gs pos="2917">
                      <a:schemeClr val="tx1"/>
                    </a:gs>
                    <a:gs pos="30000">
                      <a:schemeClr val="tx1"/>
                    </a:gs>
                  </a:gsLst>
                  <a:lin ang="5400000" scaled="0"/>
                </a:gradFill>
              </a:rPr>
            </a:br>
            <a:r>
              <a:rPr lang="en-US" sz="1800" dirty="0">
                <a:gradFill>
                  <a:gsLst>
                    <a:gs pos="2917">
                      <a:schemeClr val="tx1"/>
                    </a:gs>
                    <a:gs pos="30000">
                      <a:schemeClr val="tx1"/>
                    </a:gs>
                  </a:gsLst>
                  <a:lin ang="5400000" scaled="0"/>
                </a:gradFill>
              </a:rPr>
              <a:t>experience.</a:t>
            </a:r>
          </a:p>
          <a:p>
            <a:pPr marL="342900" indent="-342900">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What are your expectations for this prep session?</a:t>
            </a:r>
          </a:p>
        </p:txBody>
      </p:sp>
      <p:pic>
        <p:nvPicPr>
          <p:cNvPr id="16" name="Picture 2">
            <a:extLst>
              <a:ext uri="{FF2B5EF4-FFF2-40B4-BE49-F238E27FC236}">
                <a16:creationId xmlns:a16="http://schemas.microsoft.com/office/drawing/2014/main" id="{4EBC8FF8-D4EB-495D-AF5A-2BA76A227922}"/>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6372" y="918757"/>
            <a:ext cx="1409700" cy="14001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a:extLst>
              <a:ext uri="{FF2B5EF4-FFF2-40B4-BE49-F238E27FC236}">
                <a16:creationId xmlns:a16="http://schemas.microsoft.com/office/drawing/2014/main" id="{51E274A6-FD27-4F3C-BB41-DC58F2AC039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59875" y="2439301"/>
            <a:ext cx="1409700" cy="140017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a:extLst>
              <a:ext uri="{FF2B5EF4-FFF2-40B4-BE49-F238E27FC236}">
                <a16:creationId xmlns:a16="http://schemas.microsoft.com/office/drawing/2014/main" id="{64F46D2D-9582-478E-8DDB-655EF5EF5A95}"/>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88454" y="2392079"/>
            <a:ext cx="1409700" cy="140017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a:extLst>
              <a:ext uri="{FF2B5EF4-FFF2-40B4-BE49-F238E27FC236}">
                <a16:creationId xmlns:a16="http://schemas.microsoft.com/office/drawing/2014/main" id="{6323C3F6-5C33-4313-8AAC-BE0C37BF7038}"/>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88454" y="918758"/>
            <a:ext cx="1409700" cy="14001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a:extLst>
              <a:ext uri="{FF2B5EF4-FFF2-40B4-BE49-F238E27FC236}">
                <a16:creationId xmlns:a16="http://schemas.microsoft.com/office/drawing/2014/main" id="{8A3493FD-A38E-4D61-94B8-196A636E465A}"/>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16372" y="2439302"/>
            <a:ext cx="1409700" cy="14001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a:extLst>
              <a:ext uri="{FF2B5EF4-FFF2-40B4-BE49-F238E27FC236}">
                <a16:creationId xmlns:a16="http://schemas.microsoft.com/office/drawing/2014/main" id="{167942DC-B008-46A4-8157-B8DC70A81087}"/>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033" y="3856542"/>
            <a:ext cx="1409700" cy="140017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2" name="Picture 14">
            <a:extLst>
              <a:ext uri="{FF2B5EF4-FFF2-40B4-BE49-F238E27FC236}">
                <a16:creationId xmlns:a16="http://schemas.microsoft.com/office/drawing/2014/main" id="{FB859CBE-5BE6-4992-A88A-DE13A0E66B8D}"/>
              </a:ext>
              <a:ext uri="{C183D7F6-B498-43B3-948B-1728B52AA6E4}">
                <adec:decorative xmlns:adec="http://schemas.microsoft.com/office/drawing/2017/decorative" val="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59875" y="918757"/>
            <a:ext cx="1409700" cy="140017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a:extLst>
              <a:ext uri="{FF2B5EF4-FFF2-40B4-BE49-F238E27FC236}">
                <a16:creationId xmlns:a16="http://schemas.microsoft.com/office/drawing/2014/main" id="{97F168C7-A476-4820-B5F1-6D424449D5F5}"/>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59875" y="3912626"/>
            <a:ext cx="1409700" cy="14001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a:extLst>
              <a:ext uri="{FF2B5EF4-FFF2-40B4-BE49-F238E27FC236}">
                <a16:creationId xmlns:a16="http://schemas.microsoft.com/office/drawing/2014/main" id="{F33BEA42-9C2D-41F7-9989-F759654D8A1C}"/>
              </a:ext>
              <a:ext uri="{C183D7F6-B498-43B3-948B-1728B52AA6E4}">
                <adec:decorative xmlns:adec="http://schemas.microsoft.com/office/drawing/2017/decorative" val="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88454" y="3912626"/>
            <a:ext cx="1409700" cy="1400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83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4A2C5-48DE-47FF-913A-BD2A653AA3FC}"/>
              </a:ext>
            </a:extLst>
          </p:cNvPr>
          <p:cNvSpPr>
            <a:spLocks noGrp="1"/>
          </p:cNvSpPr>
          <p:nvPr>
            <p:ph type="title"/>
          </p:nvPr>
        </p:nvSpPr>
        <p:spPr/>
        <p:txBody>
          <a:bodyPr/>
          <a:lstStyle/>
          <a:p>
            <a:r>
              <a:rPr lang="en-US" dirty="0">
                <a:solidFill>
                  <a:srgbClr val="002060"/>
                </a:solidFill>
              </a:rPr>
              <a:t>Virtual Educator Prep Session agenda</a:t>
            </a:r>
            <a:endParaRPr lang="en-US" dirty="0">
              <a:solidFill>
                <a:srgbClr val="274B47"/>
              </a:solidFill>
            </a:endParaRPr>
          </a:p>
        </p:txBody>
      </p:sp>
      <p:sp>
        <p:nvSpPr>
          <p:cNvPr id="30" name="TextBox 29">
            <a:extLst>
              <a:ext uri="{FF2B5EF4-FFF2-40B4-BE49-F238E27FC236}">
                <a16:creationId xmlns:a16="http://schemas.microsoft.com/office/drawing/2014/main" id="{786864CA-4B26-409E-B997-B9D5C17C4FA9}"/>
              </a:ext>
            </a:extLst>
          </p:cNvPr>
          <p:cNvSpPr txBox="1"/>
          <p:nvPr/>
        </p:nvSpPr>
        <p:spPr>
          <a:xfrm>
            <a:off x="514908" y="1380390"/>
            <a:ext cx="6839712" cy="3831818"/>
          </a:xfrm>
          <a:prstGeom prst="rect">
            <a:avLst/>
          </a:prstGeom>
          <a:solidFill>
            <a:schemeClr val="bg1"/>
          </a:solidFill>
        </p:spPr>
        <p:txBody>
          <a:bodyPr wrap="square" lIns="182880" tIns="182880" rIns="182880" bIns="182880" rtlCol="0">
            <a:spAutoFit/>
          </a:bodyPr>
          <a:lstStyle/>
          <a:p>
            <a:pPr marL="457200" indent="-457200" defTabSz="951028" fontAlgn="base">
              <a:spcBef>
                <a:spcPct val="0"/>
              </a:spcBef>
              <a:spcAft>
                <a:spcPts val="600"/>
              </a:spcAft>
              <a:buFont typeface="Arial" panose="020B0604020202020204" pitchFamily="34" charset="0"/>
              <a:buChar char="•"/>
            </a:pPr>
            <a:r>
              <a:rPr lang="en-US" sz="1800">
                <a:gradFill>
                  <a:gsLst>
                    <a:gs pos="2917">
                      <a:schemeClr val="tx1"/>
                    </a:gs>
                    <a:gs pos="30000">
                      <a:schemeClr val="tx1"/>
                    </a:gs>
                  </a:gsLst>
                  <a:lin ang="5400000" scaled="0"/>
                </a:gradFill>
              </a:rPr>
              <a:t>Resources</a:t>
            </a:r>
            <a:endParaRPr lang="en-US" sz="1800" dirty="0">
              <a:gradFill>
                <a:gsLst>
                  <a:gs pos="2917">
                    <a:schemeClr val="tx1"/>
                  </a:gs>
                  <a:gs pos="30000">
                    <a:schemeClr val="tx1"/>
                  </a:gs>
                </a:gsLst>
                <a:lin ang="5400000" scaled="0"/>
              </a:gradFill>
            </a:endParaRP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Accessibility</a:t>
            </a: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Overall approach</a:t>
            </a: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Technical requirements</a:t>
            </a: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Course flow</a:t>
            </a: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Module best practices</a:t>
            </a: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Demos</a:t>
            </a: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Lab strategies</a:t>
            </a: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Supplemental materials</a:t>
            </a:r>
          </a:p>
          <a:p>
            <a:pPr marL="457200" indent="-457200" defTabSz="951028" fontAlgn="base">
              <a:spcBef>
                <a:spcPct val="0"/>
              </a:spcBef>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Exam preparation</a:t>
            </a:r>
          </a:p>
        </p:txBody>
      </p:sp>
      <p:grpSp>
        <p:nvGrpSpPr>
          <p:cNvPr id="15" name="Group 14" descr="An illustration of a student working on a laptop connecting to a cloud with an iconography charts">
            <a:extLst>
              <a:ext uri="{FF2B5EF4-FFF2-40B4-BE49-F238E27FC236}">
                <a16:creationId xmlns:a16="http://schemas.microsoft.com/office/drawing/2014/main" id="{A2EA1254-8978-4C94-AF73-5D30B4ACC6FE}"/>
              </a:ext>
            </a:extLst>
          </p:cNvPr>
          <p:cNvGrpSpPr/>
          <p:nvPr/>
        </p:nvGrpSpPr>
        <p:grpSpPr>
          <a:xfrm>
            <a:off x="8288939" y="987977"/>
            <a:ext cx="3433103" cy="3444036"/>
            <a:chOff x="8393828" y="2211887"/>
            <a:chExt cx="3433103" cy="3444036"/>
          </a:xfrm>
        </p:grpSpPr>
        <p:sp>
          <p:nvSpPr>
            <p:cNvPr id="16" name="Freeform: Shape 15">
              <a:extLst>
                <a:ext uri="{FF2B5EF4-FFF2-40B4-BE49-F238E27FC236}">
                  <a16:creationId xmlns:a16="http://schemas.microsoft.com/office/drawing/2014/main" id="{94CDB497-9EF2-4C4E-A013-D06A80A1C6D8}"/>
                </a:ext>
                <a:ext uri="{C183D7F6-B498-43B3-948B-1728B52AA6E4}">
                  <adec:decorative xmlns:adec="http://schemas.microsoft.com/office/drawing/2017/decorative" val="1"/>
                </a:ext>
              </a:extLst>
            </p:cNvPr>
            <p:cNvSpPr/>
            <p:nvPr/>
          </p:nvSpPr>
          <p:spPr>
            <a:xfrm>
              <a:off x="9526139" y="5617169"/>
              <a:ext cx="2286000" cy="38754"/>
            </a:xfrm>
            <a:custGeom>
              <a:avLst/>
              <a:gdLst>
                <a:gd name="connsiteX0" fmla="*/ 20156 w 3979225"/>
                <a:gd name="connsiteY0" fmla="*/ 0 h 40312"/>
                <a:gd name="connsiteX1" fmla="*/ 3959069 w 3979225"/>
                <a:gd name="connsiteY1" fmla="*/ 0 h 40312"/>
                <a:gd name="connsiteX2" fmla="*/ 3979225 w 3979225"/>
                <a:gd name="connsiteY2" fmla="*/ 20156 h 40312"/>
                <a:gd name="connsiteX3" fmla="*/ 3959069 w 3979225"/>
                <a:gd name="connsiteY3" fmla="*/ 40313 h 40312"/>
                <a:gd name="connsiteX4" fmla="*/ 20156 w 3979225"/>
                <a:gd name="connsiteY4" fmla="*/ 40313 h 40312"/>
                <a:gd name="connsiteX5" fmla="*/ 0 w 3979225"/>
                <a:gd name="connsiteY5" fmla="*/ 20156 h 40312"/>
                <a:gd name="connsiteX6" fmla="*/ 20156 w 3979225"/>
                <a:gd name="connsiteY6" fmla="*/ 0 h 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225" h="40312">
                  <a:moveTo>
                    <a:pt x="20156" y="0"/>
                  </a:moveTo>
                  <a:lnTo>
                    <a:pt x="3959069" y="0"/>
                  </a:lnTo>
                  <a:cubicBezTo>
                    <a:pt x="3970319" y="0"/>
                    <a:pt x="3979225" y="8906"/>
                    <a:pt x="3979225" y="20156"/>
                  </a:cubicBezTo>
                  <a:cubicBezTo>
                    <a:pt x="3979225" y="31406"/>
                    <a:pt x="3970319" y="40313"/>
                    <a:pt x="3959069" y="40313"/>
                  </a:cubicBezTo>
                  <a:lnTo>
                    <a:pt x="20156" y="40313"/>
                  </a:lnTo>
                  <a:cubicBezTo>
                    <a:pt x="8906" y="40313"/>
                    <a:pt x="0" y="31406"/>
                    <a:pt x="0" y="20156"/>
                  </a:cubicBezTo>
                  <a:cubicBezTo>
                    <a:pt x="0" y="9375"/>
                    <a:pt x="8906" y="0"/>
                    <a:pt x="20156" y="0"/>
                  </a:cubicBezTo>
                </a:path>
              </a:pathLst>
            </a:custGeom>
            <a:solidFill>
              <a:srgbClr val="D2D2D2"/>
            </a:solidFill>
            <a:ln w="46819" cap="flat">
              <a:noFill/>
              <a:prstDash val="solid"/>
              <a:miter/>
            </a:ln>
          </p:spPr>
          <p:txBody>
            <a:bodyPr rtlCol="0" anchor="ctr"/>
            <a:lstStyle/>
            <a:p>
              <a:endParaRPr lang="en-US"/>
            </a:p>
          </p:txBody>
        </p:sp>
        <p:sp>
          <p:nvSpPr>
            <p:cNvPr id="17" name="Oval 101">
              <a:extLst>
                <a:ext uri="{FF2B5EF4-FFF2-40B4-BE49-F238E27FC236}">
                  <a16:creationId xmlns:a16="http://schemas.microsoft.com/office/drawing/2014/main" id="{2D4593D1-88D3-47AA-951A-C76348F41040}"/>
                </a:ext>
                <a:ext uri="{C183D7F6-B498-43B3-948B-1728B52AA6E4}">
                  <adec:decorative xmlns:adec="http://schemas.microsoft.com/office/drawing/2017/decorative" val="1"/>
                </a:ext>
              </a:extLst>
            </p:cNvPr>
            <p:cNvSpPr>
              <a:spLocks noChangeArrowheads="1"/>
            </p:cNvSpPr>
            <p:nvPr/>
          </p:nvSpPr>
          <p:spPr bwMode="auto">
            <a:xfrm>
              <a:off x="11013288" y="2211887"/>
              <a:ext cx="677103" cy="67563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18" name="Freeform 102">
              <a:extLst>
                <a:ext uri="{FF2B5EF4-FFF2-40B4-BE49-F238E27FC236}">
                  <a16:creationId xmlns:a16="http://schemas.microsoft.com/office/drawing/2014/main" id="{E9482DC8-965C-4743-8B24-12B4F9C4EC10}"/>
                </a:ext>
                <a:ext uri="{C183D7F6-B498-43B3-948B-1728B52AA6E4}">
                  <adec:decorative xmlns:adec="http://schemas.microsoft.com/office/drawing/2017/decorative" val="1"/>
                </a:ext>
              </a:extLst>
            </p:cNvPr>
            <p:cNvSpPr>
              <a:spLocks/>
            </p:cNvSpPr>
            <p:nvPr/>
          </p:nvSpPr>
          <p:spPr bwMode="auto">
            <a:xfrm>
              <a:off x="11356537" y="2219681"/>
              <a:ext cx="338920" cy="337449"/>
            </a:xfrm>
            <a:custGeom>
              <a:avLst/>
              <a:gdLst>
                <a:gd name="T0" fmla="*/ 0 w 1098"/>
                <a:gd name="T1" fmla="*/ 0 h 1098"/>
                <a:gd name="T2" fmla="*/ 0 w 1098"/>
                <a:gd name="T3" fmla="*/ 1098 h 1098"/>
                <a:gd name="T4" fmla="*/ 1098 w 1098"/>
                <a:gd name="T5" fmla="*/ 1098 h 1098"/>
                <a:gd name="T6" fmla="*/ 1098 w 1098"/>
                <a:gd name="T7" fmla="*/ 1098 h 1098"/>
                <a:gd name="T8" fmla="*/ 24 w 1098"/>
                <a:gd name="T9" fmla="*/ 0 h 1098"/>
                <a:gd name="T10" fmla="*/ 0 w 1098"/>
                <a:gd name="T11" fmla="*/ 0 h 1098"/>
              </a:gdLst>
              <a:ahLst/>
              <a:cxnLst>
                <a:cxn ang="0">
                  <a:pos x="T0" y="T1"/>
                </a:cxn>
                <a:cxn ang="0">
                  <a:pos x="T2" y="T3"/>
                </a:cxn>
                <a:cxn ang="0">
                  <a:pos x="T4" y="T5"/>
                </a:cxn>
                <a:cxn ang="0">
                  <a:pos x="T6" y="T7"/>
                </a:cxn>
                <a:cxn ang="0">
                  <a:pos x="T8" y="T9"/>
                </a:cxn>
                <a:cxn ang="0">
                  <a:pos x="T10" y="T11"/>
                </a:cxn>
              </a:cxnLst>
              <a:rect l="0" t="0" r="r" b="b"/>
              <a:pathLst>
                <a:path w="1098" h="1098">
                  <a:moveTo>
                    <a:pt x="0" y="0"/>
                  </a:moveTo>
                  <a:cubicBezTo>
                    <a:pt x="0" y="1098"/>
                    <a:pt x="0" y="1098"/>
                    <a:pt x="0" y="1098"/>
                  </a:cubicBezTo>
                  <a:cubicBezTo>
                    <a:pt x="1098" y="1098"/>
                    <a:pt x="1098" y="1098"/>
                    <a:pt x="1098" y="1098"/>
                  </a:cubicBezTo>
                  <a:cubicBezTo>
                    <a:pt x="1098" y="1098"/>
                    <a:pt x="1098" y="1098"/>
                    <a:pt x="1098" y="1098"/>
                  </a:cubicBezTo>
                  <a:cubicBezTo>
                    <a:pt x="1098" y="501"/>
                    <a:pt x="621" y="13"/>
                    <a:pt x="24" y="0"/>
                  </a:cubicBezTo>
                  <a:lnTo>
                    <a:pt x="0"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19" name="Freeform 103">
              <a:extLst>
                <a:ext uri="{FF2B5EF4-FFF2-40B4-BE49-F238E27FC236}">
                  <a16:creationId xmlns:a16="http://schemas.microsoft.com/office/drawing/2014/main" id="{59844D57-02BC-47DC-BAFE-52DB6D272796}"/>
                </a:ext>
                <a:ext uri="{C183D7F6-B498-43B3-948B-1728B52AA6E4}">
                  <adec:decorative xmlns:adec="http://schemas.microsoft.com/office/drawing/2017/decorative" val="1"/>
                </a:ext>
              </a:extLst>
            </p:cNvPr>
            <p:cNvSpPr>
              <a:spLocks/>
            </p:cNvSpPr>
            <p:nvPr/>
          </p:nvSpPr>
          <p:spPr bwMode="auto">
            <a:xfrm>
              <a:off x="11360513" y="2553153"/>
              <a:ext cx="289663" cy="266871"/>
            </a:xfrm>
            <a:custGeom>
              <a:avLst/>
              <a:gdLst>
                <a:gd name="T0" fmla="*/ 0 w 940"/>
                <a:gd name="T1" fmla="*/ 0 h 867"/>
                <a:gd name="T2" fmla="*/ 674 w 940"/>
                <a:gd name="T3" fmla="*/ 867 h 867"/>
                <a:gd name="T4" fmla="*/ 940 w 940"/>
                <a:gd name="T5" fmla="*/ 568 h 867"/>
                <a:gd name="T6" fmla="*/ 0 w 940"/>
                <a:gd name="T7" fmla="*/ 0 h 867"/>
              </a:gdLst>
              <a:ahLst/>
              <a:cxnLst>
                <a:cxn ang="0">
                  <a:pos x="T0" y="T1"/>
                </a:cxn>
                <a:cxn ang="0">
                  <a:pos x="T2" y="T3"/>
                </a:cxn>
                <a:cxn ang="0">
                  <a:pos x="T4" y="T5"/>
                </a:cxn>
                <a:cxn ang="0">
                  <a:pos x="T6" y="T7"/>
                </a:cxn>
              </a:cxnLst>
              <a:rect l="0" t="0" r="r" b="b"/>
              <a:pathLst>
                <a:path w="940" h="867">
                  <a:moveTo>
                    <a:pt x="0" y="0"/>
                  </a:moveTo>
                  <a:cubicBezTo>
                    <a:pt x="674" y="867"/>
                    <a:pt x="674" y="867"/>
                    <a:pt x="674" y="867"/>
                  </a:cubicBezTo>
                  <a:cubicBezTo>
                    <a:pt x="674" y="867"/>
                    <a:pt x="861" y="727"/>
                    <a:pt x="940" y="568"/>
                  </a:cubicBezTo>
                  <a:cubicBezTo>
                    <a:pt x="0" y="0"/>
                    <a:pt x="0" y="0"/>
                    <a:pt x="0"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0" name="Freeform 104">
              <a:extLst>
                <a:ext uri="{FF2B5EF4-FFF2-40B4-BE49-F238E27FC236}">
                  <a16:creationId xmlns:a16="http://schemas.microsoft.com/office/drawing/2014/main" id="{6DF771E3-CD98-4C76-920D-3E76D5226377}"/>
                </a:ext>
                <a:ext uri="{C183D7F6-B498-43B3-948B-1728B52AA6E4}">
                  <adec:decorative xmlns:adec="http://schemas.microsoft.com/office/drawing/2017/decorative" val="1"/>
                </a:ext>
              </a:extLst>
            </p:cNvPr>
            <p:cNvSpPr>
              <a:spLocks/>
            </p:cNvSpPr>
            <p:nvPr/>
          </p:nvSpPr>
          <p:spPr bwMode="auto">
            <a:xfrm>
              <a:off x="11356539" y="2557130"/>
              <a:ext cx="341859" cy="174974"/>
            </a:xfrm>
            <a:custGeom>
              <a:avLst/>
              <a:gdLst>
                <a:gd name="T0" fmla="*/ 940 w 1109"/>
                <a:gd name="T1" fmla="*/ 568 h 568"/>
                <a:gd name="T2" fmla="*/ 0 w 1109"/>
                <a:gd name="T3" fmla="*/ 0 h 568"/>
                <a:gd name="T4" fmla="*/ 1098 w 1109"/>
                <a:gd name="T5" fmla="*/ 0 h 568"/>
                <a:gd name="T6" fmla="*/ 940 w 1109"/>
                <a:gd name="T7" fmla="*/ 568 h 568"/>
              </a:gdLst>
              <a:ahLst/>
              <a:cxnLst>
                <a:cxn ang="0">
                  <a:pos x="T0" y="T1"/>
                </a:cxn>
                <a:cxn ang="0">
                  <a:pos x="T2" y="T3"/>
                </a:cxn>
                <a:cxn ang="0">
                  <a:pos x="T4" y="T5"/>
                </a:cxn>
                <a:cxn ang="0">
                  <a:pos x="T6" y="T7"/>
                </a:cxn>
              </a:cxnLst>
              <a:rect l="0" t="0" r="r" b="b"/>
              <a:pathLst>
                <a:path w="1109" h="568">
                  <a:moveTo>
                    <a:pt x="940" y="568"/>
                  </a:moveTo>
                  <a:cubicBezTo>
                    <a:pt x="0" y="0"/>
                    <a:pt x="0" y="0"/>
                    <a:pt x="0" y="0"/>
                  </a:cubicBezTo>
                  <a:cubicBezTo>
                    <a:pt x="1098" y="0"/>
                    <a:pt x="1098" y="0"/>
                    <a:pt x="1098" y="0"/>
                  </a:cubicBezTo>
                  <a:cubicBezTo>
                    <a:pt x="1098" y="0"/>
                    <a:pt x="1109" y="353"/>
                    <a:pt x="940" y="568"/>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1" name="Rectangle 98">
              <a:extLst>
                <a:ext uri="{FF2B5EF4-FFF2-40B4-BE49-F238E27FC236}">
                  <a16:creationId xmlns:a16="http://schemas.microsoft.com/office/drawing/2014/main" id="{96B470C2-452D-467D-B988-C6B3CF42ADCA}"/>
                </a:ext>
                <a:ext uri="{C183D7F6-B498-43B3-948B-1728B52AA6E4}">
                  <adec:decorative xmlns:adec="http://schemas.microsoft.com/office/drawing/2017/decorative" val="1"/>
                </a:ext>
              </a:extLst>
            </p:cNvPr>
            <p:cNvSpPr>
              <a:spLocks noChangeArrowheads="1"/>
            </p:cNvSpPr>
            <p:nvPr/>
          </p:nvSpPr>
          <p:spPr bwMode="auto">
            <a:xfrm>
              <a:off x="9919742" y="2782569"/>
              <a:ext cx="172611" cy="534320"/>
            </a:xfrm>
            <a:prstGeom prst="rect">
              <a:avLst/>
            </a:prstGeom>
            <a:solidFill>
              <a:srgbClr val="939393"/>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2" name="Rectangle 99">
              <a:extLst>
                <a:ext uri="{FF2B5EF4-FFF2-40B4-BE49-F238E27FC236}">
                  <a16:creationId xmlns:a16="http://schemas.microsoft.com/office/drawing/2014/main" id="{3FE4D5C7-974F-41BD-AD1D-2FB0F361FB27}"/>
                </a:ext>
                <a:ext uri="{C183D7F6-B498-43B3-948B-1728B52AA6E4}">
                  <adec:decorative xmlns:adec="http://schemas.microsoft.com/office/drawing/2017/decorative" val="1"/>
                </a:ext>
              </a:extLst>
            </p:cNvPr>
            <p:cNvSpPr>
              <a:spLocks noChangeArrowheads="1"/>
            </p:cNvSpPr>
            <p:nvPr/>
          </p:nvSpPr>
          <p:spPr bwMode="auto">
            <a:xfrm>
              <a:off x="10144719" y="2625473"/>
              <a:ext cx="171641" cy="691415"/>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3" name="Rectangle 100">
              <a:extLst>
                <a:ext uri="{FF2B5EF4-FFF2-40B4-BE49-F238E27FC236}">
                  <a16:creationId xmlns:a16="http://schemas.microsoft.com/office/drawing/2014/main" id="{014E1737-C704-4751-80E5-C62216F04121}"/>
                </a:ext>
                <a:ext uri="{C183D7F6-B498-43B3-948B-1728B52AA6E4}">
                  <adec:decorative xmlns:adec="http://schemas.microsoft.com/office/drawing/2017/decorative" val="1"/>
                </a:ext>
              </a:extLst>
            </p:cNvPr>
            <p:cNvSpPr>
              <a:spLocks noChangeArrowheads="1"/>
            </p:cNvSpPr>
            <p:nvPr/>
          </p:nvSpPr>
          <p:spPr bwMode="auto">
            <a:xfrm>
              <a:off x="10368726" y="2389829"/>
              <a:ext cx="172611" cy="927058"/>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4" name="Freeform 105">
              <a:extLst>
                <a:ext uri="{FF2B5EF4-FFF2-40B4-BE49-F238E27FC236}">
                  <a16:creationId xmlns:a16="http://schemas.microsoft.com/office/drawing/2014/main" id="{4205AEF9-FE6E-42C0-938B-BD4D1A1839F6}"/>
                </a:ext>
                <a:ext uri="{C183D7F6-B498-43B3-948B-1728B52AA6E4}">
                  <adec:decorative xmlns:adec="http://schemas.microsoft.com/office/drawing/2017/decorative" val="1"/>
                </a:ext>
              </a:extLst>
            </p:cNvPr>
            <p:cNvSpPr>
              <a:spLocks/>
            </p:cNvSpPr>
            <p:nvPr/>
          </p:nvSpPr>
          <p:spPr bwMode="auto">
            <a:xfrm>
              <a:off x="9696048" y="2652864"/>
              <a:ext cx="2130883" cy="1080871"/>
            </a:xfrm>
            <a:custGeom>
              <a:avLst/>
              <a:gdLst>
                <a:gd name="T0" fmla="*/ 5176 w 5929"/>
                <a:gd name="T1" fmla="*/ 1506 h 3012"/>
                <a:gd name="T2" fmla="*/ 4855 w 5929"/>
                <a:gd name="T3" fmla="*/ 1579 h 3012"/>
                <a:gd name="T4" fmla="*/ 4857 w 5929"/>
                <a:gd name="T5" fmla="*/ 1506 h 3012"/>
                <a:gd name="T6" fmla="*/ 3351 w 5929"/>
                <a:gd name="T7" fmla="*/ 0 h 3012"/>
                <a:gd name="T8" fmla="*/ 1851 w 5929"/>
                <a:gd name="T9" fmla="*/ 1372 h 3012"/>
                <a:gd name="T10" fmla="*/ 1027 w 5929"/>
                <a:gd name="T11" fmla="*/ 957 h 3012"/>
                <a:gd name="T12" fmla="*/ 0 w 5929"/>
                <a:gd name="T13" fmla="*/ 1985 h 3012"/>
                <a:gd name="T14" fmla="*/ 1027 w 5929"/>
                <a:gd name="T15" fmla="*/ 3012 h 3012"/>
                <a:gd name="T16" fmla="*/ 5176 w 5929"/>
                <a:gd name="T17" fmla="*/ 3012 h 3012"/>
                <a:gd name="T18" fmla="*/ 5929 w 5929"/>
                <a:gd name="T19" fmla="*/ 2259 h 3012"/>
                <a:gd name="T20" fmla="*/ 5176 w 5929"/>
                <a:gd name="T21" fmla="*/ 150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9" h="3012">
                  <a:moveTo>
                    <a:pt x="5176" y="1506"/>
                  </a:moveTo>
                  <a:cubicBezTo>
                    <a:pt x="5061" y="1506"/>
                    <a:pt x="4952" y="1533"/>
                    <a:pt x="4855" y="1579"/>
                  </a:cubicBezTo>
                  <a:cubicBezTo>
                    <a:pt x="4856" y="1555"/>
                    <a:pt x="4857" y="1531"/>
                    <a:pt x="4857" y="1506"/>
                  </a:cubicBezTo>
                  <a:cubicBezTo>
                    <a:pt x="4857" y="675"/>
                    <a:pt x="4182" y="0"/>
                    <a:pt x="3351" y="0"/>
                  </a:cubicBezTo>
                  <a:cubicBezTo>
                    <a:pt x="2565" y="0"/>
                    <a:pt x="1919" y="603"/>
                    <a:pt x="1851" y="1372"/>
                  </a:cubicBezTo>
                  <a:cubicBezTo>
                    <a:pt x="1664" y="1120"/>
                    <a:pt x="1365" y="957"/>
                    <a:pt x="1027" y="957"/>
                  </a:cubicBezTo>
                  <a:cubicBezTo>
                    <a:pt x="460" y="957"/>
                    <a:pt x="0" y="1417"/>
                    <a:pt x="0" y="1985"/>
                  </a:cubicBezTo>
                  <a:cubicBezTo>
                    <a:pt x="0" y="2552"/>
                    <a:pt x="460" y="3012"/>
                    <a:pt x="1027" y="3012"/>
                  </a:cubicBezTo>
                  <a:cubicBezTo>
                    <a:pt x="1512" y="3012"/>
                    <a:pt x="4850" y="3012"/>
                    <a:pt x="5176" y="3012"/>
                  </a:cubicBezTo>
                  <a:cubicBezTo>
                    <a:pt x="5592" y="3012"/>
                    <a:pt x="5929" y="2675"/>
                    <a:pt x="5929" y="2259"/>
                  </a:cubicBezTo>
                  <a:cubicBezTo>
                    <a:pt x="5929" y="1843"/>
                    <a:pt x="5592" y="1506"/>
                    <a:pt x="5176" y="15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5" name="Freeform 720">
              <a:extLst>
                <a:ext uri="{FF2B5EF4-FFF2-40B4-BE49-F238E27FC236}">
                  <a16:creationId xmlns:a16="http://schemas.microsoft.com/office/drawing/2014/main" id="{28CEE729-C4A1-4419-910A-AF4572FBD576}"/>
                </a:ext>
                <a:ext uri="{C183D7F6-B498-43B3-948B-1728B52AA6E4}">
                  <adec:decorative xmlns:adec="http://schemas.microsoft.com/office/drawing/2017/decorative" val="1"/>
                </a:ext>
              </a:extLst>
            </p:cNvPr>
            <p:cNvSpPr>
              <a:spLocks/>
            </p:cNvSpPr>
            <p:nvPr/>
          </p:nvSpPr>
          <p:spPr bwMode="auto">
            <a:xfrm flipH="1">
              <a:off x="10988587" y="5062907"/>
              <a:ext cx="194690" cy="472569"/>
            </a:xfrm>
            <a:custGeom>
              <a:avLst/>
              <a:gdLst>
                <a:gd name="T0" fmla="*/ 1876 w 1876"/>
                <a:gd name="T1" fmla="*/ 3711 h 4559"/>
                <a:gd name="T2" fmla="*/ 1810 w 1876"/>
                <a:gd name="T3" fmla="*/ 2214 h 4559"/>
                <a:gd name="T4" fmla="*/ 1720 w 1876"/>
                <a:gd name="T5" fmla="*/ 2214 h 4559"/>
                <a:gd name="T6" fmla="*/ 1720 w 1876"/>
                <a:gd name="T7" fmla="*/ 1916 h 4559"/>
                <a:gd name="T8" fmla="*/ 1656 w 1876"/>
                <a:gd name="T9" fmla="*/ 1916 h 4559"/>
                <a:gd name="T10" fmla="*/ 1656 w 1876"/>
                <a:gd name="T11" fmla="*/ 0 h 4559"/>
                <a:gd name="T12" fmla="*/ 1129 w 1876"/>
                <a:gd name="T13" fmla="*/ 0 h 4559"/>
                <a:gd name="T14" fmla="*/ 1129 w 1876"/>
                <a:gd name="T15" fmla="*/ 1024 h 4559"/>
                <a:gd name="T16" fmla="*/ 712 w 1876"/>
                <a:gd name="T17" fmla="*/ 1024 h 4559"/>
                <a:gd name="T18" fmla="*/ 198 w 1876"/>
                <a:gd name="T19" fmla="*/ 1538 h 4559"/>
                <a:gd name="T20" fmla="*/ 198 w 1876"/>
                <a:gd name="T21" fmla="*/ 1671 h 4559"/>
                <a:gd name="T22" fmla="*/ 2 w 1876"/>
                <a:gd name="T23" fmla="*/ 2185 h 4559"/>
                <a:gd name="T24" fmla="*/ 56 w 1876"/>
                <a:gd name="T25" fmla="*/ 2244 h 4559"/>
                <a:gd name="T26" fmla="*/ 505 w 1876"/>
                <a:gd name="T27" fmla="*/ 2244 h 4559"/>
                <a:gd name="T28" fmla="*/ 559 w 1876"/>
                <a:gd name="T29" fmla="*/ 2185 h 4559"/>
                <a:gd name="T30" fmla="*/ 363 w 1876"/>
                <a:gd name="T31" fmla="*/ 1671 h 4559"/>
                <a:gd name="T32" fmla="*/ 363 w 1876"/>
                <a:gd name="T33" fmla="*/ 1538 h 4559"/>
                <a:gd name="T34" fmla="*/ 712 w 1876"/>
                <a:gd name="T35" fmla="*/ 1190 h 4559"/>
                <a:gd name="T36" fmla="*/ 1129 w 1876"/>
                <a:gd name="T37" fmla="*/ 1190 h 4559"/>
                <a:gd name="T38" fmla="*/ 1129 w 1876"/>
                <a:gd name="T39" fmla="*/ 1916 h 4559"/>
                <a:gd name="T40" fmla="*/ 1064 w 1876"/>
                <a:gd name="T41" fmla="*/ 1916 h 4559"/>
                <a:gd name="T42" fmla="*/ 1064 w 1876"/>
                <a:gd name="T43" fmla="*/ 2214 h 4559"/>
                <a:gd name="T44" fmla="*/ 975 w 1876"/>
                <a:gd name="T45" fmla="*/ 2214 h 4559"/>
                <a:gd name="T46" fmla="*/ 908 w 1876"/>
                <a:gd name="T47" fmla="*/ 3711 h 4559"/>
                <a:gd name="T48" fmla="*/ 1064 w 1876"/>
                <a:gd name="T49" fmla="*/ 3711 h 4559"/>
                <a:gd name="T50" fmla="*/ 1064 w 1876"/>
                <a:gd name="T51" fmla="*/ 4559 h 4559"/>
                <a:gd name="T52" fmla="*/ 1720 w 1876"/>
                <a:gd name="T53" fmla="*/ 4559 h 4559"/>
                <a:gd name="T54" fmla="*/ 1720 w 1876"/>
                <a:gd name="T55" fmla="*/ 3711 h 4559"/>
                <a:gd name="T56" fmla="*/ 1876 w 1876"/>
                <a:gd name="T57" fmla="*/ 3711 h 4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76" h="4559">
                  <a:moveTo>
                    <a:pt x="1876" y="3711"/>
                  </a:moveTo>
                  <a:cubicBezTo>
                    <a:pt x="1810" y="2214"/>
                    <a:pt x="1810" y="2214"/>
                    <a:pt x="1810" y="2214"/>
                  </a:cubicBezTo>
                  <a:cubicBezTo>
                    <a:pt x="1720" y="2214"/>
                    <a:pt x="1720" y="2214"/>
                    <a:pt x="1720" y="2214"/>
                  </a:cubicBezTo>
                  <a:cubicBezTo>
                    <a:pt x="1720" y="1916"/>
                    <a:pt x="1720" y="1916"/>
                    <a:pt x="1720" y="1916"/>
                  </a:cubicBezTo>
                  <a:cubicBezTo>
                    <a:pt x="1656" y="1916"/>
                    <a:pt x="1656" y="1916"/>
                    <a:pt x="1656" y="1916"/>
                  </a:cubicBezTo>
                  <a:cubicBezTo>
                    <a:pt x="1656" y="0"/>
                    <a:pt x="1656" y="0"/>
                    <a:pt x="1656" y="0"/>
                  </a:cubicBezTo>
                  <a:cubicBezTo>
                    <a:pt x="1129" y="0"/>
                    <a:pt x="1129" y="0"/>
                    <a:pt x="1129" y="0"/>
                  </a:cubicBezTo>
                  <a:cubicBezTo>
                    <a:pt x="1129" y="1024"/>
                    <a:pt x="1129" y="1024"/>
                    <a:pt x="1129" y="1024"/>
                  </a:cubicBezTo>
                  <a:cubicBezTo>
                    <a:pt x="712" y="1024"/>
                    <a:pt x="712" y="1024"/>
                    <a:pt x="712" y="1024"/>
                  </a:cubicBezTo>
                  <a:cubicBezTo>
                    <a:pt x="429" y="1024"/>
                    <a:pt x="198" y="1255"/>
                    <a:pt x="198" y="1538"/>
                  </a:cubicBezTo>
                  <a:cubicBezTo>
                    <a:pt x="198" y="1671"/>
                    <a:pt x="198" y="1671"/>
                    <a:pt x="198" y="1671"/>
                  </a:cubicBezTo>
                  <a:cubicBezTo>
                    <a:pt x="98" y="1825"/>
                    <a:pt x="17" y="2002"/>
                    <a:pt x="2" y="2185"/>
                  </a:cubicBezTo>
                  <a:cubicBezTo>
                    <a:pt x="0" y="2217"/>
                    <a:pt x="25" y="2244"/>
                    <a:pt x="56" y="2244"/>
                  </a:cubicBezTo>
                  <a:cubicBezTo>
                    <a:pt x="505" y="2244"/>
                    <a:pt x="505" y="2244"/>
                    <a:pt x="505" y="2244"/>
                  </a:cubicBezTo>
                  <a:cubicBezTo>
                    <a:pt x="537" y="2244"/>
                    <a:pt x="562" y="2217"/>
                    <a:pt x="559" y="2185"/>
                  </a:cubicBezTo>
                  <a:cubicBezTo>
                    <a:pt x="545" y="2002"/>
                    <a:pt x="464" y="1825"/>
                    <a:pt x="363" y="1671"/>
                  </a:cubicBezTo>
                  <a:cubicBezTo>
                    <a:pt x="363" y="1538"/>
                    <a:pt x="363" y="1538"/>
                    <a:pt x="363" y="1538"/>
                  </a:cubicBezTo>
                  <a:cubicBezTo>
                    <a:pt x="363" y="1346"/>
                    <a:pt x="520" y="1190"/>
                    <a:pt x="712" y="1190"/>
                  </a:cubicBezTo>
                  <a:cubicBezTo>
                    <a:pt x="1129" y="1190"/>
                    <a:pt x="1129" y="1190"/>
                    <a:pt x="1129" y="1190"/>
                  </a:cubicBezTo>
                  <a:cubicBezTo>
                    <a:pt x="1129" y="1916"/>
                    <a:pt x="1129" y="1916"/>
                    <a:pt x="1129" y="1916"/>
                  </a:cubicBezTo>
                  <a:cubicBezTo>
                    <a:pt x="1064" y="1916"/>
                    <a:pt x="1064" y="1916"/>
                    <a:pt x="1064" y="1916"/>
                  </a:cubicBezTo>
                  <a:cubicBezTo>
                    <a:pt x="1064" y="2214"/>
                    <a:pt x="1064" y="2214"/>
                    <a:pt x="1064" y="2214"/>
                  </a:cubicBezTo>
                  <a:cubicBezTo>
                    <a:pt x="975" y="2214"/>
                    <a:pt x="975" y="2214"/>
                    <a:pt x="975" y="2214"/>
                  </a:cubicBezTo>
                  <a:cubicBezTo>
                    <a:pt x="908" y="3711"/>
                    <a:pt x="908" y="3711"/>
                    <a:pt x="908" y="3711"/>
                  </a:cubicBezTo>
                  <a:cubicBezTo>
                    <a:pt x="1064" y="3711"/>
                    <a:pt x="1064" y="3711"/>
                    <a:pt x="1064" y="3711"/>
                  </a:cubicBezTo>
                  <a:cubicBezTo>
                    <a:pt x="1064" y="4559"/>
                    <a:pt x="1064" y="4559"/>
                    <a:pt x="1064" y="4559"/>
                  </a:cubicBezTo>
                  <a:cubicBezTo>
                    <a:pt x="1720" y="4559"/>
                    <a:pt x="1720" y="4559"/>
                    <a:pt x="1720" y="4559"/>
                  </a:cubicBezTo>
                  <a:cubicBezTo>
                    <a:pt x="1720" y="3711"/>
                    <a:pt x="1720" y="3711"/>
                    <a:pt x="1720" y="3711"/>
                  </a:cubicBezTo>
                  <a:lnTo>
                    <a:pt x="1876" y="371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6" name="Freeform 721">
              <a:extLst>
                <a:ext uri="{FF2B5EF4-FFF2-40B4-BE49-F238E27FC236}">
                  <a16:creationId xmlns:a16="http://schemas.microsoft.com/office/drawing/2014/main" id="{112DC943-7BE7-4614-9F85-9BC973805E93}"/>
                </a:ext>
                <a:ext uri="{C183D7F6-B498-43B3-948B-1728B52AA6E4}">
                  <adec:decorative xmlns:adec="http://schemas.microsoft.com/office/drawing/2017/decorative" val="1"/>
                </a:ext>
              </a:extLst>
            </p:cNvPr>
            <p:cNvSpPr>
              <a:spLocks/>
            </p:cNvSpPr>
            <p:nvPr/>
          </p:nvSpPr>
          <p:spPr bwMode="auto">
            <a:xfrm flipH="1">
              <a:off x="11039914" y="5438573"/>
              <a:ext cx="359292" cy="96903"/>
            </a:xfrm>
            <a:custGeom>
              <a:avLst/>
              <a:gdLst>
                <a:gd name="T0" fmla="*/ 3466 w 3466"/>
                <a:gd name="T1" fmla="*/ 0 h 935"/>
                <a:gd name="T2" fmla="*/ 137 w 3466"/>
                <a:gd name="T3" fmla="*/ 526 h 935"/>
                <a:gd name="T4" fmla="*/ 26 w 3466"/>
                <a:gd name="T5" fmla="*/ 746 h 935"/>
                <a:gd name="T6" fmla="*/ 80 w 3466"/>
                <a:gd name="T7" fmla="*/ 935 h 935"/>
                <a:gd name="T8" fmla="*/ 653 w 3466"/>
                <a:gd name="T9" fmla="*/ 935 h 935"/>
                <a:gd name="T10" fmla="*/ 653 w 3466"/>
                <a:gd name="T11" fmla="*/ 823 h 935"/>
                <a:gd name="T12" fmla="*/ 3466 w 3466"/>
                <a:gd name="T13" fmla="*/ 589 h 935"/>
                <a:gd name="T14" fmla="*/ 3466 w 3466"/>
                <a:gd name="T15" fmla="*/ 0 h 9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66" h="935">
                  <a:moveTo>
                    <a:pt x="3466" y="0"/>
                  </a:moveTo>
                  <a:cubicBezTo>
                    <a:pt x="3466" y="0"/>
                    <a:pt x="1377" y="60"/>
                    <a:pt x="137" y="526"/>
                  </a:cubicBezTo>
                  <a:cubicBezTo>
                    <a:pt x="48" y="559"/>
                    <a:pt x="0" y="655"/>
                    <a:pt x="26" y="746"/>
                  </a:cubicBezTo>
                  <a:cubicBezTo>
                    <a:pt x="80" y="935"/>
                    <a:pt x="80" y="935"/>
                    <a:pt x="80" y="935"/>
                  </a:cubicBezTo>
                  <a:cubicBezTo>
                    <a:pt x="653" y="935"/>
                    <a:pt x="653" y="935"/>
                    <a:pt x="653" y="935"/>
                  </a:cubicBezTo>
                  <a:cubicBezTo>
                    <a:pt x="653" y="823"/>
                    <a:pt x="653" y="823"/>
                    <a:pt x="653" y="823"/>
                  </a:cubicBezTo>
                  <a:cubicBezTo>
                    <a:pt x="1248" y="722"/>
                    <a:pt x="2260" y="589"/>
                    <a:pt x="3466" y="589"/>
                  </a:cubicBezTo>
                  <a:lnTo>
                    <a:pt x="3466"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7" name="Freeform 722">
              <a:extLst>
                <a:ext uri="{FF2B5EF4-FFF2-40B4-BE49-F238E27FC236}">
                  <a16:creationId xmlns:a16="http://schemas.microsoft.com/office/drawing/2014/main" id="{3472B190-1EAE-4E03-90ED-E154954292A6}"/>
                </a:ext>
                <a:ext uri="{C183D7F6-B498-43B3-948B-1728B52AA6E4}">
                  <adec:decorative xmlns:adec="http://schemas.microsoft.com/office/drawing/2017/decorative" val="1"/>
                </a:ext>
              </a:extLst>
            </p:cNvPr>
            <p:cNvSpPr>
              <a:spLocks/>
            </p:cNvSpPr>
            <p:nvPr/>
          </p:nvSpPr>
          <p:spPr bwMode="auto">
            <a:xfrm flipH="1">
              <a:off x="11291684" y="5535476"/>
              <a:ext cx="99115" cy="90266"/>
            </a:xfrm>
            <a:custGeom>
              <a:avLst/>
              <a:gdLst>
                <a:gd name="T0" fmla="*/ 573 w 958"/>
                <a:gd name="T1" fmla="*/ 99 h 870"/>
                <a:gd name="T2" fmla="*/ 573 w 958"/>
                <a:gd name="T3" fmla="*/ 0 h 870"/>
                <a:gd name="T4" fmla="*/ 0 w 958"/>
                <a:gd name="T5" fmla="*/ 0 h 870"/>
                <a:gd name="T6" fmla="*/ 0 w 958"/>
                <a:gd name="T7" fmla="*/ 573 h 870"/>
                <a:gd name="T8" fmla="*/ 198 w 958"/>
                <a:gd name="T9" fmla="*/ 573 h 870"/>
                <a:gd name="T10" fmla="*/ 573 w 958"/>
                <a:gd name="T11" fmla="*/ 870 h 870"/>
                <a:gd name="T12" fmla="*/ 958 w 958"/>
                <a:gd name="T13" fmla="*/ 484 h 870"/>
                <a:gd name="T14" fmla="*/ 573 w 958"/>
                <a:gd name="T15" fmla="*/ 99 h 8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8" h="870">
                  <a:moveTo>
                    <a:pt x="573" y="99"/>
                  </a:moveTo>
                  <a:cubicBezTo>
                    <a:pt x="573" y="0"/>
                    <a:pt x="573" y="0"/>
                    <a:pt x="573" y="0"/>
                  </a:cubicBezTo>
                  <a:cubicBezTo>
                    <a:pt x="0" y="0"/>
                    <a:pt x="0" y="0"/>
                    <a:pt x="0" y="0"/>
                  </a:cubicBezTo>
                  <a:cubicBezTo>
                    <a:pt x="0" y="573"/>
                    <a:pt x="0" y="573"/>
                    <a:pt x="0" y="573"/>
                  </a:cubicBezTo>
                  <a:cubicBezTo>
                    <a:pt x="198" y="573"/>
                    <a:pt x="198" y="573"/>
                    <a:pt x="198" y="573"/>
                  </a:cubicBezTo>
                  <a:cubicBezTo>
                    <a:pt x="238" y="743"/>
                    <a:pt x="390" y="870"/>
                    <a:pt x="573" y="870"/>
                  </a:cubicBezTo>
                  <a:cubicBezTo>
                    <a:pt x="785" y="870"/>
                    <a:pt x="958" y="697"/>
                    <a:pt x="958" y="484"/>
                  </a:cubicBezTo>
                  <a:cubicBezTo>
                    <a:pt x="958" y="271"/>
                    <a:pt x="785" y="99"/>
                    <a:pt x="573" y="99"/>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29" name="Freeform 723">
              <a:extLst>
                <a:ext uri="{FF2B5EF4-FFF2-40B4-BE49-F238E27FC236}">
                  <a16:creationId xmlns:a16="http://schemas.microsoft.com/office/drawing/2014/main" id="{2302178A-02AE-4323-B391-F0A35776B029}"/>
                </a:ext>
                <a:ext uri="{C183D7F6-B498-43B3-948B-1728B52AA6E4}">
                  <adec:decorative xmlns:adec="http://schemas.microsoft.com/office/drawing/2017/decorative" val="1"/>
                </a:ext>
              </a:extLst>
            </p:cNvPr>
            <p:cNvSpPr>
              <a:spLocks/>
            </p:cNvSpPr>
            <p:nvPr/>
          </p:nvSpPr>
          <p:spPr bwMode="auto">
            <a:xfrm flipH="1">
              <a:off x="10648321" y="5535476"/>
              <a:ext cx="99557" cy="90266"/>
            </a:xfrm>
            <a:custGeom>
              <a:avLst/>
              <a:gdLst>
                <a:gd name="T0" fmla="*/ 573 w 958"/>
                <a:gd name="T1" fmla="*/ 99 h 870"/>
                <a:gd name="T2" fmla="*/ 573 w 958"/>
                <a:gd name="T3" fmla="*/ 0 h 870"/>
                <a:gd name="T4" fmla="*/ 0 w 958"/>
                <a:gd name="T5" fmla="*/ 0 h 870"/>
                <a:gd name="T6" fmla="*/ 0 w 958"/>
                <a:gd name="T7" fmla="*/ 573 h 870"/>
                <a:gd name="T8" fmla="*/ 198 w 958"/>
                <a:gd name="T9" fmla="*/ 573 h 870"/>
                <a:gd name="T10" fmla="*/ 573 w 958"/>
                <a:gd name="T11" fmla="*/ 870 h 870"/>
                <a:gd name="T12" fmla="*/ 958 w 958"/>
                <a:gd name="T13" fmla="*/ 484 h 870"/>
                <a:gd name="T14" fmla="*/ 573 w 958"/>
                <a:gd name="T15" fmla="*/ 99 h 8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8" h="870">
                  <a:moveTo>
                    <a:pt x="573" y="99"/>
                  </a:moveTo>
                  <a:cubicBezTo>
                    <a:pt x="573" y="0"/>
                    <a:pt x="573" y="0"/>
                    <a:pt x="573" y="0"/>
                  </a:cubicBezTo>
                  <a:cubicBezTo>
                    <a:pt x="0" y="0"/>
                    <a:pt x="0" y="0"/>
                    <a:pt x="0" y="0"/>
                  </a:cubicBezTo>
                  <a:cubicBezTo>
                    <a:pt x="0" y="573"/>
                    <a:pt x="0" y="573"/>
                    <a:pt x="0" y="573"/>
                  </a:cubicBezTo>
                  <a:cubicBezTo>
                    <a:pt x="198" y="573"/>
                    <a:pt x="198" y="573"/>
                    <a:pt x="198" y="573"/>
                  </a:cubicBezTo>
                  <a:cubicBezTo>
                    <a:pt x="238" y="743"/>
                    <a:pt x="390" y="870"/>
                    <a:pt x="573" y="870"/>
                  </a:cubicBezTo>
                  <a:cubicBezTo>
                    <a:pt x="785" y="870"/>
                    <a:pt x="958" y="697"/>
                    <a:pt x="958" y="484"/>
                  </a:cubicBezTo>
                  <a:cubicBezTo>
                    <a:pt x="958" y="271"/>
                    <a:pt x="785" y="99"/>
                    <a:pt x="573" y="99"/>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1" name="Freeform 724">
              <a:extLst>
                <a:ext uri="{FF2B5EF4-FFF2-40B4-BE49-F238E27FC236}">
                  <a16:creationId xmlns:a16="http://schemas.microsoft.com/office/drawing/2014/main" id="{FE60B724-1DA6-4544-8BE8-8E4CC964409B}"/>
                </a:ext>
                <a:ext uri="{C183D7F6-B498-43B3-948B-1728B52AA6E4}">
                  <adec:decorative xmlns:adec="http://schemas.microsoft.com/office/drawing/2017/decorative" val="1"/>
                </a:ext>
              </a:extLst>
            </p:cNvPr>
            <p:cNvSpPr>
              <a:spLocks/>
            </p:cNvSpPr>
            <p:nvPr/>
          </p:nvSpPr>
          <p:spPr bwMode="auto">
            <a:xfrm flipH="1">
              <a:off x="10680180" y="5438573"/>
              <a:ext cx="465486" cy="96903"/>
            </a:xfrm>
            <a:custGeom>
              <a:avLst/>
              <a:gdLst>
                <a:gd name="T0" fmla="*/ 4353 w 4490"/>
                <a:gd name="T1" fmla="*/ 526 h 935"/>
                <a:gd name="T2" fmla="*/ 1023 w 4490"/>
                <a:gd name="T3" fmla="*/ 0 h 935"/>
                <a:gd name="T4" fmla="*/ 177 w 4490"/>
                <a:gd name="T5" fmla="*/ 380 h 935"/>
                <a:gd name="T6" fmla="*/ 24 w 4490"/>
                <a:gd name="T7" fmla="*/ 676 h 935"/>
                <a:gd name="T8" fmla="*/ 60 w 4490"/>
                <a:gd name="T9" fmla="*/ 855 h 935"/>
                <a:gd name="T10" fmla="*/ 598 w 4490"/>
                <a:gd name="T11" fmla="*/ 855 h 935"/>
                <a:gd name="T12" fmla="*/ 598 w 4490"/>
                <a:gd name="T13" fmla="*/ 737 h 935"/>
                <a:gd name="T14" fmla="*/ 1023 w 4490"/>
                <a:gd name="T15" fmla="*/ 589 h 935"/>
                <a:gd name="T16" fmla="*/ 3837 w 4490"/>
                <a:gd name="T17" fmla="*/ 823 h 935"/>
                <a:gd name="T18" fmla="*/ 3837 w 4490"/>
                <a:gd name="T19" fmla="*/ 935 h 935"/>
                <a:gd name="T20" fmla="*/ 4410 w 4490"/>
                <a:gd name="T21" fmla="*/ 935 h 935"/>
                <a:gd name="T22" fmla="*/ 4464 w 4490"/>
                <a:gd name="T23" fmla="*/ 746 h 935"/>
                <a:gd name="T24" fmla="*/ 4353 w 4490"/>
                <a:gd name="T25" fmla="*/ 526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0" h="935">
                  <a:moveTo>
                    <a:pt x="4353" y="526"/>
                  </a:moveTo>
                  <a:cubicBezTo>
                    <a:pt x="3113" y="60"/>
                    <a:pt x="1023" y="0"/>
                    <a:pt x="1023" y="0"/>
                  </a:cubicBezTo>
                  <a:cubicBezTo>
                    <a:pt x="177" y="380"/>
                    <a:pt x="177" y="380"/>
                    <a:pt x="177" y="380"/>
                  </a:cubicBezTo>
                  <a:cubicBezTo>
                    <a:pt x="63" y="431"/>
                    <a:pt x="0" y="554"/>
                    <a:pt x="24" y="676"/>
                  </a:cubicBezTo>
                  <a:cubicBezTo>
                    <a:pt x="60" y="855"/>
                    <a:pt x="60" y="855"/>
                    <a:pt x="60" y="855"/>
                  </a:cubicBezTo>
                  <a:cubicBezTo>
                    <a:pt x="598" y="855"/>
                    <a:pt x="598" y="855"/>
                    <a:pt x="598" y="855"/>
                  </a:cubicBezTo>
                  <a:cubicBezTo>
                    <a:pt x="598" y="737"/>
                    <a:pt x="598" y="737"/>
                    <a:pt x="598" y="737"/>
                  </a:cubicBezTo>
                  <a:cubicBezTo>
                    <a:pt x="1023" y="589"/>
                    <a:pt x="1023" y="589"/>
                    <a:pt x="1023" y="589"/>
                  </a:cubicBezTo>
                  <a:cubicBezTo>
                    <a:pt x="2229" y="589"/>
                    <a:pt x="3242" y="722"/>
                    <a:pt x="3837" y="823"/>
                  </a:cubicBezTo>
                  <a:cubicBezTo>
                    <a:pt x="3837" y="935"/>
                    <a:pt x="3837" y="935"/>
                    <a:pt x="3837" y="935"/>
                  </a:cubicBezTo>
                  <a:cubicBezTo>
                    <a:pt x="4410" y="935"/>
                    <a:pt x="4410" y="935"/>
                    <a:pt x="4410" y="935"/>
                  </a:cubicBezTo>
                  <a:cubicBezTo>
                    <a:pt x="4464" y="746"/>
                    <a:pt x="4464" y="746"/>
                    <a:pt x="4464" y="746"/>
                  </a:cubicBezTo>
                  <a:cubicBezTo>
                    <a:pt x="4490" y="655"/>
                    <a:pt x="4441" y="559"/>
                    <a:pt x="4353" y="5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2" name="Freeform 725">
              <a:extLst>
                <a:ext uri="{FF2B5EF4-FFF2-40B4-BE49-F238E27FC236}">
                  <a16:creationId xmlns:a16="http://schemas.microsoft.com/office/drawing/2014/main" id="{EBDE116A-55E8-40D7-BF35-D215A5FC27F7}"/>
                </a:ext>
                <a:ext uri="{C183D7F6-B498-43B3-948B-1728B52AA6E4}">
                  <adec:decorative xmlns:adec="http://schemas.microsoft.com/office/drawing/2017/decorative" val="1"/>
                </a:ext>
              </a:extLst>
            </p:cNvPr>
            <p:cNvSpPr>
              <a:spLocks/>
            </p:cNvSpPr>
            <p:nvPr/>
          </p:nvSpPr>
          <p:spPr bwMode="auto">
            <a:xfrm flipH="1">
              <a:off x="11071330" y="5527069"/>
              <a:ext cx="82743" cy="98673"/>
            </a:xfrm>
            <a:custGeom>
              <a:avLst/>
              <a:gdLst>
                <a:gd name="T0" fmla="*/ 159 w 187"/>
                <a:gd name="T1" fmla="*/ 42 h 223"/>
                <a:gd name="T2" fmla="*/ 159 w 187"/>
                <a:gd name="T3" fmla="*/ 0 h 223"/>
                <a:gd name="T4" fmla="*/ 31 w 187"/>
                <a:gd name="T5" fmla="*/ 0 h 223"/>
                <a:gd name="T6" fmla="*/ 31 w 187"/>
                <a:gd name="T7" fmla="*/ 42 h 223"/>
                <a:gd name="T8" fmla="*/ 0 w 187"/>
                <a:gd name="T9" fmla="*/ 42 h 223"/>
                <a:gd name="T10" fmla="*/ 0 w 187"/>
                <a:gd name="T11" fmla="*/ 223 h 223"/>
                <a:gd name="T12" fmla="*/ 187 w 187"/>
                <a:gd name="T13" fmla="*/ 223 h 223"/>
                <a:gd name="T14" fmla="*/ 187 w 187"/>
                <a:gd name="T15" fmla="*/ 42 h 223"/>
                <a:gd name="T16" fmla="*/ 159 w 187"/>
                <a:gd name="T17" fmla="*/ 4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23">
                  <a:moveTo>
                    <a:pt x="159" y="42"/>
                  </a:moveTo>
                  <a:lnTo>
                    <a:pt x="159" y="0"/>
                  </a:lnTo>
                  <a:lnTo>
                    <a:pt x="31" y="0"/>
                  </a:lnTo>
                  <a:lnTo>
                    <a:pt x="31" y="42"/>
                  </a:lnTo>
                  <a:lnTo>
                    <a:pt x="0" y="42"/>
                  </a:lnTo>
                  <a:lnTo>
                    <a:pt x="0" y="223"/>
                  </a:lnTo>
                  <a:lnTo>
                    <a:pt x="187" y="223"/>
                  </a:lnTo>
                  <a:lnTo>
                    <a:pt x="187" y="42"/>
                  </a:lnTo>
                  <a:lnTo>
                    <a:pt x="159"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3" name="Freeform 726">
              <a:extLst>
                <a:ext uri="{FF2B5EF4-FFF2-40B4-BE49-F238E27FC236}">
                  <a16:creationId xmlns:a16="http://schemas.microsoft.com/office/drawing/2014/main" id="{F9905E69-59B5-4510-B6B3-5421F1A4C39F}"/>
                </a:ext>
                <a:ext uri="{C183D7F6-B498-43B3-948B-1728B52AA6E4}">
                  <adec:decorative xmlns:adec="http://schemas.microsoft.com/office/drawing/2017/decorative" val="1"/>
                </a:ext>
              </a:extLst>
            </p:cNvPr>
            <p:cNvSpPr>
              <a:spLocks/>
            </p:cNvSpPr>
            <p:nvPr/>
          </p:nvSpPr>
          <p:spPr bwMode="auto">
            <a:xfrm flipH="1">
              <a:off x="10504516" y="4447859"/>
              <a:ext cx="166372" cy="185842"/>
            </a:xfrm>
            <a:custGeom>
              <a:avLst/>
              <a:gdLst>
                <a:gd name="T0" fmla="*/ 212 w 376"/>
                <a:gd name="T1" fmla="*/ 33 h 420"/>
                <a:gd name="T2" fmla="*/ 376 w 376"/>
                <a:gd name="T3" fmla="*/ 273 h 420"/>
                <a:gd name="T4" fmla="*/ 212 w 376"/>
                <a:gd name="T5" fmla="*/ 420 h 420"/>
                <a:gd name="T6" fmla="*/ 0 w 376"/>
                <a:gd name="T7" fmla="*/ 176 h 420"/>
                <a:gd name="T8" fmla="*/ 61 w 376"/>
                <a:gd name="T9" fmla="*/ 0 h 420"/>
                <a:gd name="T10" fmla="*/ 212 w 376"/>
                <a:gd name="T11" fmla="*/ 33 h 420"/>
              </a:gdLst>
              <a:ahLst/>
              <a:cxnLst>
                <a:cxn ang="0">
                  <a:pos x="T0" y="T1"/>
                </a:cxn>
                <a:cxn ang="0">
                  <a:pos x="T2" y="T3"/>
                </a:cxn>
                <a:cxn ang="0">
                  <a:pos x="T4" y="T5"/>
                </a:cxn>
                <a:cxn ang="0">
                  <a:pos x="T6" y="T7"/>
                </a:cxn>
                <a:cxn ang="0">
                  <a:pos x="T8" y="T9"/>
                </a:cxn>
                <a:cxn ang="0">
                  <a:pos x="T10" y="T11"/>
                </a:cxn>
              </a:cxnLst>
              <a:rect l="0" t="0" r="r" b="b"/>
              <a:pathLst>
                <a:path w="376" h="420">
                  <a:moveTo>
                    <a:pt x="212" y="33"/>
                  </a:moveTo>
                  <a:lnTo>
                    <a:pt x="376" y="273"/>
                  </a:lnTo>
                  <a:lnTo>
                    <a:pt x="212" y="420"/>
                  </a:lnTo>
                  <a:lnTo>
                    <a:pt x="0" y="176"/>
                  </a:lnTo>
                  <a:lnTo>
                    <a:pt x="61" y="0"/>
                  </a:lnTo>
                  <a:lnTo>
                    <a:pt x="212" y="33"/>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4" name="Freeform 727">
              <a:extLst>
                <a:ext uri="{FF2B5EF4-FFF2-40B4-BE49-F238E27FC236}">
                  <a16:creationId xmlns:a16="http://schemas.microsoft.com/office/drawing/2014/main" id="{92EDA597-FCAA-4195-B9DC-EA12D8D83217}"/>
                </a:ext>
                <a:ext uri="{C183D7F6-B498-43B3-948B-1728B52AA6E4}">
                  <adec:decorative xmlns:adec="http://schemas.microsoft.com/office/drawing/2017/decorative" val="1"/>
                </a:ext>
              </a:extLst>
            </p:cNvPr>
            <p:cNvSpPr>
              <a:spLocks/>
            </p:cNvSpPr>
            <p:nvPr/>
          </p:nvSpPr>
          <p:spPr bwMode="auto">
            <a:xfrm flipH="1">
              <a:off x="10314251" y="4953614"/>
              <a:ext cx="71239" cy="672128"/>
            </a:xfrm>
            <a:custGeom>
              <a:avLst/>
              <a:gdLst>
                <a:gd name="T0" fmla="*/ 125 w 161"/>
                <a:gd name="T1" fmla="*/ 1519 h 1519"/>
                <a:gd name="T2" fmla="*/ 41 w 161"/>
                <a:gd name="T3" fmla="*/ 1519 h 1519"/>
                <a:gd name="T4" fmla="*/ 0 w 161"/>
                <a:gd name="T5" fmla="*/ 130 h 1519"/>
                <a:gd name="T6" fmla="*/ 53 w 161"/>
                <a:gd name="T7" fmla="*/ 0 h 1519"/>
                <a:gd name="T8" fmla="*/ 161 w 161"/>
                <a:gd name="T9" fmla="*/ 309 h 1519"/>
                <a:gd name="T10" fmla="*/ 125 w 161"/>
                <a:gd name="T11" fmla="*/ 1519 h 1519"/>
              </a:gdLst>
              <a:ahLst/>
              <a:cxnLst>
                <a:cxn ang="0">
                  <a:pos x="T0" y="T1"/>
                </a:cxn>
                <a:cxn ang="0">
                  <a:pos x="T2" y="T3"/>
                </a:cxn>
                <a:cxn ang="0">
                  <a:pos x="T4" y="T5"/>
                </a:cxn>
                <a:cxn ang="0">
                  <a:pos x="T6" y="T7"/>
                </a:cxn>
                <a:cxn ang="0">
                  <a:pos x="T8" y="T9"/>
                </a:cxn>
                <a:cxn ang="0">
                  <a:pos x="T10" y="T11"/>
                </a:cxn>
              </a:cxnLst>
              <a:rect l="0" t="0" r="r" b="b"/>
              <a:pathLst>
                <a:path w="161" h="1519">
                  <a:moveTo>
                    <a:pt x="125" y="1519"/>
                  </a:moveTo>
                  <a:lnTo>
                    <a:pt x="41" y="1519"/>
                  </a:lnTo>
                  <a:lnTo>
                    <a:pt x="0" y="130"/>
                  </a:lnTo>
                  <a:lnTo>
                    <a:pt x="53" y="0"/>
                  </a:lnTo>
                  <a:lnTo>
                    <a:pt x="161" y="309"/>
                  </a:lnTo>
                  <a:lnTo>
                    <a:pt x="125" y="1519"/>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5" name="Freeform 728">
              <a:extLst>
                <a:ext uri="{FF2B5EF4-FFF2-40B4-BE49-F238E27FC236}">
                  <a16:creationId xmlns:a16="http://schemas.microsoft.com/office/drawing/2014/main" id="{9790EDE2-074C-443F-8E0B-869EBBC7020B}"/>
                </a:ext>
                <a:ext uri="{C183D7F6-B498-43B3-948B-1728B52AA6E4}">
                  <adec:decorative xmlns:adec="http://schemas.microsoft.com/office/drawing/2017/decorative" val="1"/>
                </a:ext>
              </a:extLst>
            </p:cNvPr>
            <p:cNvSpPr>
              <a:spLocks/>
            </p:cNvSpPr>
            <p:nvPr/>
          </p:nvSpPr>
          <p:spPr bwMode="auto">
            <a:xfrm flipH="1">
              <a:off x="10331508" y="5445653"/>
              <a:ext cx="177876" cy="95133"/>
            </a:xfrm>
            <a:custGeom>
              <a:avLst/>
              <a:gdLst>
                <a:gd name="T0" fmla="*/ 307 w 402"/>
                <a:gd name="T1" fmla="*/ 53 h 215"/>
                <a:gd name="T2" fmla="*/ 402 w 402"/>
                <a:gd name="T3" fmla="*/ 215 h 215"/>
                <a:gd name="T4" fmla="*/ 90 w 402"/>
                <a:gd name="T5" fmla="*/ 215 h 215"/>
                <a:gd name="T6" fmla="*/ 0 w 402"/>
                <a:gd name="T7" fmla="*/ 31 h 215"/>
                <a:gd name="T8" fmla="*/ 246 w 402"/>
                <a:gd name="T9" fmla="*/ 0 h 215"/>
                <a:gd name="T10" fmla="*/ 307 w 402"/>
                <a:gd name="T11" fmla="*/ 53 h 215"/>
              </a:gdLst>
              <a:ahLst/>
              <a:cxnLst>
                <a:cxn ang="0">
                  <a:pos x="T0" y="T1"/>
                </a:cxn>
                <a:cxn ang="0">
                  <a:pos x="T2" y="T3"/>
                </a:cxn>
                <a:cxn ang="0">
                  <a:pos x="T4" y="T5"/>
                </a:cxn>
                <a:cxn ang="0">
                  <a:pos x="T6" y="T7"/>
                </a:cxn>
                <a:cxn ang="0">
                  <a:pos x="T8" y="T9"/>
                </a:cxn>
                <a:cxn ang="0">
                  <a:pos x="T10" y="T11"/>
                </a:cxn>
              </a:cxnLst>
              <a:rect l="0" t="0" r="r" b="b"/>
              <a:pathLst>
                <a:path w="402" h="215">
                  <a:moveTo>
                    <a:pt x="307" y="53"/>
                  </a:moveTo>
                  <a:lnTo>
                    <a:pt x="402" y="215"/>
                  </a:lnTo>
                  <a:lnTo>
                    <a:pt x="90" y="215"/>
                  </a:lnTo>
                  <a:lnTo>
                    <a:pt x="0" y="31"/>
                  </a:lnTo>
                  <a:lnTo>
                    <a:pt x="246" y="0"/>
                  </a:lnTo>
                  <a:lnTo>
                    <a:pt x="307" y="5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6" name="Freeform 729">
              <a:extLst>
                <a:ext uri="{FF2B5EF4-FFF2-40B4-BE49-F238E27FC236}">
                  <a16:creationId xmlns:a16="http://schemas.microsoft.com/office/drawing/2014/main" id="{87B5A26C-C10B-46CD-AE09-431166DFF407}"/>
                </a:ext>
                <a:ext uri="{C183D7F6-B498-43B3-948B-1728B52AA6E4}">
                  <adec:decorative xmlns:adec="http://schemas.microsoft.com/office/drawing/2017/decorative" val="1"/>
                </a:ext>
              </a:extLst>
            </p:cNvPr>
            <p:cNvSpPr>
              <a:spLocks/>
            </p:cNvSpPr>
            <p:nvPr/>
          </p:nvSpPr>
          <p:spPr bwMode="auto">
            <a:xfrm flipH="1">
              <a:off x="10604074" y="4777065"/>
              <a:ext cx="342035" cy="361064"/>
            </a:xfrm>
            <a:custGeom>
              <a:avLst/>
              <a:gdLst>
                <a:gd name="T0" fmla="*/ 979 w 3295"/>
                <a:gd name="T1" fmla="*/ 99 h 3485"/>
                <a:gd name="T2" fmla="*/ 2248 w 3295"/>
                <a:gd name="T3" fmla="*/ 99 h 3485"/>
                <a:gd name="T4" fmla="*/ 2832 w 3295"/>
                <a:gd name="T5" fmla="*/ 684 h 3485"/>
                <a:gd name="T6" fmla="*/ 2832 w 3295"/>
                <a:gd name="T7" fmla="*/ 2744 h 3485"/>
                <a:gd name="T8" fmla="*/ 2553 w 3295"/>
                <a:gd name="T9" fmla="*/ 3314 h 3485"/>
                <a:gd name="T10" fmla="*/ 2485 w 3295"/>
                <a:gd name="T11" fmla="*/ 3367 h 3485"/>
                <a:gd name="T12" fmla="*/ 2526 w 3295"/>
                <a:gd name="T13" fmla="*/ 3485 h 3485"/>
                <a:gd name="T14" fmla="*/ 2795 w 3295"/>
                <a:gd name="T15" fmla="*/ 3485 h 3485"/>
                <a:gd name="T16" fmla="*/ 3016 w 3295"/>
                <a:gd name="T17" fmla="*/ 3314 h 3485"/>
                <a:gd name="T18" fmla="*/ 3295 w 3295"/>
                <a:gd name="T19" fmla="*/ 2744 h 3485"/>
                <a:gd name="T20" fmla="*/ 3295 w 3295"/>
                <a:gd name="T21" fmla="*/ 585 h 3485"/>
                <a:gd name="T22" fmla="*/ 2710 w 3295"/>
                <a:gd name="T23" fmla="*/ 0 h 3485"/>
                <a:gd name="T24" fmla="*/ 516 w 3295"/>
                <a:gd name="T25" fmla="*/ 0 h 3485"/>
                <a:gd name="T26" fmla="*/ 4 w 3295"/>
                <a:gd name="T27" fmla="*/ 518 h 3485"/>
                <a:gd name="T28" fmla="*/ 6 w 3295"/>
                <a:gd name="T29" fmla="*/ 799 h 3485"/>
                <a:gd name="T30" fmla="*/ 76 w 3295"/>
                <a:gd name="T31" fmla="*/ 869 h 3485"/>
                <a:gd name="T32" fmla="*/ 394 w 3295"/>
                <a:gd name="T33" fmla="*/ 869 h 3485"/>
                <a:gd name="T34" fmla="*/ 469 w 3295"/>
                <a:gd name="T35" fmla="*/ 794 h 3485"/>
                <a:gd name="T36" fmla="*/ 467 w 3295"/>
                <a:gd name="T37" fmla="*/ 617 h 3485"/>
                <a:gd name="T38" fmla="*/ 979 w 3295"/>
                <a:gd name="T39" fmla="*/ 99 h 3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95" h="3485">
                  <a:moveTo>
                    <a:pt x="979" y="99"/>
                  </a:moveTo>
                  <a:cubicBezTo>
                    <a:pt x="2248" y="99"/>
                    <a:pt x="2248" y="99"/>
                    <a:pt x="2248" y="99"/>
                  </a:cubicBezTo>
                  <a:cubicBezTo>
                    <a:pt x="2571" y="99"/>
                    <a:pt x="2832" y="361"/>
                    <a:pt x="2832" y="684"/>
                  </a:cubicBezTo>
                  <a:cubicBezTo>
                    <a:pt x="2832" y="2744"/>
                    <a:pt x="2832" y="2744"/>
                    <a:pt x="2832" y="2744"/>
                  </a:cubicBezTo>
                  <a:cubicBezTo>
                    <a:pt x="2832" y="2967"/>
                    <a:pt x="2729" y="3177"/>
                    <a:pt x="2553" y="3314"/>
                  </a:cubicBezTo>
                  <a:cubicBezTo>
                    <a:pt x="2485" y="3367"/>
                    <a:pt x="2485" y="3367"/>
                    <a:pt x="2485" y="3367"/>
                  </a:cubicBezTo>
                  <a:cubicBezTo>
                    <a:pt x="2435" y="3405"/>
                    <a:pt x="2463" y="3485"/>
                    <a:pt x="2526" y="3485"/>
                  </a:cubicBezTo>
                  <a:cubicBezTo>
                    <a:pt x="2795" y="3485"/>
                    <a:pt x="2795" y="3485"/>
                    <a:pt x="2795" y="3485"/>
                  </a:cubicBezTo>
                  <a:cubicBezTo>
                    <a:pt x="3016" y="3314"/>
                    <a:pt x="3016" y="3314"/>
                    <a:pt x="3016" y="3314"/>
                  </a:cubicBezTo>
                  <a:cubicBezTo>
                    <a:pt x="3192" y="3177"/>
                    <a:pt x="3295" y="2967"/>
                    <a:pt x="3295" y="2744"/>
                  </a:cubicBezTo>
                  <a:cubicBezTo>
                    <a:pt x="3295" y="585"/>
                    <a:pt x="3295" y="585"/>
                    <a:pt x="3295" y="585"/>
                  </a:cubicBezTo>
                  <a:cubicBezTo>
                    <a:pt x="3295" y="262"/>
                    <a:pt x="3033" y="0"/>
                    <a:pt x="2710" y="0"/>
                  </a:cubicBezTo>
                  <a:cubicBezTo>
                    <a:pt x="516" y="0"/>
                    <a:pt x="516" y="0"/>
                    <a:pt x="516" y="0"/>
                  </a:cubicBezTo>
                  <a:cubicBezTo>
                    <a:pt x="231" y="0"/>
                    <a:pt x="0" y="233"/>
                    <a:pt x="4" y="518"/>
                  </a:cubicBezTo>
                  <a:cubicBezTo>
                    <a:pt x="6" y="799"/>
                    <a:pt x="6" y="799"/>
                    <a:pt x="6" y="799"/>
                  </a:cubicBezTo>
                  <a:cubicBezTo>
                    <a:pt x="6" y="837"/>
                    <a:pt x="38" y="869"/>
                    <a:pt x="76" y="869"/>
                  </a:cubicBezTo>
                  <a:cubicBezTo>
                    <a:pt x="394" y="869"/>
                    <a:pt x="394" y="869"/>
                    <a:pt x="394" y="869"/>
                  </a:cubicBezTo>
                  <a:cubicBezTo>
                    <a:pt x="436" y="869"/>
                    <a:pt x="469" y="835"/>
                    <a:pt x="469" y="794"/>
                  </a:cubicBezTo>
                  <a:cubicBezTo>
                    <a:pt x="467" y="617"/>
                    <a:pt x="467" y="617"/>
                    <a:pt x="467" y="617"/>
                  </a:cubicBezTo>
                  <a:cubicBezTo>
                    <a:pt x="463" y="332"/>
                    <a:pt x="693" y="99"/>
                    <a:pt x="979" y="99"/>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7" name="Freeform 730">
              <a:extLst>
                <a:ext uri="{FF2B5EF4-FFF2-40B4-BE49-F238E27FC236}">
                  <a16:creationId xmlns:a16="http://schemas.microsoft.com/office/drawing/2014/main" id="{C8CAC56F-F085-4A1E-BBE2-B569DEAE6420}"/>
                </a:ext>
                <a:ext uri="{C183D7F6-B498-43B3-948B-1728B52AA6E4}">
                  <adec:decorative xmlns:adec="http://schemas.microsoft.com/office/drawing/2017/decorative" val="1"/>
                </a:ext>
              </a:extLst>
            </p:cNvPr>
            <p:cNvSpPr>
              <a:spLocks/>
            </p:cNvSpPr>
            <p:nvPr/>
          </p:nvSpPr>
          <p:spPr bwMode="auto">
            <a:xfrm flipH="1">
              <a:off x="10830622" y="4787242"/>
              <a:ext cx="107522" cy="80089"/>
            </a:xfrm>
            <a:custGeom>
              <a:avLst/>
              <a:gdLst>
                <a:gd name="T0" fmla="*/ 60 w 1035"/>
                <a:gd name="T1" fmla="*/ 518 h 770"/>
                <a:gd name="T2" fmla="*/ 62 w 1035"/>
                <a:gd name="T3" fmla="*/ 712 h 770"/>
                <a:gd name="T4" fmla="*/ 4 w 1035"/>
                <a:gd name="T5" fmla="*/ 770 h 770"/>
                <a:gd name="T6" fmla="*/ 0 w 1035"/>
                <a:gd name="T7" fmla="*/ 770 h 770"/>
                <a:gd name="T8" fmla="*/ 462 w 1035"/>
                <a:gd name="T9" fmla="*/ 770 h 770"/>
                <a:gd name="T10" fmla="*/ 525 w 1035"/>
                <a:gd name="T11" fmla="*/ 706 h 770"/>
                <a:gd name="T12" fmla="*/ 523 w 1035"/>
                <a:gd name="T13" fmla="*/ 518 h 770"/>
                <a:gd name="T14" fmla="*/ 1035 w 1035"/>
                <a:gd name="T15" fmla="*/ 0 h 770"/>
                <a:gd name="T16" fmla="*/ 572 w 1035"/>
                <a:gd name="T17" fmla="*/ 0 h 770"/>
                <a:gd name="T18" fmla="*/ 60 w 1035"/>
                <a:gd name="T19" fmla="*/ 51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5" h="770">
                  <a:moveTo>
                    <a:pt x="60" y="518"/>
                  </a:moveTo>
                  <a:cubicBezTo>
                    <a:pt x="62" y="712"/>
                    <a:pt x="62" y="712"/>
                    <a:pt x="62" y="712"/>
                  </a:cubicBezTo>
                  <a:cubicBezTo>
                    <a:pt x="62" y="743"/>
                    <a:pt x="36" y="770"/>
                    <a:pt x="4" y="770"/>
                  </a:cubicBezTo>
                  <a:cubicBezTo>
                    <a:pt x="0" y="770"/>
                    <a:pt x="0" y="770"/>
                    <a:pt x="0" y="770"/>
                  </a:cubicBezTo>
                  <a:cubicBezTo>
                    <a:pt x="462" y="770"/>
                    <a:pt x="462" y="770"/>
                    <a:pt x="462" y="770"/>
                  </a:cubicBezTo>
                  <a:cubicBezTo>
                    <a:pt x="497" y="770"/>
                    <a:pt x="525" y="741"/>
                    <a:pt x="525" y="706"/>
                  </a:cubicBezTo>
                  <a:cubicBezTo>
                    <a:pt x="523" y="518"/>
                    <a:pt x="523" y="518"/>
                    <a:pt x="523" y="518"/>
                  </a:cubicBezTo>
                  <a:cubicBezTo>
                    <a:pt x="519" y="233"/>
                    <a:pt x="750" y="0"/>
                    <a:pt x="1035" y="0"/>
                  </a:cubicBezTo>
                  <a:cubicBezTo>
                    <a:pt x="572" y="0"/>
                    <a:pt x="572" y="0"/>
                    <a:pt x="572" y="0"/>
                  </a:cubicBezTo>
                  <a:cubicBezTo>
                    <a:pt x="287" y="0"/>
                    <a:pt x="57" y="233"/>
                    <a:pt x="60" y="518"/>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8" name="Freeform 731">
              <a:extLst>
                <a:ext uri="{FF2B5EF4-FFF2-40B4-BE49-F238E27FC236}">
                  <a16:creationId xmlns:a16="http://schemas.microsoft.com/office/drawing/2014/main" id="{BFC16A80-13A5-438D-AF1A-D85F398032BC}"/>
                </a:ext>
                <a:ext uri="{C183D7F6-B498-43B3-948B-1728B52AA6E4}">
                  <adec:decorative xmlns:adec="http://schemas.microsoft.com/office/drawing/2017/decorative" val="1"/>
                </a:ext>
              </a:extLst>
            </p:cNvPr>
            <p:cNvSpPr>
              <a:spLocks/>
            </p:cNvSpPr>
            <p:nvPr/>
          </p:nvSpPr>
          <p:spPr bwMode="auto">
            <a:xfrm flipH="1">
              <a:off x="10590357" y="4777065"/>
              <a:ext cx="108849" cy="361064"/>
            </a:xfrm>
            <a:custGeom>
              <a:avLst/>
              <a:gdLst>
                <a:gd name="T0" fmla="*/ 463 w 1048"/>
                <a:gd name="T1" fmla="*/ 0 h 3485"/>
                <a:gd name="T2" fmla="*/ 0 w 1048"/>
                <a:gd name="T3" fmla="*/ 0 h 3485"/>
                <a:gd name="T4" fmla="*/ 585 w 1048"/>
                <a:gd name="T5" fmla="*/ 585 h 3485"/>
                <a:gd name="T6" fmla="*/ 585 w 1048"/>
                <a:gd name="T7" fmla="*/ 2810 h 3485"/>
                <a:gd name="T8" fmla="*/ 305 w 1048"/>
                <a:gd name="T9" fmla="*/ 3380 h 3485"/>
                <a:gd name="T10" fmla="*/ 170 w 1048"/>
                <a:gd name="T11" fmla="*/ 3485 h 3485"/>
                <a:gd name="T12" fmla="*/ 583 w 1048"/>
                <a:gd name="T13" fmla="*/ 3485 h 3485"/>
                <a:gd name="T14" fmla="*/ 672 w 1048"/>
                <a:gd name="T15" fmla="*/ 3455 h 3485"/>
                <a:gd name="T16" fmla="*/ 768 w 1048"/>
                <a:gd name="T17" fmla="*/ 3380 h 3485"/>
                <a:gd name="T18" fmla="*/ 1048 w 1048"/>
                <a:gd name="T19" fmla="*/ 2810 h 3485"/>
                <a:gd name="T20" fmla="*/ 1048 w 1048"/>
                <a:gd name="T21" fmla="*/ 585 h 3485"/>
                <a:gd name="T22" fmla="*/ 463 w 1048"/>
                <a:gd name="T23" fmla="*/ 0 h 3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8" h="3485">
                  <a:moveTo>
                    <a:pt x="463" y="0"/>
                  </a:moveTo>
                  <a:cubicBezTo>
                    <a:pt x="0" y="0"/>
                    <a:pt x="0" y="0"/>
                    <a:pt x="0" y="0"/>
                  </a:cubicBezTo>
                  <a:cubicBezTo>
                    <a:pt x="323" y="0"/>
                    <a:pt x="585" y="262"/>
                    <a:pt x="585" y="585"/>
                  </a:cubicBezTo>
                  <a:cubicBezTo>
                    <a:pt x="585" y="2810"/>
                    <a:pt x="585" y="2810"/>
                    <a:pt x="585" y="2810"/>
                  </a:cubicBezTo>
                  <a:cubicBezTo>
                    <a:pt x="585" y="3033"/>
                    <a:pt x="482" y="3244"/>
                    <a:pt x="305" y="3380"/>
                  </a:cubicBezTo>
                  <a:cubicBezTo>
                    <a:pt x="170" y="3485"/>
                    <a:pt x="170" y="3485"/>
                    <a:pt x="170" y="3485"/>
                  </a:cubicBezTo>
                  <a:cubicBezTo>
                    <a:pt x="583" y="3485"/>
                    <a:pt x="583" y="3485"/>
                    <a:pt x="583" y="3485"/>
                  </a:cubicBezTo>
                  <a:cubicBezTo>
                    <a:pt x="615" y="3485"/>
                    <a:pt x="646" y="3474"/>
                    <a:pt x="672" y="3455"/>
                  </a:cubicBezTo>
                  <a:cubicBezTo>
                    <a:pt x="768" y="3380"/>
                    <a:pt x="768" y="3380"/>
                    <a:pt x="768" y="3380"/>
                  </a:cubicBezTo>
                  <a:cubicBezTo>
                    <a:pt x="944" y="3244"/>
                    <a:pt x="1048" y="3033"/>
                    <a:pt x="1048" y="2810"/>
                  </a:cubicBezTo>
                  <a:cubicBezTo>
                    <a:pt x="1048" y="585"/>
                    <a:pt x="1048" y="585"/>
                    <a:pt x="1048" y="585"/>
                  </a:cubicBezTo>
                  <a:cubicBezTo>
                    <a:pt x="1048" y="262"/>
                    <a:pt x="786" y="0"/>
                    <a:pt x="46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39" name="Freeform 732">
              <a:extLst>
                <a:ext uri="{FF2B5EF4-FFF2-40B4-BE49-F238E27FC236}">
                  <a16:creationId xmlns:a16="http://schemas.microsoft.com/office/drawing/2014/main" id="{7D0550A2-641C-4647-B73E-D51E4D860DF6}"/>
                </a:ext>
                <a:ext uri="{C183D7F6-B498-43B3-948B-1728B52AA6E4}">
                  <adec:decorative xmlns:adec="http://schemas.microsoft.com/office/drawing/2017/decorative" val="1"/>
                </a:ext>
              </a:extLst>
            </p:cNvPr>
            <p:cNvSpPr>
              <a:spLocks/>
            </p:cNvSpPr>
            <p:nvPr/>
          </p:nvSpPr>
          <p:spPr bwMode="auto">
            <a:xfrm flipH="1">
              <a:off x="10179738" y="5482821"/>
              <a:ext cx="303540" cy="142921"/>
            </a:xfrm>
            <a:custGeom>
              <a:avLst/>
              <a:gdLst>
                <a:gd name="T0" fmla="*/ 177 w 2926"/>
                <a:gd name="T1" fmla="*/ 428 h 1378"/>
                <a:gd name="T2" fmla="*/ 0 w 2926"/>
                <a:gd name="T3" fmla="*/ 1378 h 1378"/>
                <a:gd name="T4" fmla="*/ 2926 w 2926"/>
                <a:gd name="T5" fmla="*/ 1378 h 1378"/>
                <a:gd name="T6" fmla="*/ 2125 w 2926"/>
                <a:gd name="T7" fmla="*/ 690 h 1378"/>
                <a:gd name="T8" fmla="*/ 1283 w 2926"/>
                <a:gd name="T9" fmla="*/ 0 h 1378"/>
                <a:gd name="T10" fmla="*/ 1283 w 2926"/>
                <a:gd name="T11" fmla="*/ 0 h 1378"/>
                <a:gd name="T12" fmla="*/ 930 w 2926"/>
                <a:gd name="T13" fmla="*/ 391 h 1378"/>
                <a:gd name="T14" fmla="*/ 918 w 2926"/>
                <a:gd name="T15" fmla="*/ 428 h 1378"/>
                <a:gd name="T16" fmla="*/ 177 w 2926"/>
                <a:gd name="T17" fmla="*/ 428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6" h="1378">
                  <a:moveTo>
                    <a:pt x="177" y="428"/>
                  </a:moveTo>
                  <a:cubicBezTo>
                    <a:pt x="177" y="428"/>
                    <a:pt x="30" y="873"/>
                    <a:pt x="0" y="1378"/>
                  </a:cubicBezTo>
                  <a:cubicBezTo>
                    <a:pt x="2926" y="1378"/>
                    <a:pt x="2926" y="1378"/>
                    <a:pt x="2926" y="1378"/>
                  </a:cubicBezTo>
                  <a:cubicBezTo>
                    <a:pt x="2926" y="1378"/>
                    <a:pt x="2837" y="690"/>
                    <a:pt x="2125" y="690"/>
                  </a:cubicBezTo>
                  <a:cubicBezTo>
                    <a:pt x="1413" y="690"/>
                    <a:pt x="1283" y="0"/>
                    <a:pt x="1283" y="0"/>
                  </a:cubicBezTo>
                  <a:cubicBezTo>
                    <a:pt x="1283" y="0"/>
                    <a:pt x="1283" y="0"/>
                    <a:pt x="1283" y="0"/>
                  </a:cubicBezTo>
                  <a:cubicBezTo>
                    <a:pt x="1115" y="74"/>
                    <a:pt x="986" y="216"/>
                    <a:pt x="930" y="391"/>
                  </a:cubicBezTo>
                  <a:cubicBezTo>
                    <a:pt x="918" y="428"/>
                    <a:pt x="918" y="428"/>
                    <a:pt x="918" y="428"/>
                  </a:cubicBezTo>
                  <a:lnTo>
                    <a:pt x="177" y="42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40" name="Freeform 733">
              <a:extLst>
                <a:ext uri="{FF2B5EF4-FFF2-40B4-BE49-F238E27FC236}">
                  <a16:creationId xmlns:a16="http://schemas.microsoft.com/office/drawing/2014/main" id="{546614BF-DA14-4E1C-BBD3-1A4D8FB33C17}"/>
                </a:ext>
                <a:ext uri="{C183D7F6-B498-43B3-948B-1728B52AA6E4}">
                  <adec:decorative xmlns:adec="http://schemas.microsoft.com/office/drawing/2017/decorative" val="1"/>
                </a:ext>
              </a:extLst>
            </p:cNvPr>
            <p:cNvSpPr>
              <a:spLocks/>
            </p:cNvSpPr>
            <p:nvPr/>
          </p:nvSpPr>
          <p:spPr bwMode="auto">
            <a:xfrm flipH="1">
              <a:off x="10767348" y="4344761"/>
              <a:ext cx="588495" cy="758411"/>
            </a:xfrm>
            <a:custGeom>
              <a:avLst/>
              <a:gdLst>
                <a:gd name="T0" fmla="*/ 608 w 5674"/>
                <a:gd name="T1" fmla="*/ 5526 h 7318"/>
                <a:gd name="T2" fmla="*/ 9 w 5674"/>
                <a:gd name="T3" fmla="*/ 434 h 7318"/>
                <a:gd name="T4" fmla="*/ 84 w 5674"/>
                <a:gd name="T5" fmla="*/ 207 h 7318"/>
                <a:gd name="T6" fmla="*/ 109 w 5674"/>
                <a:gd name="T7" fmla="*/ 180 h 7318"/>
                <a:gd name="T8" fmla="*/ 523 w 5674"/>
                <a:gd name="T9" fmla="*/ 32 h 7318"/>
                <a:gd name="T10" fmla="*/ 523 w 5674"/>
                <a:gd name="T11" fmla="*/ 32 h 7318"/>
                <a:gd name="T12" fmla="*/ 4495 w 5674"/>
                <a:gd name="T13" fmla="*/ 0 h 7318"/>
                <a:gd name="T14" fmla="*/ 4495 w 5674"/>
                <a:gd name="T15" fmla="*/ 0 h 7318"/>
                <a:gd name="T16" fmla="*/ 5674 w 5674"/>
                <a:gd name="T17" fmla="*/ 7318 h 7318"/>
                <a:gd name="T18" fmla="*/ 927 w 5674"/>
                <a:gd name="T19" fmla="*/ 7318 h 7318"/>
                <a:gd name="T20" fmla="*/ 263 w 5674"/>
                <a:gd name="T21" fmla="*/ 6285 h 7318"/>
                <a:gd name="T22" fmla="*/ 608 w 5674"/>
                <a:gd name="T23" fmla="*/ 5526 h 7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74" h="7318">
                  <a:moveTo>
                    <a:pt x="608" y="5526"/>
                  </a:moveTo>
                  <a:cubicBezTo>
                    <a:pt x="9" y="434"/>
                    <a:pt x="9" y="434"/>
                    <a:pt x="9" y="434"/>
                  </a:cubicBezTo>
                  <a:cubicBezTo>
                    <a:pt x="0" y="351"/>
                    <a:pt x="27" y="268"/>
                    <a:pt x="84" y="207"/>
                  </a:cubicBezTo>
                  <a:cubicBezTo>
                    <a:pt x="109" y="180"/>
                    <a:pt x="109" y="180"/>
                    <a:pt x="109" y="180"/>
                  </a:cubicBezTo>
                  <a:cubicBezTo>
                    <a:pt x="215" y="67"/>
                    <a:pt x="369" y="12"/>
                    <a:pt x="523" y="32"/>
                  </a:cubicBezTo>
                  <a:cubicBezTo>
                    <a:pt x="523" y="32"/>
                    <a:pt x="523" y="32"/>
                    <a:pt x="523" y="32"/>
                  </a:cubicBezTo>
                  <a:cubicBezTo>
                    <a:pt x="1842" y="209"/>
                    <a:pt x="3179" y="198"/>
                    <a:pt x="4495" y="0"/>
                  </a:cubicBezTo>
                  <a:cubicBezTo>
                    <a:pt x="4495" y="0"/>
                    <a:pt x="4495" y="0"/>
                    <a:pt x="4495" y="0"/>
                  </a:cubicBezTo>
                  <a:cubicBezTo>
                    <a:pt x="5674" y="7318"/>
                    <a:pt x="5674" y="7318"/>
                    <a:pt x="5674" y="7318"/>
                  </a:cubicBezTo>
                  <a:cubicBezTo>
                    <a:pt x="927" y="7318"/>
                    <a:pt x="927" y="7318"/>
                    <a:pt x="927" y="7318"/>
                  </a:cubicBezTo>
                  <a:cubicBezTo>
                    <a:pt x="396" y="7318"/>
                    <a:pt x="43" y="6769"/>
                    <a:pt x="263" y="6285"/>
                  </a:cubicBezTo>
                  <a:lnTo>
                    <a:pt x="608" y="55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1" name="Freeform 734">
              <a:extLst>
                <a:ext uri="{FF2B5EF4-FFF2-40B4-BE49-F238E27FC236}">
                  <a16:creationId xmlns:a16="http://schemas.microsoft.com/office/drawing/2014/main" id="{CE38ED79-92F6-4305-BD48-75159E7985B0}"/>
                </a:ext>
                <a:ext uri="{C183D7F6-B498-43B3-948B-1728B52AA6E4}">
                  <adec:decorative xmlns:adec="http://schemas.microsoft.com/office/drawing/2017/decorative" val="1"/>
                </a:ext>
              </a:extLst>
            </p:cNvPr>
            <p:cNvSpPr>
              <a:spLocks/>
            </p:cNvSpPr>
            <p:nvPr/>
          </p:nvSpPr>
          <p:spPr bwMode="auto">
            <a:xfrm flipH="1">
              <a:off x="10811596" y="4347416"/>
              <a:ext cx="544690" cy="805757"/>
            </a:xfrm>
            <a:custGeom>
              <a:avLst/>
              <a:gdLst>
                <a:gd name="T0" fmla="*/ 5248 w 5248"/>
                <a:gd name="T1" fmla="*/ 5344 h 7775"/>
                <a:gd name="T2" fmla="*/ 5248 w 5248"/>
                <a:gd name="T3" fmla="*/ 5212 h 7775"/>
                <a:gd name="T4" fmla="*/ 867 w 5248"/>
                <a:gd name="T5" fmla="*/ 5212 h 7775"/>
                <a:gd name="T6" fmla="*/ 845 w 5248"/>
                <a:gd name="T7" fmla="*/ 4158 h 7775"/>
                <a:gd name="T8" fmla="*/ 3053 w 5248"/>
                <a:gd name="T9" fmla="*/ 4182 h 7775"/>
                <a:gd name="T10" fmla="*/ 5117 w 5248"/>
                <a:gd name="T11" fmla="*/ 4154 h 7775"/>
                <a:gd name="T12" fmla="*/ 5113 w 5248"/>
                <a:gd name="T13" fmla="*/ 4022 h 7775"/>
                <a:gd name="T14" fmla="*/ 833 w 5248"/>
                <a:gd name="T15" fmla="*/ 4025 h 7775"/>
                <a:gd name="T16" fmla="*/ 720 w 5248"/>
                <a:gd name="T17" fmla="*/ 3006 h 7775"/>
                <a:gd name="T18" fmla="*/ 3140 w 5248"/>
                <a:gd name="T19" fmla="*/ 3109 h 7775"/>
                <a:gd name="T20" fmla="*/ 5059 w 5248"/>
                <a:gd name="T21" fmla="*/ 2996 h 7775"/>
                <a:gd name="T22" fmla="*/ 5040 w 5248"/>
                <a:gd name="T23" fmla="*/ 2865 h 7775"/>
                <a:gd name="T24" fmla="*/ 706 w 5248"/>
                <a:gd name="T25" fmla="*/ 2873 h 7775"/>
                <a:gd name="T26" fmla="*/ 604 w 5248"/>
                <a:gd name="T27" fmla="*/ 1944 h 7775"/>
                <a:gd name="T28" fmla="*/ 3049 w 5248"/>
                <a:gd name="T29" fmla="*/ 2051 h 7775"/>
                <a:gd name="T30" fmla="*/ 4960 w 5248"/>
                <a:gd name="T31" fmla="*/ 1938 h 7775"/>
                <a:gd name="T32" fmla="*/ 4940 w 5248"/>
                <a:gd name="T33" fmla="*/ 1807 h 7775"/>
                <a:gd name="T34" fmla="*/ 589 w 5248"/>
                <a:gd name="T35" fmla="*/ 1810 h 7775"/>
                <a:gd name="T36" fmla="*/ 491 w 5248"/>
                <a:gd name="T37" fmla="*/ 924 h 7775"/>
                <a:gd name="T38" fmla="*/ 2786 w 5248"/>
                <a:gd name="T39" fmla="*/ 1026 h 7775"/>
                <a:gd name="T40" fmla="*/ 4662 w 5248"/>
                <a:gd name="T41" fmla="*/ 913 h 7775"/>
                <a:gd name="T42" fmla="*/ 4643 w 5248"/>
                <a:gd name="T43" fmla="*/ 782 h 7775"/>
                <a:gd name="T44" fmla="*/ 477 w 5248"/>
                <a:gd name="T45" fmla="*/ 790 h 7775"/>
                <a:gd name="T46" fmla="*/ 390 w 5248"/>
                <a:gd name="T47" fmla="*/ 8 h 7775"/>
                <a:gd name="T48" fmla="*/ 78 w 5248"/>
                <a:gd name="T49" fmla="*/ 163 h 7775"/>
                <a:gd name="T50" fmla="*/ 10 w 5248"/>
                <a:gd name="T51" fmla="*/ 384 h 7775"/>
                <a:gd name="T52" fmla="*/ 348 w 5248"/>
                <a:gd name="T53" fmla="*/ 4349 h 7775"/>
                <a:gd name="T54" fmla="*/ 234 w 5248"/>
                <a:gd name="T55" fmla="*/ 6050 h 7775"/>
                <a:gd name="T56" fmla="*/ 97 w 5248"/>
                <a:gd name="T57" fmla="*/ 6664 h 7775"/>
                <a:gd name="T58" fmla="*/ 766 w 5248"/>
                <a:gd name="T59" fmla="*/ 7498 h 7775"/>
                <a:gd name="T60" fmla="*/ 1928 w 5248"/>
                <a:gd name="T61" fmla="*/ 7498 h 7775"/>
                <a:gd name="T62" fmla="*/ 3050 w 5248"/>
                <a:gd name="T63" fmla="*/ 7498 h 7775"/>
                <a:gd name="T64" fmla="*/ 3255 w 5248"/>
                <a:gd name="T65" fmla="*/ 7498 h 7775"/>
                <a:gd name="T66" fmla="*/ 3998 w 5248"/>
                <a:gd name="T67" fmla="*/ 7674 h 7775"/>
                <a:gd name="T68" fmla="*/ 4114 w 5248"/>
                <a:gd name="T69" fmla="*/ 7733 h 7775"/>
                <a:gd name="T70" fmla="*/ 4366 w 5248"/>
                <a:gd name="T71" fmla="*/ 7689 h 7775"/>
                <a:gd name="T72" fmla="*/ 4329 w 5248"/>
                <a:gd name="T73" fmla="*/ 7383 h 7775"/>
                <a:gd name="T74" fmla="*/ 3181 w 5248"/>
                <a:gd name="T75" fmla="*/ 7048 h 7775"/>
                <a:gd name="T76" fmla="*/ 3050 w 5248"/>
                <a:gd name="T77" fmla="*/ 7048 h 7775"/>
                <a:gd name="T78" fmla="*/ 3050 w 5248"/>
                <a:gd name="T79" fmla="*/ 7036 h 7775"/>
                <a:gd name="T80" fmla="*/ 888 w 5248"/>
                <a:gd name="T81" fmla="*/ 7057 h 7775"/>
                <a:gd name="T82" fmla="*/ 622 w 5248"/>
                <a:gd name="T83" fmla="*/ 6726 h 7775"/>
                <a:gd name="T84" fmla="*/ 682 w 5248"/>
                <a:gd name="T85" fmla="*/ 6468 h 7775"/>
                <a:gd name="T86" fmla="*/ 5049 w 5248"/>
                <a:gd name="T87" fmla="*/ 6468 h 7775"/>
                <a:gd name="T88" fmla="*/ 5049 w 5248"/>
                <a:gd name="T89" fmla="*/ 6336 h 7775"/>
                <a:gd name="T90" fmla="*/ 711 w 5248"/>
                <a:gd name="T91" fmla="*/ 6336 h 7775"/>
                <a:gd name="T92" fmla="*/ 858 w 5248"/>
                <a:gd name="T93" fmla="*/ 5344 h 7775"/>
                <a:gd name="T94" fmla="*/ 5248 w 5248"/>
                <a:gd name="T95" fmla="*/ 5344 h 7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48" h="7775">
                  <a:moveTo>
                    <a:pt x="5248" y="5344"/>
                  </a:moveTo>
                  <a:cubicBezTo>
                    <a:pt x="5248" y="5212"/>
                    <a:pt x="5248" y="5212"/>
                    <a:pt x="5248" y="5212"/>
                  </a:cubicBezTo>
                  <a:cubicBezTo>
                    <a:pt x="867" y="5212"/>
                    <a:pt x="867" y="5212"/>
                    <a:pt x="867" y="5212"/>
                  </a:cubicBezTo>
                  <a:cubicBezTo>
                    <a:pt x="887" y="4861"/>
                    <a:pt x="879" y="4509"/>
                    <a:pt x="845" y="4158"/>
                  </a:cubicBezTo>
                  <a:cubicBezTo>
                    <a:pt x="1195" y="4166"/>
                    <a:pt x="2050" y="4182"/>
                    <a:pt x="3053" y="4182"/>
                  </a:cubicBezTo>
                  <a:cubicBezTo>
                    <a:pt x="3711" y="4182"/>
                    <a:pt x="4433" y="4175"/>
                    <a:pt x="5117" y="4154"/>
                  </a:cubicBezTo>
                  <a:cubicBezTo>
                    <a:pt x="5113" y="4022"/>
                    <a:pt x="5113" y="4022"/>
                    <a:pt x="5113" y="4022"/>
                  </a:cubicBezTo>
                  <a:cubicBezTo>
                    <a:pt x="3372" y="4075"/>
                    <a:pt x="1390" y="4038"/>
                    <a:pt x="833" y="4025"/>
                  </a:cubicBezTo>
                  <a:cubicBezTo>
                    <a:pt x="720" y="3006"/>
                    <a:pt x="720" y="3006"/>
                    <a:pt x="720" y="3006"/>
                  </a:cubicBezTo>
                  <a:cubicBezTo>
                    <a:pt x="1053" y="3034"/>
                    <a:pt x="2062" y="3109"/>
                    <a:pt x="3140" y="3109"/>
                  </a:cubicBezTo>
                  <a:cubicBezTo>
                    <a:pt x="3800" y="3109"/>
                    <a:pt x="4487" y="3081"/>
                    <a:pt x="5059" y="2996"/>
                  </a:cubicBezTo>
                  <a:cubicBezTo>
                    <a:pt x="5040" y="2865"/>
                    <a:pt x="5040" y="2865"/>
                    <a:pt x="5040" y="2865"/>
                  </a:cubicBezTo>
                  <a:cubicBezTo>
                    <a:pt x="3522" y="3090"/>
                    <a:pt x="1186" y="2913"/>
                    <a:pt x="706" y="2873"/>
                  </a:cubicBezTo>
                  <a:cubicBezTo>
                    <a:pt x="604" y="1944"/>
                    <a:pt x="604" y="1944"/>
                    <a:pt x="604" y="1944"/>
                  </a:cubicBezTo>
                  <a:cubicBezTo>
                    <a:pt x="869" y="1967"/>
                    <a:pt x="1919" y="2051"/>
                    <a:pt x="3049" y="2051"/>
                  </a:cubicBezTo>
                  <a:cubicBezTo>
                    <a:pt x="3705" y="2051"/>
                    <a:pt x="4388" y="2023"/>
                    <a:pt x="4960" y="1938"/>
                  </a:cubicBezTo>
                  <a:cubicBezTo>
                    <a:pt x="4940" y="1807"/>
                    <a:pt x="4940" y="1807"/>
                    <a:pt x="4940" y="1807"/>
                  </a:cubicBezTo>
                  <a:cubicBezTo>
                    <a:pt x="3359" y="2041"/>
                    <a:pt x="920" y="1839"/>
                    <a:pt x="589" y="1810"/>
                  </a:cubicBezTo>
                  <a:cubicBezTo>
                    <a:pt x="491" y="924"/>
                    <a:pt x="491" y="924"/>
                    <a:pt x="491" y="924"/>
                  </a:cubicBezTo>
                  <a:cubicBezTo>
                    <a:pt x="815" y="952"/>
                    <a:pt x="1759" y="1026"/>
                    <a:pt x="2786" y="1026"/>
                  </a:cubicBezTo>
                  <a:cubicBezTo>
                    <a:pt x="3422" y="1026"/>
                    <a:pt x="4090" y="998"/>
                    <a:pt x="4662" y="913"/>
                  </a:cubicBezTo>
                  <a:cubicBezTo>
                    <a:pt x="4643" y="782"/>
                    <a:pt x="4643" y="782"/>
                    <a:pt x="4643" y="782"/>
                  </a:cubicBezTo>
                  <a:cubicBezTo>
                    <a:pt x="3133" y="1006"/>
                    <a:pt x="945" y="832"/>
                    <a:pt x="477" y="790"/>
                  </a:cubicBezTo>
                  <a:cubicBezTo>
                    <a:pt x="390" y="8"/>
                    <a:pt x="390" y="8"/>
                    <a:pt x="390" y="8"/>
                  </a:cubicBezTo>
                  <a:cubicBezTo>
                    <a:pt x="253" y="0"/>
                    <a:pt x="145" y="87"/>
                    <a:pt x="78" y="163"/>
                  </a:cubicBezTo>
                  <a:cubicBezTo>
                    <a:pt x="25" y="224"/>
                    <a:pt x="0" y="304"/>
                    <a:pt x="10" y="384"/>
                  </a:cubicBezTo>
                  <a:cubicBezTo>
                    <a:pt x="348" y="4349"/>
                    <a:pt x="348" y="4349"/>
                    <a:pt x="348" y="4349"/>
                  </a:cubicBezTo>
                  <a:cubicBezTo>
                    <a:pt x="397" y="4918"/>
                    <a:pt x="358" y="5492"/>
                    <a:pt x="234" y="6050"/>
                  </a:cubicBezTo>
                  <a:cubicBezTo>
                    <a:pt x="97" y="6664"/>
                    <a:pt x="97" y="6664"/>
                    <a:pt x="97" y="6664"/>
                  </a:cubicBezTo>
                  <a:cubicBezTo>
                    <a:pt x="2" y="7092"/>
                    <a:pt x="328" y="7498"/>
                    <a:pt x="766" y="7498"/>
                  </a:cubicBezTo>
                  <a:cubicBezTo>
                    <a:pt x="1928" y="7498"/>
                    <a:pt x="1928" y="7498"/>
                    <a:pt x="1928" y="7498"/>
                  </a:cubicBezTo>
                  <a:cubicBezTo>
                    <a:pt x="3050" y="7498"/>
                    <a:pt x="3050" y="7498"/>
                    <a:pt x="3050" y="7498"/>
                  </a:cubicBezTo>
                  <a:cubicBezTo>
                    <a:pt x="3255" y="7498"/>
                    <a:pt x="3255" y="7498"/>
                    <a:pt x="3255" y="7498"/>
                  </a:cubicBezTo>
                  <a:cubicBezTo>
                    <a:pt x="3513" y="7498"/>
                    <a:pt x="3767" y="7559"/>
                    <a:pt x="3998" y="7674"/>
                  </a:cubicBezTo>
                  <a:cubicBezTo>
                    <a:pt x="4114" y="7733"/>
                    <a:pt x="4114" y="7733"/>
                    <a:pt x="4114" y="7733"/>
                  </a:cubicBezTo>
                  <a:cubicBezTo>
                    <a:pt x="4199" y="7775"/>
                    <a:pt x="4301" y="7758"/>
                    <a:pt x="4366" y="7689"/>
                  </a:cubicBezTo>
                  <a:cubicBezTo>
                    <a:pt x="4453" y="7598"/>
                    <a:pt x="4435" y="7451"/>
                    <a:pt x="4329" y="7383"/>
                  </a:cubicBezTo>
                  <a:cubicBezTo>
                    <a:pt x="3987" y="7166"/>
                    <a:pt x="3589" y="7048"/>
                    <a:pt x="3181" y="7048"/>
                  </a:cubicBezTo>
                  <a:cubicBezTo>
                    <a:pt x="3050" y="7048"/>
                    <a:pt x="3050" y="7048"/>
                    <a:pt x="3050" y="7048"/>
                  </a:cubicBezTo>
                  <a:cubicBezTo>
                    <a:pt x="3050" y="7036"/>
                    <a:pt x="3050" y="7036"/>
                    <a:pt x="3050" y="7036"/>
                  </a:cubicBezTo>
                  <a:cubicBezTo>
                    <a:pt x="888" y="7057"/>
                    <a:pt x="888" y="7057"/>
                    <a:pt x="888" y="7057"/>
                  </a:cubicBezTo>
                  <a:cubicBezTo>
                    <a:pt x="713" y="7058"/>
                    <a:pt x="583" y="6896"/>
                    <a:pt x="622" y="6726"/>
                  </a:cubicBezTo>
                  <a:cubicBezTo>
                    <a:pt x="682" y="6468"/>
                    <a:pt x="682" y="6468"/>
                    <a:pt x="682" y="6468"/>
                  </a:cubicBezTo>
                  <a:cubicBezTo>
                    <a:pt x="5049" y="6468"/>
                    <a:pt x="5049" y="6468"/>
                    <a:pt x="5049" y="6468"/>
                  </a:cubicBezTo>
                  <a:cubicBezTo>
                    <a:pt x="5049" y="6336"/>
                    <a:pt x="5049" y="6336"/>
                    <a:pt x="5049" y="6336"/>
                  </a:cubicBezTo>
                  <a:cubicBezTo>
                    <a:pt x="711" y="6336"/>
                    <a:pt x="711" y="6336"/>
                    <a:pt x="711" y="6336"/>
                  </a:cubicBezTo>
                  <a:cubicBezTo>
                    <a:pt x="784" y="6009"/>
                    <a:pt x="833" y="5678"/>
                    <a:pt x="858" y="5344"/>
                  </a:cubicBezTo>
                  <a:lnTo>
                    <a:pt x="5248" y="53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2" name="Freeform 735">
              <a:extLst>
                <a:ext uri="{FF2B5EF4-FFF2-40B4-BE49-F238E27FC236}">
                  <a16:creationId xmlns:a16="http://schemas.microsoft.com/office/drawing/2014/main" id="{A5B13CEC-A4F7-478D-A358-3E2C128E13B6}"/>
                </a:ext>
                <a:ext uri="{C183D7F6-B498-43B3-948B-1728B52AA6E4}">
                  <adec:decorative xmlns:adec="http://schemas.microsoft.com/office/drawing/2017/decorative" val="1"/>
                </a:ext>
              </a:extLst>
            </p:cNvPr>
            <p:cNvSpPr>
              <a:spLocks/>
            </p:cNvSpPr>
            <p:nvPr/>
          </p:nvSpPr>
          <p:spPr bwMode="auto">
            <a:xfrm flipH="1">
              <a:off x="10373543" y="4796091"/>
              <a:ext cx="647787" cy="739827"/>
            </a:xfrm>
            <a:custGeom>
              <a:avLst/>
              <a:gdLst>
                <a:gd name="T0" fmla="*/ 2633 w 6244"/>
                <a:gd name="T1" fmla="*/ 1261 h 7141"/>
                <a:gd name="T2" fmla="*/ 4522 w 6244"/>
                <a:gd name="T3" fmla="*/ 2524 h 7141"/>
                <a:gd name="T4" fmla="*/ 4871 w 6244"/>
                <a:gd name="T5" fmla="*/ 3029 h 7141"/>
                <a:gd name="T6" fmla="*/ 6244 w 6244"/>
                <a:gd name="T7" fmla="*/ 6495 h 7141"/>
                <a:gd name="T8" fmla="*/ 5185 w 6244"/>
                <a:gd name="T9" fmla="*/ 7141 h 7141"/>
                <a:gd name="T10" fmla="*/ 3686 w 6244"/>
                <a:gd name="T11" fmla="*/ 4054 h 7141"/>
                <a:gd name="T12" fmla="*/ 3309 w 6244"/>
                <a:gd name="T13" fmla="*/ 3932 h 7141"/>
                <a:gd name="T14" fmla="*/ 0 w 6244"/>
                <a:gd name="T15" fmla="*/ 1664 h 7141"/>
                <a:gd name="T16" fmla="*/ 0 w 6244"/>
                <a:gd name="T17" fmla="*/ 1664 h 7141"/>
                <a:gd name="T18" fmla="*/ 950 w 6244"/>
                <a:gd name="T19" fmla="*/ 0 h 7141"/>
                <a:gd name="T20" fmla="*/ 2633 w 6244"/>
                <a:gd name="T21" fmla="*/ 1261 h 7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44" h="7141">
                  <a:moveTo>
                    <a:pt x="2633" y="1261"/>
                  </a:moveTo>
                  <a:cubicBezTo>
                    <a:pt x="4522" y="2524"/>
                    <a:pt x="4522" y="2524"/>
                    <a:pt x="4522" y="2524"/>
                  </a:cubicBezTo>
                  <a:cubicBezTo>
                    <a:pt x="4699" y="2642"/>
                    <a:pt x="4824" y="2823"/>
                    <a:pt x="4871" y="3029"/>
                  </a:cubicBezTo>
                  <a:cubicBezTo>
                    <a:pt x="5032" y="3726"/>
                    <a:pt x="5727" y="5159"/>
                    <a:pt x="6244" y="6495"/>
                  </a:cubicBezTo>
                  <a:cubicBezTo>
                    <a:pt x="6017" y="6728"/>
                    <a:pt x="5185" y="7141"/>
                    <a:pt x="5185" y="7141"/>
                  </a:cubicBezTo>
                  <a:cubicBezTo>
                    <a:pt x="4404" y="5633"/>
                    <a:pt x="3686" y="4054"/>
                    <a:pt x="3686" y="4054"/>
                  </a:cubicBezTo>
                  <a:cubicBezTo>
                    <a:pt x="3309" y="3932"/>
                    <a:pt x="3309" y="3932"/>
                    <a:pt x="3309" y="3932"/>
                  </a:cubicBezTo>
                  <a:cubicBezTo>
                    <a:pt x="2010" y="3513"/>
                    <a:pt x="860" y="2725"/>
                    <a:pt x="0" y="1664"/>
                  </a:cubicBezTo>
                  <a:cubicBezTo>
                    <a:pt x="0" y="1664"/>
                    <a:pt x="0" y="1664"/>
                    <a:pt x="0" y="1664"/>
                  </a:cubicBezTo>
                  <a:cubicBezTo>
                    <a:pt x="950" y="0"/>
                    <a:pt x="950" y="0"/>
                    <a:pt x="950" y="0"/>
                  </a:cubicBezTo>
                  <a:lnTo>
                    <a:pt x="2633" y="126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43" name="Freeform 736">
              <a:extLst>
                <a:ext uri="{FF2B5EF4-FFF2-40B4-BE49-F238E27FC236}">
                  <a16:creationId xmlns:a16="http://schemas.microsoft.com/office/drawing/2014/main" id="{39167955-6C61-4615-87AE-A25CD9BA8AD0}"/>
                </a:ext>
                <a:ext uri="{C183D7F6-B498-43B3-948B-1728B52AA6E4}">
                  <adec:decorative xmlns:adec="http://schemas.microsoft.com/office/drawing/2017/decorative" val="1"/>
                </a:ext>
              </a:extLst>
            </p:cNvPr>
            <p:cNvSpPr>
              <a:spLocks/>
            </p:cNvSpPr>
            <p:nvPr/>
          </p:nvSpPr>
          <p:spPr bwMode="auto">
            <a:xfrm flipH="1">
              <a:off x="10612481" y="4816445"/>
              <a:ext cx="619026" cy="707084"/>
            </a:xfrm>
            <a:custGeom>
              <a:avLst/>
              <a:gdLst>
                <a:gd name="T0" fmla="*/ 2605 w 5965"/>
                <a:gd name="T1" fmla="*/ 429 h 6823"/>
                <a:gd name="T2" fmla="*/ 411 w 5965"/>
                <a:gd name="T3" fmla="*/ 0 h 6823"/>
                <a:gd name="T4" fmla="*/ 0 w 5965"/>
                <a:gd name="T5" fmla="*/ 859 h 6823"/>
                <a:gd name="T6" fmla="*/ 1305 w 5965"/>
                <a:gd name="T7" fmla="*/ 2576 h 6823"/>
                <a:gd name="T8" fmla="*/ 3649 w 5965"/>
                <a:gd name="T9" fmla="*/ 3281 h 6823"/>
                <a:gd name="T10" fmla="*/ 2513 w 5965"/>
                <a:gd name="T11" fmla="*/ 6531 h 6823"/>
                <a:gd name="T12" fmla="*/ 3456 w 5965"/>
                <a:gd name="T13" fmla="*/ 6823 h 6823"/>
                <a:gd name="T14" fmla="*/ 5715 w 5965"/>
                <a:gd name="T15" fmla="*/ 3391 h 6823"/>
                <a:gd name="T16" fmla="*/ 5640 w 5965"/>
                <a:gd name="T17" fmla="*/ 2293 h 6823"/>
                <a:gd name="T18" fmla="*/ 2605 w 5965"/>
                <a:gd name="T19" fmla="*/ 429 h 6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5" h="6823">
                  <a:moveTo>
                    <a:pt x="2605" y="429"/>
                  </a:moveTo>
                  <a:cubicBezTo>
                    <a:pt x="411" y="0"/>
                    <a:pt x="411" y="0"/>
                    <a:pt x="411" y="0"/>
                  </a:cubicBezTo>
                  <a:cubicBezTo>
                    <a:pt x="0" y="859"/>
                    <a:pt x="0" y="859"/>
                    <a:pt x="0" y="859"/>
                  </a:cubicBezTo>
                  <a:cubicBezTo>
                    <a:pt x="0" y="1659"/>
                    <a:pt x="534" y="2361"/>
                    <a:pt x="1305" y="2576"/>
                  </a:cubicBezTo>
                  <a:cubicBezTo>
                    <a:pt x="3649" y="3281"/>
                    <a:pt x="3649" y="3281"/>
                    <a:pt x="3649" y="3281"/>
                  </a:cubicBezTo>
                  <a:cubicBezTo>
                    <a:pt x="2947" y="4731"/>
                    <a:pt x="2513" y="6531"/>
                    <a:pt x="2513" y="6531"/>
                  </a:cubicBezTo>
                  <a:cubicBezTo>
                    <a:pt x="2513" y="6531"/>
                    <a:pt x="2768" y="6823"/>
                    <a:pt x="3456" y="6823"/>
                  </a:cubicBezTo>
                  <a:cubicBezTo>
                    <a:pt x="4046" y="5845"/>
                    <a:pt x="4948" y="4477"/>
                    <a:pt x="5715" y="3391"/>
                  </a:cubicBezTo>
                  <a:cubicBezTo>
                    <a:pt x="5963" y="3040"/>
                    <a:pt x="5965" y="2575"/>
                    <a:pt x="5640" y="2293"/>
                  </a:cubicBezTo>
                  <a:cubicBezTo>
                    <a:pt x="4576" y="1371"/>
                    <a:pt x="2605" y="429"/>
                    <a:pt x="2605" y="42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44" name="Freeform 737">
              <a:extLst>
                <a:ext uri="{FF2B5EF4-FFF2-40B4-BE49-F238E27FC236}">
                  <a16:creationId xmlns:a16="http://schemas.microsoft.com/office/drawing/2014/main" id="{5140342C-425F-4CBE-A6C2-40ABB63FF212}"/>
                </a:ext>
                <a:ext uri="{C183D7F6-B498-43B3-948B-1728B52AA6E4}">
                  <adec:decorative xmlns:adec="http://schemas.microsoft.com/office/drawing/2017/decorative" val="1"/>
                </a:ext>
              </a:extLst>
            </p:cNvPr>
            <p:cNvSpPr>
              <a:spLocks/>
            </p:cNvSpPr>
            <p:nvPr/>
          </p:nvSpPr>
          <p:spPr bwMode="auto">
            <a:xfrm flipH="1">
              <a:off x="10577083" y="4230159"/>
              <a:ext cx="665929" cy="720358"/>
            </a:xfrm>
            <a:custGeom>
              <a:avLst/>
              <a:gdLst>
                <a:gd name="T0" fmla="*/ 5445 w 6420"/>
                <a:gd name="T1" fmla="*/ 835 h 6950"/>
                <a:gd name="T2" fmla="*/ 5445 w 6420"/>
                <a:gd name="T3" fmla="*/ 835 h 6950"/>
                <a:gd name="T4" fmla="*/ 4747 w 6420"/>
                <a:gd name="T5" fmla="*/ 324 h 6950"/>
                <a:gd name="T6" fmla="*/ 3566 w 6420"/>
                <a:gd name="T7" fmla="*/ 0 h 6950"/>
                <a:gd name="T8" fmla="*/ 3125 w 6420"/>
                <a:gd name="T9" fmla="*/ 79 h 6950"/>
                <a:gd name="T10" fmla="*/ 325 w 6420"/>
                <a:gd name="T11" fmla="*/ 3263 h 6950"/>
                <a:gd name="T12" fmla="*/ 0 w 6420"/>
                <a:gd name="T13" fmla="*/ 6840 h 6950"/>
                <a:gd name="T14" fmla="*/ 2744 w 6420"/>
                <a:gd name="T15" fmla="*/ 6518 h 6950"/>
                <a:gd name="T16" fmla="*/ 4870 w 6420"/>
                <a:gd name="T17" fmla="*/ 6688 h 6950"/>
                <a:gd name="T18" fmla="*/ 4626 w 6420"/>
                <a:gd name="T19" fmla="*/ 5571 h 6950"/>
                <a:gd name="T20" fmla="*/ 4683 w 6420"/>
                <a:gd name="T21" fmla="*/ 4540 h 6950"/>
                <a:gd name="T22" fmla="*/ 5247 w 6420"/>
                <a:gd name="T23" fmla="*/ 2868 h 6950"/>
                <a:gd name="T24" fmla="*/ 5411 w 6420"/>
                <a:gd name="T25" fmla="*/ 2966 h 6950"/>
                <a:gd name="T26" fmla="*/ 6420 w 6420"/>
                <a:gd name="T27" fmla="*/ 2243 h 6950"/>
                <a:gd name="T28" fmla="*/ 5445 w 6420"/>
                <a:gd name="T29" fmla="*/ 835 h 6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20" h="6950">
                  <a:moveTo>
                    <a:pt x="5445" y="835"/>
                  </a:moveTo>
                  <a:cubicBezTo>
                    <a:pt x="5445" y="835"/>
                    <a:pt x="5445" y="835"/>
                    <a:pt x="5445" y="835"/>
                  </a:cubicBezTo>
                  <a:cubicBezTo>
                    <a:pt x="5289" y="594"/>
                    <a:pt x="5047" y="407"/>
                    <a:pt x="4747" y="324"/>
                  </a:cubicBezTo>
                  <a:cubicBezTo>
                    <a:pt x="3566" y="0"/>
                    <a:pt x="3566" y="0"/>
                    <a:pt x="3566" y="0"/>
                  </a:cubicBezTo>
                  <a:cubicBezTo>
                    <a:pt x="3125" y="79"/>
                    <a:pt x="3125" y="79"/>
                    <a:pt x="3125" y="79"/>
                  </a:cubicBezTo>
                  <a:cubicBezTo>
                    <a:pt x="1727" y="330"/>
                    <a:pt x="655" y="1248"/>
                    <a:pt x="325" y="3263"/>
                  </a:cubicBezTo>
                  <a:cubicBezTo>
                    <a:pt x="0" y="6840"/>
                    <a:pt x="0" y="6840"/>
                    <a:pt x="0" y="6840"/>
                  </a:cubicBezTo>
                  <a:cubicBezTo>
                    <a:pt x="0" y="6840"/>
                    <a:pt x="1251" y="5945"/>
                    <a:pt x="2744" y="6518"/>
                  </a:cubicBezTo>
                  <a:cubicBezTo>
                    <a:pt x="3871" y="6950"/>
                    <a:pt x="4870" y="6688"/>
                    <a:pt x="4870" y="6688"/>
                  </a:cubicBezTo>
                  <a:cubicBezTo>
                    <a:pt x="4626" y="5571"/>
                    <a:pt x="4626" y="5571"/>
                    <a:pt x="4626" y="5571"/>
                  </a:cubicBezTo>
                  <a:cubicBezTo>
                    <a:pt x="4551" y="5228"/>
                    <a:pt x="4570" y="4872"/>
                    <a:pt x="4683" y="4540"/>
                  </a:cubicBezTo>
                  <a:cubicBezTo>
                    <a:pt x="5247" y="2868"/>
                    <a:pt x="5247" y="2868"/>
                    <a:pt x="5247" y="2868"/>
                  </a:cubicBezTo>
                  <a:cubicBezTo>
                    <a:pt x="5345" y="2709"/>
                    <a:pt x="5374" y="2923"/>
                    <a:pt x="5411" y="2966"/>
                  </a:cubicBezTo>
                  <a:cubicBezTo>
                    <a:pt x="6150" y="2824"/>
                    <a:pt x="6420" y="2243"/>
                    <a:pt x="6420" y="2243"/>
                  </a:cubicBezTo>
                  <a:lnTo>
                    <a:pt x="5445" y="83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5" name="Freeform 738">
              <a:extLst>
                <a:ext uri="{FF2B5EF4-FFF2-40B4-BE49-F238E27FC236}">
                  <a16:creationId xmlns:a16="http://schemas.microsoft.com/office/drawing/2014/main" id="{1B2E1D01-413B-4D78-8302-3A165A1D20E5}"/>
                </a:ext>
                <a:ext uri="{C183D7F6-B498-43B3-948B-1728B52AA6E4}">
                  <adec:decorative xmlns:adec="http://schemas.microsoft.com/office/drawing/2017/decorative" val="1"/>
                </a:ext>
              </a:extLst>
            </p:cNvPr>
            <p:cNvSpPr>
              <a:spLocks/>
            </p:cNvSpPr>
            <p:nvPr/>
          </p:nvSpPr>
          <p:spPr bwMode="auto">
            <a:xfrm flipH="1">
              <a:off x="10702304" y="4283257"/>
              <a:ext cx="92478" cy="123452"/>
            </a:xfrm>
            <a:custGeom>
              <a:avLst/>
              <a:gdLst>
                <a:gd name="T0" fmla="*/ 748 w 891"/>
                <a:gd name="T1" fmla="*/ 556 h 1193"/>
                <a:gd name="T2" fmla="*/ 477 w 891"/>
                <a:gd name="T3" fmla="*/ 0 h 1193"/>
                <a:gd name="T4" fmla="*/ 163 w 891"/>
                <a:gd name="T5" fmla="*/ 488 h 1193"/>
                <a:gd name="T6" fmla="*/ 0 w 891"/>
                <a:gd name="T7" fmla="*/ 1193 h 1193"/>
                <a:gd name="T8" fmla="*/ 513 w 891"/>
                <a:gd name="T9" fmla="*/ 757 h 1193"/>
                <a:gd name="T10" fmla="*/ 850 w 891"/>
                <a:gd name="T11" fmla="*/ 1193 h 1193"/>
                <a:gd name="T12" fmla="*/ 748 w 891"/>
                <a:gd name="T13" fmla="*/ 556 h 1193"/>
              </a:gdLst>
              <a:ahLst/>
              <a:cxnLst>
                <a:cxn ang="0">
                  <a:pos x="T0" y="T1"/>
                </a:cxn>
                <a:cxn ang="0">
                  <a:pos x="T2" y="T3"/>
                </a:cxn>
                <a:cxn ang="0">
                  <a:pos x="T4" y="T5"/>
                </a:cxn>
                <a:cxn ang="0">
                  <a:pos x="T6" y="T7"/>
                </a:cxn>
                <a:cxn ang="0">
                  <a:pos x="T8" y="T9"/>
                </a:cxn>
                <a:cxn ang="0">
                  <a:pos x="T10" y="T11"/>
                </a:cxn>
                <a:cxn ang="0">
                  <a:pos x="T12" y="T13"/>
                </a:cxn>
              </a:cxnLst>
              <a:rect l="0" t="0" r="r" b="b"/>
              <a:pathLst>
                <a:path w="891" h="1193">
                  <a:moveTo>
                    <a:pt x="748" y="556"/>
                  </a:moveTo>
                  <a:cubicBezTo>
                    <a:pt x="477" y="0"/>
                    <a:pt x="477" y="0"/>
                    <a:pt x="477" y="0"/>
                  </a:cubicBezTo>
                  <a:cubicBezTo>
                    <a:pt x="163" y="488"/>
                    <a:pt x="163" y="488"/>
                    <a:pt x="163" y="488"/>
                  </a:cubicBezTo>
                  <a:cubicBezTo>
                    <a:pt x="0" y="1193"/>
                    <a:pt x="0" y="1193"/>
                    <a:pt x="0" y="1193"/>
                  </a:cubicBezTo>
                  <a:cubicBezTo>
                    <a:pt x="513" y="757"/>
                    <a:pt x="513" y="757"/>
                    <a:pt x="513" y="757"/>
                  </a:cubicBezTo>
                  <a:cubicBezTo>
                    <a:pt x="607" y="869"/>
                    <a:pt x="735" y="1028"/>
                    <a:pt x="850" y="1193"/>
                  </a:cubicBezTo>
                  <a:cubicBezTo>
                    <a:pt x="891" y="923"/>
                    <a:pt x="748" y="556"/>
                    <a:pt x="748" y="556"/>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6" name="Freeform 739">
              <a:extLst>
                <a:ext uri="{FF2B5EF4-FFF2-40B4-BE49-F238E27FC236}">
                  <a16:creationId xmlns:a16="http://schemas.microsoft.com/office/drawing/2014/main" id="{36869BE5-2DD3-4005-969D-50A4C2101670}"/>
                </a:ext>
                <a:ext uri="{C183D7F6-B498-43B3-948B-1728B52AA6E4}">
                  <adec:decorative xmlns:adec="http://schemas.microsoft.com/office/drawing/2017/decorative" val="1"/>
                </a:ext>
              </a:extLst>
            </p:cNvPr>
            <p:cNvSpPr>
              <a:spLocks/>
            </p:cNvSpPr>
            <p:nvPr/>
          </p:nvSpPr>
          <p:spPr bwMode="auto">
            <a:xfrm flipH="1">
              <a:off x="10971330" y="4516886"/>
              <a:ext cx="52212" cy="63275"/>
            </a:xfrm>
            <a:custGeom>
              <a:avLst/>
              <a:gdLst>
                <a:gd name="T0" fmla="*/ 0 w 504"/>
                <a:gd name="T1" fmla="*/ 610 h 610"/>
                <a:gd name="T2" fmla="*/ 136 w 504"/>
                <a:gd name="T3" fmla="*/ 610 h 610"/>
                <a:gd name="T4" fmla="*/ 399 w 504"/>
                <a:gd name="T5" fmla="*/ 475 h 610"/>
                <a:gd name="T6" fmla="*/ 504 w 504"/>
                <a:gd name="T7" fmla="*/ 329 h 610"/>
                <a:gd name="T8" fmla="*/ 17 w 504"/>
                <a:gd name="T9" fmla="*/ 0 h 610"/>
                <a:gd name="T10" fmla="*/ 0 w 504"/>
                <a:gd name="T11" fmla="*/ 610 h 610"/>
              </a:gdLst>
              <a:ahLst/>
              <a:cxnLst>
                <a:cxn ang="0">
                  <a:pos x="T0" y="T1"/>
                </a:cxn>
                <a:cxn ang="0">
                  <a:pos x="T2" y="T3"/>
                </a:cxn>
                <a:cxn ang="0">
                  <a:pos x="T4" y="T5"/>
                </a:cxn>
                <a:cxn ang="0">
                  <a:pos x="T6" y="T7"/>
                </a:cxn>
                <a:cxn ang="0">
                  <a:pos x="T8" y="T9"/>
                </a:cxn>
                <a:cxn ang="0">
                  <a:pos x="T10" y="T11"/>
                </a:cxn>
              </a:cxnLst>
              <a:rect l="0" t="0" r="r" b="b"/>
              <a:pathLst>
                <a:path w="504" h="610">
                  <a:moveTo>
                    <a:pt x="0" y="610"/>
                  </a:moveTo>
                  <a:cubicBezTo>
                    <a:pt x="136" y="610"/>
                    <a:pt x="136" y="610"/>
                    <a:pt x="136" y="610"/>
                  </a:cubicBezTo>
                  <a:cubicBezTo>
                    <a:pt x="241" y="610"/>
                    <a:pt x="339" y="560"/>
                    <a:pt x="399" y="475"/>
                  </a:cubicBezTo>
                  <a:cubicBezTo>
                    <a:pt x="504" y="329"/>
                    <a:pt x="504" y="329"/>
                    <a:pt x="504" y="329"/>
                  </a:cubicBezTo>
                  <a:cubicBezTo>
                    <a:pt x="17" y="0"/>
                    <a:pt x="17" y="0"/>
                    <a:pt x="17" y="0"/>
                  </a:cubicBezTo>
                  <a:lnTo>
                    <a:pt x="0" y="610"/>
                  </a:ln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7" name="Freeform 740">
              <a:extLst>
                <a:ext uri="{FF2B5EF4-FFF2-40B4-BE49-F238E27FC236}">
                  <a16:creationId xmlns:a16="http://schemas.microsoft.com/office/drawing/2014/main" id="{0F9A6A92-DA95-4EBD-8558-9BED7B1BD7B1}"/>
                </a:ext>
                <a:ext uri="{C183D7F6-B498-43B3-948B-1728B52AA6E4}">
                  <adec:decorative xmlns:adec="http://schemas.microsoft.com/office/drawing/2017/decorative" val="1"/>
                </a:ext>
              </a:extLst>
            </p:cNvPr>
            <p:cNvSpPr>
              <a:spLocks/>
            </p:cNvSpPr>
            <p:nvPr/>
          </p:nvSpPr>
          <p:spPr bwMode="auto">
            <a:xfrm flipH="1">
              <a:off x="10582835" y="4467771"/>
              <a:ext cx="438938" cy="206638"/>
            </a:xfrm>
            <a:custGeom>
              <a:avLst/>
              <a:gdLst>
                <a:gd name="T0" fmla="*/ 0 w 992"/>
                <a:gd name="T1" fmla="*/ 165 h 467"/>
                <a:gd name="T2" fmla="*/ 224 w 992"/>
                <a:gd name="T3" fmla="*/ 467 h 467"/>
                <a:gd name="T4" fmla="*/ 992 w 992"/>
                <a:gd name="T5" fmla="*/ 467 h 467"/>
                <a:gd name="T6" fmla="*/ 975 w 992"/>
                <a:gd name="T7" fmla="*/ 326 h 467"/>
                <a:gd name="T8" fmla="*/ 397 w 992"/>
                <a:gd name="T9" fmla="*/ 250 h 467"/>
                <a:gd name="T10" fmla="*/ 312 w 992"/>
                <a:gd name="T11" fmla="*/ 33 h 467"/>
                <a:gd name="T12" fmla="*/ 176 w 992"/>
                <a:gd name="T13" fmla="*/ 0 h 467"/>
                <a:gd name="T14" fmla="*/ 23 w 992"/>
                <a:gd name="T15" fmla="*/ 81 h 467"/>
                <a:gd name="T16" fmla="*/ 0 w 992"/>
                <a:gd name="T17" fmla="*/ 165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2" h="467">
                  <a:moveTo>
                    <a:pt x="0" y="165"/>
                  </a:moveTo>
                  <a:lnTo>
                    <a:pt x="224" y="467"/>
                  </a:lnTo>
                  <a:lnTo>
                    <a:pt x="992" y="467"/>
                  </a:lnTo>
                  <a:lnTo>
                    <a:pt x="975" y="326"/>
                  </a:lnTo>
                  <a:lnTo>
                    <a:pt x="397" y="250"/>
                  </a:lnTo>
                  <a:lnTo>
                    <a:pt x="312" y="33"/>
                  </a:lnTo>
                  <a:lnTo>
                    <a:pt x="176" y="0"/>
                  </a:lnTo>
                  <a:lnTo>
                    <a:pt x="23" y="81"/>
                  </a:lnTo>
                  <a:lnTo>
                    <a:pt x="0" y="16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8" name="Freeform 741">
              <a:extLst>
                <a:ext uri="{FF2B5EF4-FFF2-40B4-BE49-F238E27FC236}">
                  <a16:creationId xmlns:a16="http://schemas.microsoft.com/office/drawing/2014/main" id="{E26175E3-677C-455B-98A0-20ECC20F794C}"/>
                </a:ext>
                <a:ext uri="{C183D7F6-B498-43B3-948B-1728B52AA6E4}">
                  <adec:decorative xmlns:adec="http://schemas.microsoft.com/office/drawing/2017/decorative" val="1"/>
                </a:ext>
              </a:extLst>
            </p:cNvPr>
            <p:cNvSpPr>
              <a:spLocks/>
            </p:cNvSpPr>
            <p:nvPr/>
          </p:nvSpPr>
          <p:spPr bwMode="auto">
            <a:xfrm flipH="1">
              <a:off x="10621330" y="3897856"/>
              <a:ext cx="337168" cy="410179"/>
            </a:xfrm>
            <a:custGeom>
              <a:avLst/>
              <a:gdLst>
                <a:gd name="T0" fmla="*/ 1923 w 3248"/>
                <a:gd name="T1" fmla="*/ 62 h 3959"/>
                <a:gd name="T2" fmla="*/ 1923 w 3248"/>
                <a:gd name="T3" fmla="*/ 62 h 3959"/>
                <a:gd name="T4" fmla="*/ 436 w 3248"/>
                <a:gd name="T5" fmla="*/ 1325 h 3959"/>
                <a:gd name="T6" fmla="*/ 411 w 3248"/>
                <a:gd name="T7" fmla="*/ 1634 h 3959"/>
                <a:gd name="T8" fmla="*/ 281 w 3248"/>
                <a:gd name="T9" fmla="*/ 1585 h 3959"/>
                <a:gd name="T10" fmla="*/ 0 w 3248"/>
                <a:gd name="T11" fmla="*/ 1845 h 3959"/>
                <a:gd name="T12" fmla="*/ 2 w 3248"/>
                <a:gd name="T13" fmla="*/ 2145 h 3959"/>
                <a:gd name="T14" fmla="*/ 344 w 3248"/>
                <a:gd name="T15" fmla="*/ 2541 h 3959"/>
                <a:gd name="T16" fmla="*/ 1611 w 3248"/>
                <a:gd name="T17" fmla="*/ 3886 h 3959"/>
                <a:gd name="T18" fmla="*/ 1925 w 3248"/>
                <a:gd name="T19" fmla="*/ 3911 h 3959"/>
                <a:gd name="T20" fmla="*/ 3073 w 3248"/>
                <a:gd name="T21" fmla="*/ 2937 h 3959"/>
                <a:gd name="T22" fmla="*/ 3186 w 3248"/>
                <a:gd name="T23" fmla="*/ 1549 h 3959"/>
                <a:gd name="T24" fmla="*/ 1923 w 3248"/>
                <a:gd name="T25" fmla="*/ 62 h 3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48" h="3959">
                  <a:moveTo>
                    <a:pt x="1923" y="62"/>
                  </a:moveTo>
                  <a:cubicBezTo>
                    <a:pt x="1923" y="62"/>
                    <a:pt x="1923" y="62"/>
                    <a:pt x="1923" y="62"/>
                  </a:cubicBezTo>
                  <a:cubicBezTo>
                    <a:pt x="1164" y="0"/>
                    <a:pt x="498" y="565"/>
                    <a:pt x="436" y="1325"/>
                  </a:cubicBezTo>
                  <a:cubicBezTo>
                    <a:pt x="411" y="1634"/>
                    <a:pt x="411" y="1634"/>
                    <a:pt x="411" y="1634"/>
                  </a:cubicBezTo>
                  <a:cubicBezTo>
                    <a:pt x="374" y="1607"/>
                    <a:pt x="330" y="1589"/>
                    <a:pt x="281" y="1585"/>
                  </a:cubicBezTo>
                  <a:cubicBezTo>
                    <a:pt x="129" y="1572"/>
                    <a:pt x="0" y="1693"/>
                    <a:pt x="0" y="1845"/>
                  </a:cubicBezTo>
                  <a:cubicBezTo>
                    <a:pt x="2" y="2145"/>
                    <a:pt x="2" y="2145"/>
                    <a:pt x="2" y="2145"/>
                  </a:cubicBezTo>
                  <a:cubicBezTo>
                    <a:pt x="3" y="2345"/>
                    <a:pt x="150" y="2511"/>
                    <a:pt x="344" y="2541"/>
                  </a:cubicBezTo>
                  <a:cubicBezTo>
                    <a:pt x="359" y="3240"/>
                    <a:pt x="900" y="3828"/>
                    <a:pt x="1611" y="3886"/>
                  </a:cubicBezTo>
                  <a:cubicBezTo>
                    <a:pt x="1925" y="3911"/>
                    <a:pt x="1925" y="3911"/>
                    <a:pt x="1925" y="3911"/>
                  </a:cubicBezTo>
                  <a:cubicBezTo>
                    <a:pt x="2511" y="3959"/>
                    <a:pt x="3025" y="3523"/>
                    <a:pt x="3073" y="2937"/>
                  </a:cubicBezTo>
                  <a:cubicBezTo>
                    <a:pt x="3186" y="1549"/>
                    <a:pt x="3186" y="1549"/>
                    <a:pt x="3186" y="1549"/>
                  </a:cubicBezTo>
                  <a:cubicBezTo>
                    <a:pt x="3248" y="790"/>
                    <a:pt x="2682" y="124"/>
                    <a:pt x="1923" y="62"/>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49" name="Freeform 742">
              <a:extLst>
                <a:ext uri="{FF2B5EF4-FFF2-40B4-BE49-F238E27FC236}">
                  <a16:creationId xmlns:a16="http://schemas.microsoft.com/office/drawing/2014/main" id="{596C1121-3E5A-445E-8A78-6798527F072B}"/>
                </a:ext>
                <a:ext uri="{C183D7F6-B498-43B3-948B-1728B52AA6E4}">
                  <adec:decorative xmlns:adec="http://schemas.microsoft.com/office/drawing/2017/decorative" val="1"/>
                </a:ext>
              </a:extLst>
            </p:cNvPr>
            <p:cNvSpPr>
              <a:spLocks/>
            </p:cNvSpPr>
            <p:nvPr/>
          </p:nvSpPr>
          <p:spPr bwMode="auto">
            <a:xfrm flipH="1">
              <a:off x="10629737" y="4078831"/>
              <a:ext cx="274779" cy="327878"/>
            </a:xfrm>
            <a:custGeom>
              <a:avLst/>
              <a:gdLst>
                <a:gd name="T0" fmla="*/ 2370 w 2649"/>
                <a:gd name="T1" fmla="*/ 7 h 3165"/>
                <a:gd name="T2" fmla="*/ 1983 w 2649"/>
                <a:gd name="T3" fmla="*/ 412 h 3165"/>
                <a:gd name="T4" fmla="*/ 2008 w 2649"/>
                <a:gd name="T5" fmla="*/ 963 h 3165"/>
                <a:gd name="T6" fmla="*/ 1855 w 2649"/>
                <a:gd name="T7" fmla="*/ 1116 h 3165"/>
                <a:gd name="T8" fmla="*/ 1572 w 2649"/>
                <a:gd name="T9" fmla="*/ 1093 h 3165"/>
                <a:gd name="T10" fmla="*/ 1406 w 2649"/>
                <a:gd name="T11" fmla="*/ 2165 h 3165"/>
                <a:gd name="T12" fmla="*/ 1092 w 2649"/>
                <a:gd name="T13" fmla="*/ 2140 h 3165"/>
                <a:gd name="T14" fmla="*/ 1 w 2649"/>
                <a:gd name="T15" fmla="*/ 1437 h 3165"/>
                <a:gd name="T16" fmla="*/ 0 w 2649"/>
                <a:gd name="T17" fmla="*/ 1438 h 3165"/>
                <a:gd name="T18" fmla="*/ 145 w 2649"/>
                <a:gd name="T19" fmla="*/ 2009 h 3165"/>
                <a:gd name="T20" fmla="*/ 942 w 2649"/>
                <a:gd name="T21" fmla="*/ 2626 h 3165"/>
                <a:gd name="T22" fmla="*/ 1060 w 2649"/>
                <a:gd name="T23" fmla="*/ 3165 h 3165"/>
                <a:gd name="T24" fmla="*/ 1313 w 2649"/>
                <a:gd name="T25" fmla="*/ 2593 h 3165"/>
                <a:gd name="T26" fmla="*/ 1689 w 2649"/>
                <a:gd name="T27" fmla="*/ 2150 h 3165"/>
                <a:gd name="T28" fmla="*/ 1689 w 2649"/>
                <a:gd name="T29" fmla="*/ 2150 h 3165"/>
                <a:gd name="T30" fmla="*/ 2554 w 2649"/>
                <a:gd name="T31" fmla="*/ 1191 h 3165"/>
                <a:gd name="T32" fmla="*/ 2649 w 2649"/>
                <a:gd name="T33" fmla="*/ 16 h 3165"/>
                <a:gd name="T34" fmla="*/ 2370 w 2649"/>
                <a:gd name="T35" fmla="*/ 7 h 3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9" h="3165">
                  <a:moveTo>
                    <a:pt x="2370" y="7"/>
                  </a:moveTo>
                  <a:cubicBezTo>
                    <a:pt x="2152" y="0"/>
                    <a:pt x="1973" y="187"/>
                    <a:pt x="1983" y="412"/>
                  </a:cubicBezTo>
                  <a:cubicBezTo>
                    <a:pt x="2008" y="963"/>
                    <a:pt x="2008" y="963"/>
                    <a:pt x="2008" y="963"/>
                  </a:cubicBezTo>
                  <a:cubicBezTo>
                    <a:pt x="2012" y="1051"/>
                    <a:pt x="1940" y="1123"/>
                    <a:pt x="1855" y="1116"/>
                  </a:cubicBezTo>
                  <a:cubicBezTo>
                    <a:pt x="1572" y="1093"/>
                    <a:pt x="1572" y="1093"/>
                    <a:pt x="1572" y="1093"/>
                  </a:cubicBezTo>
                  <a:cubicBezTo>
                    <a:pt x="1572" y="1093"/>
                    <a:pt x="1795" y="1736"/>
                    <a:pt x="1406" y="2165"/>
                  </a:cubicBezTo>
                  <a:cubicBezTo>
                    <a:pt x="1092" y="2140"/>
                    <a:pt x="1092" y="2140"/>
                    <a:pt x="1092" y="2140"/>
                  </a:cubicBezTo>
                  <a:cubicBezTo>
                    <a:pt x="617" y="2101"/>
                    <a:pt x="218" y="1825"/>
                    <a:pt x="1" y="1437"/>
                  </a:cubicBezTo>
                  <a:cubicBezTo>
                    <a:pt x="0" y="1438"/>
                    <a:pt x="0" y="1438"/>
                    <a:pt x="0" y="1438"/>
                  </a:cubicBezTo>
                  <a:cubicBezTo>
                    <a:pt x="145" y="2009"/>
                    <a:pt x="145" y="2009"/>
                    <a:pt x="145" y="2009"/>
                  </a:cubicBezTo>
                  <a:cubicBezTo>
                    <a:pt x="942" y="2626"/>
                    <a:pt x="942" y="2626"/>
                    <a:pt x="942" y="2626"/>
                  </a:cubicBezTo>
                  <a:cubicBezTo>
                    <a:pt x="1060" y="3165"/>
                    <a:pt x="1060" y="3165"/>
                    <a:pt x="1060" y="3165"/>
                  </a:cubicBezTo>
                  <a:cubicBezTo>
                    <a:pt x="1313" y="2593"/>
                    <a:pt x="1313" y="2593"/>
                    <a:pt x="1313" y="2593"/>
                  </a:cubicBezTo>
                  <a:cubicBezTo>
                    <a:pt x="1689" y="2150"/>
                    <a:pt x="1689" y="2150"/>
                    <a:pt x="1689" y="2150"/>
                  </a:cubicBezTo>
                  <a:cubicBezTo>
                    <a:pt x="1689" y="2150"/>
                    <a:pt x="1689" y="2150"/>
                    <a:pt x="1689" y="2150"/>
                  </a:cubicBezTo>
                  <a:cubicBezTo>
                    <a:pt x="2149" y="2064"/>
                    <a:pt x="2514" y="1680"/>
                    <a:pt x="2554" y="1191"/>
                  </a:cubicBezTo>
                  <a:cubicBezTo>
                    <a:pt x="2649" y="16"/>
                    <a:pt x="2649" y="16"/>
                    <a:pt x="2649" y="16"/>
                  </a:cubicBezTo>
                  <a:lnTo>
                    <a:pt x="2370" y="7"/>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0" name="Freeform 743">
              <a:extLst>
                <a:ext uri="{FF2B5EF4-FFF2-40B4-BE49-F238E27FC236}">
                  <a16:creationId xmlns:a16="http://schemas.microsoft.com/office/drawing/2014/main" id="{39529BF6-E682-46E2-A51A-C4B149BDDBBD}"/>
                </a:ext>
                <a:ext uri="{C183D7F6-B498-43B3-948B-1728B52AA6E4}">
                  <adec:decorative xmlns:adec="http://schemas.microsoft.com/office/drawing/2017/decorative" val="1"/>
                </a:ext>
              </a:extLst>
            </p:cNvPr>
            <p:cNvSpPr>
              <a:spLocks/>
            </p:cNvSpPr>
            <p:nvPr/>
          </p:nvSpPr>
          <p:spPr bwMode="auto">
            <a:xfrm flipH="1">
              <a:off x="10806728" y="4212902"/>
              <a:ext cx="126106" cy="217700"/>
            </a:xfrm>
            <a:custGeom>
              <a:avLst/>
              <a:gdLst>
                <a:gd name="T0" fmla="*/ 345 w 1213"/>
                <a:gd name="T1" fmla="*/ 257 h 2099"/>
                <a:gd name="T2" fmla="*/ 202 w 1213"/>
                <a:gd name="T3" fmla="*/ 0 h 2099"/>
                <a:gd name="T4" fmla="*/ 22 w 1213"/>
                <a:gd name="T5" fmla="*/ 266 h 2099"/>
                <a:gd name="T6" fmla="*/ 683 w 1213"/>
                <a:gd name="T7" fmla="*/ 2099 h 2099"/>
                <a:gd name="T8" fmla="*/ 1213 w 1213"/>
                <a:gd name="T9" fmla="*/ 1331 h 2099"/>
                <a:gd name="T10" fmla="*/ 345 w 1213"/>
                <a:gd name="T11" fmla="*/ 257 h 2099"/>
              </a:gdLst>
              <a:ahLst/>
              <a:cxnLst>
                <a:cxn ang="0">
                  <a:pos x="T0" y="T1"/>
                </a:cxn>
                <a:cxn ang="0">
                  <a:pos x="T2" y="T3"/>
                </a:cxn>
                <a:cxn ang="0">
                  <a:pos x="T4" y="T5"/>
                </a:cxn>
                <a:cxn ang="0">
                  <a:pos x="T6" y="T7"/>
                </a:cxn>
                <a:cxn ang="0">
                  <a:pos x="T8" y="T9"/>
                </a:cxn>
                <a:cxn ang="0">
                  <a:pos x="T10" y="T11"/>
                </a:cxn>
              </a:cxnLst>
              <a:rect l="0" t="0" r="r" b="b"/>
              <a:pathLst>
                <a:path w="1213" h="2099">
                  <a:moveTo>
                    <a:pt x="345" y="257"/>
                  </a:moveTo>
                  <a:cubicBezTo>
                    <a:pt x="288" y="177"/>
                    <a:pt x="240" y="91"/>
                    <a:pt x="202" y="0"/>
                  </a:cubicBezTo>
                  <a:cubicBezTo>
                    <a:pt x="102" y="190"/>
                    <a:pt x="22" y="266"/>
                    <a:pt x="22" y="266"/>
                  </a:cubicBezTo>
                  <a:cubicBezTo>
                    <a:pt x="22" y="266"/>
                    <a:pt x="0" y="1372"/>
                    <a:pt x="683" y="2099"/>
                  </a:cubicBezTo>
                  <a:cubicBezTo>
                    <a:pt x="916" y="1468"/>
                    <a:pt x="1213" y="1331"/>
                    <a:pt x="1213" y="1331"/>
                  </a:cubicBezTo>
                  <a:cubicBezTo>
                    <a:pt x="1213" y="1331"/>
                    <a:pt x="574" y="763"/>
                    <a:pt x="345" y="25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1" name="Freeform 744">
              <a:extLst>
                <a:ext uri="{FF2B5EF4-FFF2-40B4-BE49-F238E27FC236}">
                  <a16:creationId xmlns:a16="http://schemas.microsoft.com/office/drawing/2014/main" id="{6BCDD534-2AE5-46D7-93C4-4AD627DC5810}"/>
                </a:ext>
                <a:ext uri="{C183D7F6-B498-43B3-948B-1728B52AA6E4}">
                  <adec:decorative xmlns:adec="http://schemas.microsoft.com/office/drawing/2017/decorative" val="1"/>
                </a:ext>
              </a:extLst>
            </p:cNvPr>
            <p:cNvSpPr>
              <a:spLocks/>
            </p:cNvSpPr>
            <p:nvPr/>
          </p:nvSpPr>
          <p:spPr bwMode="auto">
            <a:xfrm flipH="1">
              <a:off x="10783277" y="4096972"/>
              <a:ext cx="31858" cy="31859"/>
            </a:xfrm>
            <a:custGeom>
              <a:avLst/>
              <a:gdLst>
                <a:gd name="T0" fmla="*/ 302 w 309"/>
                <a:gd name="T1" fmla="*/ 167 h 309"/>
                <a:gd name="T2" fmla="*/ 143 w 309"/>
                <a:gd name="T3" fmla="*/ 303 h 309"/>
                <a:gd name="T4" fmla="*/ 7 w 309"/>
                <a:gd name="T5" fmla="*/ 143 h 309"/>
                <a:gd name="T6" fmla="*/ 167 w 309"/>
                <a:gd name="T7" fmla="*/ 7 h 309"/>
                <a:gd name="T8" fmla="*/ 302 w 309"/>
                <a:gd name="T9" fmla="*/ 167 h 309"/>
              </a:gdLst>
              <a:ahLst/>
              <a:cxnLst>
                <a:cxn ang="0">
                  <a:pos x="T0" y="T1"/>
                </a:cxn>
                <a:cxn ang="0">
                  <a:pos x="T2" y="T3"/>
                </a:cxn>
                <a:cxn ang="0">
                  <a:pos x="T4" y="T5"/>
                </a:cxn>
                <a:cxn ang="0">
                  <a:pos x="T6" y="T7"/>
                </a:cxn>
                <a:cxn ang="0">
                  <a:pos x="T8" y="T9"/>
                </a:cxn>
              </a:cxnLst>
              <a:rect l="0" t="0" r="r" b="b"/>
              <a:pathLst>
                <a:path w="309" h="309">
                  <a:moveTo>
                    <a:pt x="302" y="167"/>
                  </a:moveTo>
                  <a:cubicBezTo>
                    <a:pt x="296" y="248"/>
                    <a:pt x="224" y="309"/>
                    <a:pt x="143" y="303"/>
                  </a:cubicBezTo>
                  <a:cubicBezTo>
                    <a:pt x="61" y="296"/>
                    <a:pt x="0" y="224"/>
                    <a:pt x="7" y="143"/>
                  </a:cubicBezTo>
                  <a:cubicBezTo>
                    <a:pt x="13" y="61"/>
                    <a:pt x="85" y="0"/>
                    <a:pt x="167" y="7"/>
                  </a:cubicBezTo>
                  <a:cubicBezTo>
                    <a:pt x="248" y="14"/>
                    <a:pt x="309" y="85"/>
                    <a:pt x="302" y="167"/>
                  </a:cubicBezTo>
                  <a:close/>
                </a:path>
              </a:pathLst>
            </a:cu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2" name="Freeform 745">
              <a:extLst>
                <a:ext uri="{FF2B5EF4-FFF2-40B4-BE49-F238E27FC236}">
                  <a16:creationId xmlns:a16="http://schemas.microsoft.com/office/drawing/2014/main" id="{2F92B87C-7355-47ED-81B0-13FCAD24CB78}"/>
                </a:ext>
                <a:ext uri="{C183D7F6-B498-43B3-948B-1728B52AA6E4}">
                  <adec:decorative xmlns:adec="http://schemas.microsoft.com/office/drawing/2017/decorative" val="1"/>
                </a:ext>
              </a:extLst>
            </p:cNvPr>
            <p:cNvSpPr>
              <a:spLocks/>
            </p:cNvSpPr>
            <p:nvPr/>
          </p:nvSpPr>
          <p:spPr bwMode="auto">
            <a:xfrm flipH="1">
              <a:off x="10648321" y="4108477"/>
              <a:ext cx="31858" cy="31859"/>
            </a:xfrm>
            <a:custGeom>
              <a:avLst/>
              <a:gdLst>
                <a:gd name="T0" fmla="*/ 302 w 309"/>
                <a:gd name="T1" fmla="*/ 167 h 309"/>
                <a:gd name="T2" fmla="*/ 142 w 309"/>
                <a:gd name="T3" fmla="*/ 302 h 309"/>
                <a:gd name="T4" fmla="*/ 6 w 309"/>
                <a:gd name="T5" fmla="*/ 142 h 309"/>
                <a:gd name="T6" fmla="*/ 166 w 309"/>
                <a:gd name="T7" fmla="*/ 7 h 309"/>
                <a:gd name="T8" fmla="*/ 302 w 309"/>
                <a:gd name="T9" fmla="*/ 167 h 309"/>
              </a:gdLst>
              <a:ahLst/>
              <a:cxnLst>
                <a:cxn ang="0">
                  <a:pos x="T0" y="T1"/>
                </a:cxn>
                <a:cxn ang="0">
                  <a:pos x="T2" y="T3"/>
                </a:cxn>
                <a:cxn ang="0">
                  <a:pos x="T4" y="T5"/>
                </a:cxn>
                <a:cxn ang="0">
                  <a:pos x="T6" y="T7"/>
                </a:cxn>
                <a:cxn ang="0">
                  <a:pos x="T8" y="T9"/>
                </a:cxn>
              </a:cxnLst>
              <a:rect l="0" t="0" r="r" b="b"/>
              <a:pathLst>
                <a:path w="309" h="309">
                  <a:moveTo>
                    <a:pt x="302" y="167"/>
                  </a:moveTo>
                  <a:cubicBezTo>
                    <a:pt x="295" y="248"/>
                    <a:pt x="224" y="309"/>
                    <a:pt x="142" y="302"/>
                  </a:cubicBezTo>
                  <a:cubicBezTo>
                    <a:pt x="60" y="296"/>
                    <a:pt x="0" y="224"/>
                    <a:pt x="6" y="142"/>
                  </a:cubicBezTo>
                  <a:cubicBezTo>
                    <a:pt x="13" y="61"/>
                    <a:pt x="85" y="0"/>
                    <a:pt x="166" y="7"/>
                  </a:cubicBezTo>
                  <a:cubicBezTo>
                    <a:pt x="248" y="13"/>
                    <a:pt x="309" y="85"/>
                    <a:pt x="302" y="167"/>
                  </a:cubicBezTo>
                  <a:close/>
                </a:path>
              </a:pathLst>
            </a:cu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3" name="Freeform 746">
              <a:extLst>
                <a:ext uri="{FF2B5EF4-FFF2-40B4-BE49-F238E27FC236}">
                  <a16:creationId xmlns:a16="http://schemas.microsoft.com/office/drawing/2014/main" id="{966D50DB-A06D-487B-AF80-BC323B71B0AA}"/>
                </a:ext>
                <a:ext uri="{C183D7F6-B498-43B3-948B-1728B52AA6E4}">
                  <adec:decorative xmlns:adec="http://schemas.microsoft.com/office/drawing/2017/decorative" val="1"/>
                </a:ext>
              </a:extLst>
            </p:cNvPr>
            <p:cNvSpPr>
              <a:spLocks/>
            </p:cNvSpPr>
            <p:nvPr/>
          </p:nvSpPr>
          <p:spPr bwMode="auto">
            <a:xfrm flipH="1">
              <a:off x="10699649" y="4222194"/>
              <a:ext cx="95133" cy="24336"/>
            </a:xfrm>
            <a:custGeom>
              <a:avLst/>
              <a:gdLst>
                <a:gd name="T0" fmla="*/ 0 w 916"/>
                <a:gd name="T1" fmla="*/ 0 h 238"/>
                <a:gd name="T2" fmla="*/ 916 w 916"/>
                <a:gd name="T3" fmla="*/ 75 h 238"/>
                <a:gd name="T4" fmla="*/ 729 w 916"/>
                <a:gd name="T5" fmla="*/ 160 h 238"/>
                <a:gd name="T6" fmla="*/ 196 w 916"/>
                <a:gd name="T7" fmla="*/ 124 h 238"/>
                <a:gd name="T8" fmla="*/ 0 w 916"/>
                <a:gd name="T9" fmla="*/ 0 h 238"/>
              </a:gdLst>
              <a:ahLst/>
              <a:cxnLst>
                <a:cxn ang="0">
                  <a:pos x="T0" y="T1"/>
                </a:cxn>
                <a:cxn ang="0">
                  <a:pos x="T2" y="T3"/>
                </a:cxn>
                <a:cxn ang="0">
                  <a:pos x="T4" y="T5"/>
                </a:cxn>
                <a:cxn ang="0">
                  <a:pos x="T6" y="T7"/>
                </a:cxn>
                <a:cxn ang="0">
                  <a:pos x="T8" y="T9"/>
                </a:cxn>
              </a:cxnLst>
              <a:rect l="0" t="0" r="r" b="b"/>
              <a:pathLst>
                <a:path w="916" h="238">
                  <a:moveTo>
                    <a:pt x="0" y="0"/>
                  </a:moveTo>
                  <a:cubicBezTo>
                    <a:pt x="916" y="75"/>
                    <a:pt x="916" y="75"/>
                    <a:pt x="916" y="75"/>
                  </a:cubicBezTo>
                  <a:cubicBezTo>
                    <a:pt x="729" y="160"/>
                    <a:pt x="729" y="160"/>
                    <a:pt x="729" y="160"/>
                  </a:cubicBezTo>
                  <a:cubicBezTo>
                    <a:pt x="556" y="238"/>
                    <a:pt x="356" y="225"/>
                    <a:pt x="196" y="12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4" name="Freeform 747">
              <a:extLst>
                <a:ext uri="{FF2B5EF4-FFF2-40B4-BE49-F238E27FC236}">
                  <a16:creationId xmlns:a16="http://schemas.microsoft.com/office/drawing/2014/main" id="{DE875DEA-7B40-463D-B57C-B49FA6A767B0}"/>
                </a:ext>
                <a:ext uri="{C183D7F6-B498-43B3-948B-1728B52AA6E4}">
                  <adec:decorative xmlns:adec="http://schemas.microsoft.com/office/drawing/2017/decorative" val="1"/>
                </a:ext>
              </a:extLst>
            </p:cNvPr>
            <p:cNvSpPr>
              <a:spLocks/>
            </p:cNvSpPr>
            <p:nvPr/>
          </p:nvSpPr>
          <p:spPr bwMode="auto">
            <a:xfrm flipH="1">
              <a:off x="10615578" y="3892989"/>
              <a:ext cx="310177" cy="231417"/>
            </a:xfrm>
            <a:custGeom>
              <a:avLst/>
              <a:gdLst>
                <a:gd name="T0" fmla="*/ 2587 w 2990"/>
                <a:gd name="T1" fmla="*/ 495 h 2231"/>
                <a:gd name="T2" fmla="*/ 2562 w 2990"/>
                <a:gd name="T3" fmla="*/ 483 h 2231"/>
                <a:gd name="T4" fmla="*/ 2655 w 2990"/>
                <a:gd name="T5" fmla="*/ 232 h 2231"/>
                <a:gd name="T6" fmla="*/ 2386 w 2990"/>
                <a:gd name="T7" fmla="*/ 234 h 2231"/>
                <a:gd name="T8" fmla="*/ 1921 w 2990"/>
                <a:gd name="T9" fmla="*/ 147 h 2231"/>
                <a:gd name="T10" fmla="*/ 1410 w 2990"/>
                <a:gd name="T11" fmla="*/ 41 h 2231"/>
                <a:gd name="T12" fmla="*/ 38 w 2990"/>
                <a:gd name="T13" fmla="*/ 1179 h 2231"/>
                <a:gd name="T14" fmla="*/ 0 w 2990"/>
                <a:gd name="T15" fmla="*/ 1636 h 2231"/>
                <a:gd name="T16" fmla="*/ 203 w 2990"/>
                <a:gd name="T17" fmla="*/ 1913 h 2231"/>
                <a:gd name="T18" fmla="*/ 175 w 2990"/>
                <a:gd name="T19" fmla="*/ 2212 h 2231"/>
                <a:gd name="T20" fmla="*/ 408 w 2990"/>
                <a:gd name="T21" fmla="*/ 2231 h 2231"/>
                <a:gd name="T22" fmla="*/ 377 w 2990"/>
                <a:gd name="T23" fmla="*/ 1387 h 2231"/>
                <a:gd name="T24" fmla="*/ 495 w 2990"/>
                <a:gd name="T25" fmla="*/ 1124 h 2231"/>
                <a:gd name="T26" fmla="*/ 670 w 2990"/>
                <a:gd name="T27" fmla="*/ 981 h 2231"/>
                <a:gd name="T28" fmla="*/ 1347 w 2990"/>
                <a:gd name="T29" fmla="*/ 920 h 2231"/>
                <a:gd name="T30" fmla="*/ 1698 w 2990"/>
                <a:gd name="T31" fmla="*/ 1114 h 2231"/>
                <a:gd name="T32" fmla="*/ 1843 w 2990"/>
                <a:gd name="T33" fmla="*/ 1158 h 2231"/>
                <a:gd name="T34" fmla="*/ 2039 w 2990"/>
                <a:gd name="T35" fmla="*/ 1174 h 2231"/>
                <a:gd name="T36" fmla="*/ 2665 w 2990"/>
                <a:gd name="T37" fmla="*/ 918 h 2231"/>
                <a:gd name="T38" fmla="*/ 2990 w 2990"/>
                <a:gd name="T39" fmla="*/ 543 h 2231"/>
                <a:gd name="T40" fmla="*/ 2587 w 2990"/>
                <a:gd name="T41" fmla="*/ 495 h 2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0" h="2231">
                  <a:moveTo>
                    <a:pt x="2587" y="495"/>
                  </a:moveTo>
                  <a:cubicBezTo>
                    <a:pt x="2562" y="483"/>
                    <a:pt x="2562" y="483"/>
                    <a:pt x="2562" y="483"/>
                  </a:cubicBezTo>
                  <a:cubicBezTo>
                    <a:pt x="2655" y="232"/>
                    <a:pt x="2655" y="232"/>
                    <a:pt x="2655" y="232"/>
                  </a:cubicBezTo>
                  <a:cubicBezTo>
                    <a:pt x="2386" y="234"/>
                    <a:pt x="2386" y="234"/>
                    <a:pt x="2386" y="234"/>
                  </a:cubicBezTo>
                  <a:cubicBezTo>
                    <a:pt x="2227" y="235"/>
                    <a:pt x="2069" y="204"/>
                    <a:pt x="1921" y="147"/>
                  </a:cubicBezTo>
                  <a:cubicBezTo>
                    <a:pt x="1813" y="105"/>
                    <a:pt x="1648" y="61"/>
                    <a:pt x="1410" y="41"/>
                  </a:cubicBezTo>
                  <a:cubicBezTo>
                    <a:pt x="908" y="0"/>
                    <a:pt x="115" y="233"/>
                    <a:pt x="38" y="1179"/>
                  </a:cubicBezTo>
                  <a:cubicBezTo>
                    <a:pt x="29" y="1280"/>
                    <a:pt x="15" y="1457"/>
                    <a:pt x="0" y="1636"/>
                  </a:cubicBezTo>
                  <a:cubicBezTo>
                    <a:pt x="126" y="1664"/>
                    <a:pt x="216" y="1781"/>
                    <a:pt x="203" y="1913"/>
                  </a:cubicBezTo>
                  <a:cubicBezTo>
                    <a:pt x="175" y="2212"/>
                    <a:pt x="175" y="2212"/>
                    <a:pt x="175" y="2212"/>
                  </a:cubicBezTo>
                  <a:cubicBezTo>
                    <a:pt x="408" y="2231"/>
                    <a:pt x="408" y="2231"/>
                    <a:pt x="408" y="2231"/>
                  </a:cubicBezTo>
                  <a:cubicBezTo>
                    <a:pt x="377" y="1387"/>
                    <a:pt x="377" y="1387"/>
                    <a:pt x="377" y="1387"/>
                  </a:cubicBezTo>
                  <a:cubicBezTo>
                    <a:pt x="373" y="1286"/>
                    <a:pt x="417" y="1189"/>
                    <a:pt x="495" y="1124"/>
                  </a:cubicBezTo>
                  <a:cubicBezTo>
                    <a:pt x="670" y="981"/>
                    <a:pt x="670" y="981"/>
                    <a:pt x="670" y="981"/>
                  </a:cubicBezTo>
                  <a:cubicBezTo>
                    <a:pt x="862" y="824"/>
                    <a:pt x="1130" y="800"/>
                    <a:pt x="1347" y="920"/>
                  </a:cubicBezTo>
                  <a:cubicBezTo>
                    <a:pt x="1698" y="1114"/>
                    <a:pt x="1698" y="1114"/>
                    <a:pt x="1698" y="1114"/>
                  </a:cubicBezTo>
                  <a:cubicBezTo>
                    <a:pt x="1743" y="1139"/>
                    <a:pt x="1792" y="1154"/>
                    <a:pt x="1843" y="1158"/>
                  </a:cubicBezTo>
                  <a:cubicBezTo>
                    <a:pt x="2039" y="1174"/>
                    <a:pt x="2039" y="1174"/>
                    <a:pt x="2039" y="1174"/>
                  </a:cubicBezTo>
                  <a:cubicBezTo>
                    <a:pt x="2276" y="1193"/>
                    <a:pt x="2509" y="1098"/>
                    <a:pt x="2665" y="918"/>
                  </a:cubicBezTo>
                  <a:cubicBezTo>
                    <a:pt x="2990" y="543"/>
                    <a:pt x="2990" y="543"/>
                    <a:pt x="2990" y="543"/>
                  </a:cubicBezTo>
                  <a:cubicBezTo>
                    <a:pt x="2854" y="572"/>
                    <a:pt x="2713" y="555"/>
                    <a:pt x="2587" y="495"/>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5" name="Freeform 748">
              <a:extLst>
                <a:ext uri="{FF2B5EF4-FFF2-40B4-BE49-F238E27FC236}">
                  <a16:creationId xmlns:a16="http://schemas.microsoft.com/office/drawing/2014/main" id="{BC49C278-3FC8-423F-A32E-447B4B1AD089}"/>
                </a:ext>
                <a:ext uri="{C183D7F6-B498-43B3-948B-1728B52AA6E4}">
                  <adec:decorative xmlns:adec="http://schemas.microsoft.com/office/drawing/2017/decorative" val="1"/>
                </a:ext>
              </a:extLst>
            </p:cNvPr>
            <p:cNvSpPr>
              <a:spLocks/>
            </p:cNvSpPr>
            <p:nvPr/>
          </p:nvSpPr>
          <p:spPr bwMode="auto">
            <a:xfrm flipH="1">
              <a:off x="10770445" y="4053167"/>
              <a:ext cx="64602" cy="32744"/>
            </a:xfrm>
            <a:custGeom>
              <a:avLst/>
              <a:gdLst>
                <a:gd name="T0" fmla="*/ 69 w 622"/>
                <a:gd name="T1" fmla="*/ 313 h 313"/>
                <a:gd name="T2" fmla="*/ 21 w 622"/>
                <a:gd name="T3" fmla="*/ 290 h 313"/>
                <a:gd name="T4" fmla="*/ 31 w 622"/>
                <a:gd name="T5" fmla="*/ 203 h 313"/>
                <a:gd name="T6" fmla="*/ 575 w 622"/>
                <a:gd name="T7" fmla="*/ 111 h 313"/>
                <a:gd name="T8" fmla="*/ 610 w 622"/>
                <a:gd name="T9" fmla="*/ 190 h 313"/>
                <a:gd name="T10" fmla="*/ 530 w 622"/>
                <a:gd name="T11" fmla="*/ 225 h 313"/>
                <a:gd name="T12" fmla="*/ 107 w 622"/>
                <a:gd name="T13" fmla="*/ 299 h 313"/>
                <a:gd name="T14" fmla="*/ 69 w 622"/>
                <a:gd name="T15" fmla="*/ 313 h 3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2" h="313">
                  <a:moveTo>
                    <a:pt x="69" y="313"/>
                  </a:moveTo>
                  <a:cubicBezTo>
                    <a:pt x="51" y="313"/>
                    <a:pt x="33" y="305"/>
                    <a:pt x="21" y="290"/>
                  </a:cubicBezTo>
                  <a:cubicBezTo>
                    <a:pt x="0" y="263"/>
                    <a:pt x="4" y="224"/>
                    <a:pt x="31" y="203"/>
                  </a:cubicBezTo>
                  <a:cubicBezTo>
                    <a:pt x="41" y="195"/>
                    <a:pt x="291" y="0"/>
                    <a:pt x="575" y="111"/>
                  </a:cubicBezTo>
                  <a:cubicBezTo>
                    <a:pt x="607" y="123"/>
                    <a:pt x="622" y="159"/>
                    <a:pt x="610" y="190"/>
                  </a:cubicBezTo>
                  <a:cubicBezTo>
                    <a:pt x="598" y="222"/>
                    <a:pt x="562" y="237"/>
                    <a:pt x="530" y="225"/>
                  </a:cubicBezTo>
                  <a:cubicBezTo>
                    <a:pt x="311" y="139"/>
                    <a:pt x="109" y="298"/>
                    <a:pt x="107" y="299"/>
                  </a:cubicBezTo>
                  <a:cubicBezTo>
                    <a:pt x="96" y="308"/>
                    <a:pt x="83" y="313"/>
                    <a:pt x="69" y="313"/>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6" name="Freeform 749">
              <a:extLst>
                <a:ext uri="{FF2B5EF4-FFF2-40B4-BE49-F238E27FC236}">
                  <a16:creationId xmlns:a16="http://schemas.microsoft.com/office/drawing/2014/main" id="{B79C22E0-D13F-45F1-AAD8-7D2D62466520}"/>
                </a:ext>
                <a:ext uri="{C183D7F6-B498-43B3-948B-1728B52AA6E4}">
                  <adec:decorative xmlns:adec="http://schemas.microsoft.com/office/drawing/2017/decorative" val="1"/>
                </a:ext>
              </a:extLst>
            </p:cNvPr>
            <p:cNvSpPr>
              <a:spLocks/>
            </p:cNvSpPr>
            <p:nvPr/>
          </p:nvSpPr>
          <p:spPr bwMode="auto">
            <a:xfrm flipH="1">
              <a:off x="10624870" y="4061574"/>
              <a:ext cx="65487" cy="28761"/>
            </a:xfrm>
            <a:custGeom>
              <a:avLst/>
              <a:gdLst>
                <a:gd name="T0" fmla="*/ 70 w 631"/>
                <a:gd name="T1" fmla="*/ 278 h 278"/>
                <a:gd name="T2" fmla="*/ 18 w 631"/>
                <a:gd name="T3" fmla="*/ 250 h 278"/>
                <a:gd name="T4" fmla="*/ 37 w 631"/>
                <a:gd name="T5" fmla="*/ 165 h 278"/>
                <a:gd name="T6" fmla="*/ 589 w 631"/>
                <a:gd name="T7" fmla="*/ 149 h 278"/>
                <a:gd name="T8" fmla="*/ 615 w 631"/>
                <a:gd name="T9" fmla="*/ 232 h 278"/>
                <a:gd name="T10" fmla="*/ 533 w 631"/>
                <a:gd name="T11" fmla="*/ 258 h 278"/>
                <a:gd name="T12" fmla="*/ 103 w 631"/>
                <a:gd name="T13" fmla="*/ 269 h 278"/>
                <a:gd name="T14" fmla="*/ 70 w 631"/>
                <a:gd name="T15" fmla="*/ 278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1" h="278">
                  <a:moveTo>
                    <a:pt x="70" y="278"/>
                  </a:moveTo>
                  <a:cubicBezTo>
                    <a:pt x="50" y="278"/>
                    <a:pt x="30" y="268"/>
                    <a:pt x="18" y="250"/>
                  </a:cubicBezTo>
                  <a:cubicBezTo>
                    <a:pt x="0" y="222"/>
                    <a:pt x="8" y="184"/>
                    <a:pt x="37" y="165"/>
                  </a:cubicBezTo>
                  <a:cubicBezTo>
                    <a:pt x="294" y="0"/>
                    <a:pt x="577" y="143"/>
                    <a:pt x="589" y="149"/>
                  </a:cubicBezTo>
                  <a:cubicBezTo>
                    <a:pt x="619" y="164"/>
                    <a:pt x="631" y="201"/>
                    <a:pt x="615" y="232"/>
                  </a:cubicBezTo>
                  <a:cubicBezTo>
                    <a:pt x="600" y="262"/>
                    <a:pt x="563" y="273"/>
                    <a:pt x="533" y="258"/>
                  </a:cubicBezTo>
                  <a:cubicBezTo>
                    <a:pt x="529" y="256"/>
                    <a:pt x="299" y="143"/>
                    <a:pt x="103" y="269"/>
                  </a:cubicBezTo>
                  <a:cubicBezTo>
                    <a:pt x="93" y="275"/>
                    <a:pt x="81" y="278"/>
                    <a:pt x="70" y="278"/>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7" name="Freeform 750">
              <a:extLst>
                <a:ext uri="{FF2B5EF4-FFF2-40B4-BE49-F238E27FC236}">
                  <a16:creationId xmlns:a16="http://schemas.microsoft.com/office/drawing/2014/main" id="{D3717192-32DE-486F-AA70-378663E95A10}"/>
                </a:ext>
                <a:ext uri="{C183D7F6-B498-43B3-948B-1728B52AA6E4}">
                  <adec:decorative xmlns:adec="http://schemas.microsoft.com/office/drawing/2017/decorative" val="1"/>
                </a:ext>
              </a:extLst>
            </p:cNvPr>
            <p:cNvSpPr>
              <a:spLocks/>
            </p:cNvSpPr>
            <p:nvPr/>
          </p:nvSpPr>
          <p:spPr bwMode="auto">
            <a:xfrm flipH="1">
              <a:off x="10904516" y="4077061"/>
              <a:ext cx="41150" cy="76107"/>
            </a:xfrm>
            <a:custGeom>
              <a:avLst/>
              <a:gdLst>
                <a:gd name="T0" fmla="*/ 314 w 397"/>
                <a:gd name="T1" fmla="*/ 557 h 732"/>
                <a:gd name="T2" fmla="*/ 339 w 397"/>
                <a:gd name="T3" fmla="*/ 358 h 732"/>
                <a:gd name="T4" fmla="*/ 368 w 397"/>
                <a:gd name="T5" fmla="*/ 337 h 732"/>
                <a:gd name="T6" fmla="*/ 376 w 397"/>
                <a:gd name="T7" fmla="*/ 345 h 732"/>
                <a:gd name="T8" fmla="*/ 387 w 397"/>
                <a:gd name="T9" fmla="*/ 221 h 732"/>
                <a:gd name="T10" fmla="*/ 210 w 397"/>
                <a:gd name="T11" fmla="*/ 9 h 732"/>
                <a:gd name="T12" fmla="*/ 210 w 397"/>
                <a:gd name="T13" fmla="*/ 9 h 732"/>
                <a:gd name="T14" fmla="*/ 0 w 397"/>
                <a:gd name="T15" fmla="*/ 204 h 732"/>
                <a:gd name="T16" fmla="*/ 2 w 397"/>
                <a:gd name="T17" fmla="*/ 428 h 732"/>
                <a:gd name="T18" fmla="*/ 278 w 397"/>
                <a:gd name="T19" fmla="*/ 727 h 732"/>
                <a:gd name="T20" fmla="*/ 339 w 397"/>
                <a:gd name="T21" fmla="*/ 732 h 732"/>
                <a:gd name="T22" fmla="*/ 346 w 397"/>
                <a:gd name="T23" fmla="*/ 658 h 732"/>
                <a:gd name="T24" fmla="*/ 314 w 397"/>
                <a:gd name="T25" fmla="*/ 557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7" h="732">
                  <a:moveTo>
                    <a:pt x="314" y="557"/>
                  </a:moveTo>
                  <a:cubicBezTo>
                    <a:pt x="263" y="496"/>
                    <a:pt x="274" y="404"/>
                    <a:pt x="339" y="358"/>
                  </a:cubicBezTo>
                  <a:cubicBezTo>
                    <a:pt x="368" y="337"/>
                    <a:pt x="368" y="337"/>
                    <a:pt x="368" y="337"/>
                  </a:cubicBezTo>
                  <a:cubicBezTo>
                    <a:pt x="376" y="345"/>
                    <a:pt x="376" y="345"/>
                    <a:pt x="376" y="345"/>
                  </a:cubicBezTo>
                  <a:cubicBezTo>
                    <a:pt x="387" y="221"/>
                    <a:pt x="387" y="221"/>
                    <a:pt x="387" y="221"/>
                  </a:cubicBezTo>
                  <a:cubicBezTo>
                    <a:pt x="397" y="113"/>
                    <a:pt x="318" y="18"/>
                    <a:pt x="210" y="9"/>
                  </a:cubicBezTo>
                  <a:cubicBezTo>
                    <a:pt x="210" y="9"/>
                    <a:pt x="210" y="9"/>
                    <a:pt x="210" y="9"/>
                  </a:cubicBezTo>
                  <a:cubicBezTo>
                    <a:pt x="97" y="0"/>
                    <a:pt x="0" y="90"/>
                    <a:pt x="0" y="204"/>
                  </a:cubicBezTo>
                  <a:cubicBezTo>
                    <a:pt x="2" y="428"/>
                    <a:pt x="2" y="428"/>
                    <a:pt x="2" y="428"/>
                  </a:cubicBezTo>
                  <a:cubicBezTo>
                    <a:pt x="3" y="584"/>
                    <a:pt x="123" y="714"/>
                    <a:pt x="278" y="727"/>
                  </a:cubicBezTo>
                  <a:cubicBezTo>
                    <a:pt x="339" y="732"/>
                    <a:pt x="339" y="732"/>
                    <a:pt x="339" y="732"/>
                  </a:cubicBezTo>
                  <a:cubicBezTo>
                    <a:pt x="346" y="658"/>
                    <a:pt x="346" y="658"/>
                    <a:pt x="346" y="658"/>
                  </a:cubicBezTo>
                  <a:cubicBezTo>
                    <a:pt x="350" y="622"/>
                    <a:pt x="338" y="585"/>
                    <a:pt x="314" y="5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8" name="Oval 751">
              <a:extLst>
                <a:ext uri="{FF2B5EF4-FFF2-40B4-BE49-F238E27FC236}">
                  <a16:creationId xmlns:a16="http://schemas.microsoft.com/office/drawing/2014/main" id="{4B05F3E6-6A50-4D07-A0A0-0F13477DC12C}"/>
                </a:ext>
                <a:ext uri="{C183D7F6-B498-43B3-948B-1728B52AA6E4}">
                  <adec:decorative xmlns:adec="http://schemas.microsoft.com/office/drawing/2017/decorative" val="1"/>
                </a:ext>
              </a:extLst>
            </p:cNvPr>
            <p:cNvSpPr>
              <a:spLocks noChangeArrowheads="1"/>
            </p:cNvSpPr>
            <p:nvPr/>
          </p:nvSpPr>
          <p:spPr bwMode="auto">
            <a:xfrm flipH="1">
              <a:off x="10797879" y="4425293"/>
              <a:ext cx="23894" cy="23894"/>
            </a:xfrm>
            <a:prstGeom prst="ellipse">
              <a:avLst/>
            </a:pr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59" name="Freeform 752">
              <a:extLst>
                <a:ext uri="{FF2B5EF4-FFF2-40B4-BE49-F238E27FC236}">
                  <a16:creationId xmlns:a16="http://schemas.microsoft.com/office/drawing/2014/main" id="{E1A849CE-DBAD-4210-8392-AAD46B7712CB}"/>
                </a:ext>
                <a:ext uri="{C183D7F6-B498-43B3-948B-1728B52AA6E4}">
                  <adec:decorative xmlns:adec="http://schemas.microsoft.com/office/drawing/2017/decorative" val="1"/>
                </a:ext>
              </a:extLst>
            </p:cNvPr>
            <p:cNvSpPr>
              <a:spLocks/>
            </p:cNvSpPr>
            <p:nvPr/>
          </p:nvSpPr>
          <p:spPr bwMode="auto">
            <a:xfrm flipH="1">
              <a:off x="10898764" y="4294761"/>
              <a:ext cx="205752" cy="226550"/>
            </a:xfrm>
            <a:custGeom>
              <a:avLst/>
              <a:gdLst>
                <a:gd name="T0" fmla="*/ 1984 w 1984"/>
                <a:gd name="T1" fmla="*/ 1431 h 2185"/>
                <a:gd name="T2" fmla="*/ 814 w 1984"/>
                <a:gd name="T3" fmla="*/ 39 h 2185"/>
                <a:gd name="T4" fmla="*/ 122 w 1984"/>
                <a:gd name="T5" fmla="*/ 642 h 2185"/>
                <a:gd name="T6" fmla="*/ 484 w 1984"/>
                <a:gd name="T7" fmla="*/ 2185 h 2185"/>
                <a:gd name="T8" fmla="*/ 1984 w 1984"/>
                <a:gd name="T9" fmla="*/ 1431 h 2185"/>
              </a:gdLst>
              <a:ahLst/>
              <a:cxnLst>
                <a:cxn ang="0">
                  <a:pos x="T0" y="T1"/>
                </a:cxn>
                <a:cxn ang="0">
                  <a:pos x="T2" y="T3"/>
                </a:cxn>
                <a:cxn ang="0">
                  <a:pos x="T4" y="T5"/>
                </a:cxn>
                <a:cxn ang="0">
                  <a:pos x="T6" y="T7"/>
                </a:cxn>
                <a:cxn ang="0">
                  <a:pos x="T8" y="T9"/>
                </a:cxn>
              </a:cxnLst>
              <a:rect l="0" t="0" r="r" b="b"/>
              <a:pathLst>
                <a:path w="1984" h="2185">
                  <a:moveTo>
                    <a:pt x="1984" y="1431"/>
                  </a:moveTo>
                  <a:cubicBezTo>
                    <a:pt x="1774" y="877"/>
                    <a:pt x="1399" y="0"/>
                    <a:pt x="814" y="39"/>
                  </a:cubicBezTo>
                  <a:cubicBezTo>
                    <a:pt x="465" y="39"/>
                    <a:pt x="170" y="296"/>
                    <a:pt x="122" y="642"/>
                  </a:cubicBezTo>
                  <a:cubicBezTo>
                    <a:pt x="0" y="1036"/>
                    <a:pt x="255" y="1706"/>
                    <a:pt x="484" y="2185"/>
                  </a:cubicBezTo>
                  <a:cubicBezTo>
                    <a:pt x="639" y="1886"/>
                    <a:pt x="1063" y="1314"/>
                    <a:pt x="1984" y="143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0" name="Freeform 753">
              <a:extLst>
                <a:ext uri="{FF2B5EF4-FFF2-40B4-BE49-F238E27FC236}">
                  <a16:creationId xmlns:a16="http://schemas.microsoft.com/office/drawing/2014/main" id="{CFBA74E8-EE3A-4DE7-83C2-2916AAABCBF9}"/>
                </a:ext>
                <a:ext uri="{C183D7F6-B498-43B3-948B-1728B52AA6E4}">
                  <adec:decorative xmlns:adec="http://schemas.microsoft.com/office/drawing/2017/decorative" val="1"/>
                </a:ext>
              </a:extLst>
            </p:cNvPr>
            <p:cNvSpPr>
              <a:spLocks/>
            </p:cNvSpPr>
            <p:nvPr/>
          </p:nvSpPr>
          <p:spPr bwMode="auto">
            <a:xfrm flipH="1">
              <a:off x="10883720" y="4438567"/>
              <a:ext cx="165044" cy="141594"/>
            </a:xfrm>
            <a:custGeom>
              <a:avLst/>
              <a:gdLst>
                <a:gd name="T0" fmla="*/ 1486 w 1592"/>
                <a:gd name="T1" fmla="*/ 150 h 1366"/>
                <a:gd name="T2" fmla="*/ 0 w 1592"/>
                <a:gd name="T3" fmla="*/ 912 h 1366"/>
                <a:gd name="T4" fmla="*/ 245 w 1592"/>
                <a:gd name="T5" fmla="*/ 1366 h 1366"/>
                <a:gd name="T6" fmla="*/ 1592 w 1592"/>
                <a:gd name="T7" fmla="*/ 424 h 1366"/>
                <a:gd name="T8" fmla="*/ 1486 w 1592"/>
                <a:gd name="T9" fmla="*/ 150 h 1366"/>
              </a:gdLst>
              <a:ahLst/>
              <a:cxnLst>
                <a:cxn ang="0">
                  <a:pos x="T0" y="T1"/>
                </a:cxn>
                <a:cxn ang="0">
                  <a:pos x="T2" y="T3"/>
                </a:cxn>
                <a:cxn ang="0">
                  <a:pos x="T4" y="T5"/>
                </a:cxn>
                <a:cxn ang="0">
                  <a:pos x="T6" y="T7"/>
                </a:cxn>
                <a:cxn ang="0">
                  <a:pos x="T8" y="T9"/>
                </a:cxn>
              </a:cxnLst>
              <a:rect l="0" t="0" r="r" b="b"/>
              <a:pathLst>
                <a:path w="1592" h="1366">
                  <a:moveTo>
                    <a:pt x="1486" y="150"/>
                  </a:moveTo>
                  <a:cubicBezTo>
                    <a:pt x="506" y="0"/>
                    <a:pt x="111" y="665"/>
                    <a:pt x="0" y="912"/>
                  </a:cubicBezTo>
                  <a:cubicBezTo>
                    <a:pt x="134" y="1180"/>
                    <a:pt x="245" y="1366"/>
                    <a:pt x="245" y="1366"/>
                  </a:cubicBezTo>
                  <a:cubicBezTo>
                    <a:pt x="245" y="1366"/>
                    <a:pt x="383" y="325"/>
                    <a:pt x="1592" y="424"/>
                  </a:cubicBezTo>
                  <a:cubicBezTo>
                    <a:pt x="1565" y="366"/>
                    <a:pt x="1530" y="269"/>
                    <a:pt x="1486" y="15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1" name="Freeform 754">
              <a:extLst>
                <a:ext uri="{FF2B5EF4-FFF2-40B4-BE49-F238E27FC236}">
                  <a16:creationId xmlns:a16="http://schemas.microsoft.com/office/drawing/2014/main" id="{C8035436-8E64-4BD6-B5C1-E4A7593EE73F}"/>
                </a:ext>
                <a:ext uri="{C183D7F6-B498-43B3-948B-1728B52AA6E4}">
                  <adec:decorative xmlns:adec="http://schemas.microsoft.com/office/drawing/2017/decorative" val="1"/>
                </a:ext>
              </a:extLst>
            </p:cNvPr>
            <p:cNvSpPr>
              <a:spLocks/>
            </p:cNvSpPr>
            <p:nvPr/>
          </p:nvSpPr>
          <p:spPr bwMode="auto">
            <a:xfrm flipH="1">
              <a:off x="10583277" y="4427948"/>
              <a:ext cx="115487" cy="112832"/>
            </a:xfrm>
            <a:custGeom>
              <a:avLst/>
              <a:gdLst>
                <a:gd name="T0" fmla="*/ 1113 w 1113"/>
                <a:gd name="T1" fmla="*/ 47 h 1089"/>
                <a:gd name="T2" fmla="*/ 1026 w 1113"/>
                <a:gd name="T3" fmla="*/ 0 h 1089"/>
                <a:gd name="T4" fmla="*/ 443 w 1113"/>
                <a:gd name="T5" fmla="*/ 605 h 1089"/>
                <a:gd name="T6" fmla="*/ 286 w 1113"/>
                <a:gd name="T7" fmla="*/ 90 h 1089"/>
                <a:gd name="T8" fmla="*/ 0 w 1113"/>
                <a:gd name="T9" fmla="*/ 959 h 1089"/>
                <a:gd name="T10" fmla="*/ 110 w 1113"/>
                <a:gd name="T11" fmla="*/ 1089 h 1089"/>
                <a:gd name="T12" fmla="*/ 496 w 1113"/>
                <a:gd name="T13" fmla="*/ 959 h 1089"/>
                <a:gd name="T14" fmla="*/ 465 w 1113"/>
                <a:gd name="T15" fmla="*/ 711 h 1089"/>
                <a:gd name="T16" fmla="*/ 1113 w 1113"/>
                <a:gd name="T17" fmla="*/ 47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 h="1089">
                  <a:moveTo>
                    <a:pt x="1113" y="47"/>
                  </a:moveTo>
                  <a:cubicBezTo>
                    <a:pt x="1026" y="0"/>
                    <a:pt x="1026" y="0"/>
                    <a:pt x="1026" y="0"/>
                  </a:cubicBezTo>
                  <a:cubicBezTo>
                    <a:pt x="883" y="263"/>
                    <a:pt x="644" y="467"/>
                    <a:pt x="443" y="605"/>
                  </a:cubicBezTo>
                  <a:cubicBezTo>
                    <a:pt x="380" y="335"/>
                    <a:pt x="286" y="90"/>
                    <a:pt x="286" y="90"/>
                  </a:cubicBezTo>
                  <a:cubicBezTo>
                    <a:pt x="0" y="959"/>
                    <a:pt x="0" y="959"/>
                    <a:pt x="0" y="959"/>
                  </a:cubicBezTo>
                  <a:cubicBezTo>
                    <a:pt x="110" y="1089"/>
                    <a:pt x="110" y="1089"/>
                    <a:pt x="110" y="1089"/>
                  </a:cubicBezTo>
                  <a:cubicBezTo>
                    <a:pt x="110" y="1089"/>
                    <a:pt x="353" y="1042"/>
                    <a:pt x="496" y="959"/>
                  </a:cubicBezTo>
                  <a:cubicBezTo>
                    <a:pt x="493" y="881"/>
                    <a:pt x="481" y="796"/>
                    <a:pt x="465" y="711"/>
                  </a:cubicBezTo>
                  <a:cubicBezTo>
                    <a:pt x="682" y="567"/>
                    <a:pt x="951" y="345"/>
                    <a:pt x="1113" y="47"/>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2" name="Freeform 755">
              <a:extLst>
                <a:ext uri="{FF2B5EF4-FFF2-40B4-BE49-F238E27FC236}">
                  <a16:creationId xmlns:a16="http://schemas.microsoft.com/office/drawing/2014/main" id="{01F7AF1B-0015-424B-B4F5-F3E4043811C2}"/>
                </a:ext>
                <a:ext uri="{C183D7F6-B498-43B3-948B-1728B52AA6E4}">
                  <adec:decorative xmlns:adec="http://schemas.microsoft.com/office/drawing/2017/decorative" val="1"/>
                </a:ext>
              </a:extLst>
            </p:cNvPr>
            <p:cNvSpPr>
              <a:spLocks/>
            </p:cNvSpPr>
            <p:nvPr/>
          </p:nvSpPr>
          <p:spPr bwMode="auto">
            <a:xfrm flipH="1">
              <a:off x="10747879" y="4839454"/>
              <a:ext cx="216814" cy="62832"/>
            </a:xfrm>
            <a:custGeom>
              <a:avLst/>
              <a:gdLst>
                <a:gd name="T0" fmla="*/ 0 w 2092"/>
                <a:gd name="T1" fmla="*/ 0 h 609"/>
                <a:gd name="T2" fmla="*/ 545 w 2092"/>
                <a:gd name="T3" fmla="*/ 319 h 609"/>
                <a:gd name="T4" fmla="*/ 2040 w 2092"/>
                <a:gd name="T5" fmla="*/ 377 h 609"/>
                <a:gd name="T6" fmla="*/ 2092 w 2092"/>
                <a:gd name="T7" fmla="*/ 352 h 609"/>
                <a:gd name="T8" fmla="*/ 0 w 2092"/>
                <a:gd name="T9" fmla="*/ 0 h 609"/>
              </a:gdLst>
              <a:ahLst/>
              <a:cxnLst>
                <a:cxn ang="0">
                  <a:pos x="T0" y="T1"/>
                </a:cxn>
                <a:cxn ang="0">
                  <a:pos x="T2" y="T3"/>
                </a:cxn>
                <a:cxn ang="0">
                  <a:pos x="T4" y="T5"/>
                </a:cxn>
                <a:cxn ang="0">
                  <a:pos x="T6" y="T7"/>
                </a:cxn>
                <a:cxn ang="0">
                  <a:pos x="T8" y="T9"/>
                </a:cxn>
              </a:cxnLst>
              <a:rect l="0" t="0" r="r" b="b"/>
              <a:pathLst>
                <a:path w="2092" h="609">
                  <a:moveTo>
                    <a:pt x="0" y="0"/>
                  </a:moveTo>
                  <a:cubicBezTo>
                    <a:pt x="545" y="319"/>
                    <a:pt x="545" y="319"/>
                    <a:pt x="545" y="319"/>
                  </a:cubicBezTo>
                  <a:cubicBezTo>
                    <a:pt x="1002" y="588"/>
                    <a:pt x="1563" y="609"/>
                    <a:pt x="2040" y="377"/>
                  </a:cubicBezTo>
                  <a:cubicBezTo>
                    <a:pt x="2092" y="352"/>
                    <a:pt x="2092" y="352"/>
                    <a:pt x="2092" y="352"/>
                  </a:cubicBezTo>
                  <a:lnTo>
                    <a:pt x="0"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3" name="Freeform 756">
              <a:extLst>
                <a:ext uri="{FF2B5EF4-FFF2-40B4-BE49-F238E27FC236}">
                  <a16:creationId xmlns:a16="http://schemas.microsoft.com/office/drawing/2014/main" id="{17C2FC7D-A319-4A8E-BE3F-B775011FD442}"/>
                </a:ext>
                <a:ext uri="{C183D7F6-B498-43B3-948B-1728B52AA6E4}">
                  <adec:decorative xmlns:adec="http://schemas.microsoft.com/office/drawing/2017/decorative" val="1"/>
                </a:ext>
              </a:extLst>
            </p:cNvPr>
            <p:cNvSpPr>
              <a:spLocks/>
            </p:cNvSpPr>
            <p:nvPr/>
          </p:nvSpPr>
          <p:spPr bwMode="auto">
            <a:xfrm flipH="1">
              <a:off x="10797879" y="5091668"/>
              <a:ext cx="60177" cy="65045"/>
            </a:xfrm>
            <a:custGeom>
              <a:avLst/>
              <a:gdLst>
                <a:gd name="T0" fmla="*/ 50 w 582"/>
                <a:gd name="T1" fmla="*/ 627 h 627"/>
                <a:gd name="T2" fmla="*/ 582 w 582"/>
                <a:gd name="T3" fmla="*/ 71 h 627"/>
                <a:gd name="T4" fmla="*/ 50 w 582"/>
                <a:gd name="T5" fmla="*/ 627 h 627"/>
              </a:gdLst>
              <a:ahLst/>
              <a:cxnLst>
                <a:cxn ang="0">
                  <a:pos x="T0" y="T1"/>
                </a:cxn>
                <a:cxn ang="0">
                  <a:pos x="T2" y="T3"/>
                </a:cxn>
                <a:cxn ang="0">
                  <a:pos x="T4" y="T5"/>
                </a:cxn>
              </a:cxnLst>
              <a:rect l="0" t="0" r="r" b="b"/>
              <a:pathLst>
                <a:path w="582" h="627">
                  <a:moveTo>
                    <a:pt x="50" y="627"/>
                  </a:moveTo>
                  <a:cubicBezTo>
                    <a:pt x="50" y="627"/>
                    <a:pt x="321" y="269"/>
                    <a:pt x="582" y="71"/>
                  </a:cubicBezTo>
                  <a:cubicBezTo>
                    <a:pt x="49" y="0"/>
                    <a:pt x="0" y="440"/>
                    <a:pt x="50" y="627"/>
                  </a:cubicBez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64" name="Freeform 757">
              <a:extLst>
                <a:ext uri="{FF2B5EF4-FFF2-40B4-BE49-F238E27FC236}">
                  <a16:creationId xmlns:a16="http://schemas.microsoft.com/office/drawing/2014/main" id="{56C57FF0-B13B-4EDB-B34B-F17FB083C607}"/>
                </a:ext>
                <a:ext uri="{C183D7F6-B498-43B3-948B-1728B52AA6E4}">
                  <adec:decorative xmlns:adec="http://schemas.microsoft.com/office/drawing/2017/decorative" val="1"/>
                </a:ext>
              </a:extLst>
            </p:cNvPr>
            <p:cNvSpPr>
              <a:spLocks/>
            </p:cNvSpPr>
            <p:nvPr/>
          </p:nvSpPr>
          <p:spPr bwMode="auto">
            <a:xfrm flipH="1">
              <a:off x="10957613" y="4777065"/>
              <a:ext cx="341593" cy="361064"/>
            </a:xfrm>
            <a:custGeom>
              <a:avLst/>
              <a:gdLst>
                <a:gd name="T0" fmla="*/ 978 w 3295"/>
                <a:gd name="T1" fmla="*/ 99 h 3485"/>
                <a:gd name="T2" fmla="*/ 2247 w 3295"/>
                <a:gd name="T3" fmla="*/ 99 h 3485"/>
                <a:gd name="T4" fmla="*/ 2832 w 3295"/>
                <a:gd name="T5" fmla="*/ 684 h 3485"/>
                <a:gd name="T6" fmla="*/ 2832 w 3295"/>
                <a:gd name="T7" fmla="*/ 2744 h 3485"/>
                <a:gd name="T8" fmla="*/ 2552 w 3295"/>
                <a:gd name="T9" fmla="*/ 3314 h 3485"/>
                <a:gd name="T10" fmla="*/ 2485 w 3295"/>
                <a:gd name="T11" fmla="*/ 3367 h 3485"/>
                <a:gd name="T12" fmla="*/ 2525 w 3295"/>
                <a:gd name="T13" fmla="*/ 3485 h 3485"/>
                <a:gd name="T14" fmla="*/ 2794 w 3295"/>
                <a:gd name="T15" fmla="*/ 3485 h 3485"/>
                <a:gd name="T16" fmla="*/ 3015 w 3295"/>
                <a:gd name="T17" fmla="*/ 3314 h 3485"/>
                <a:gd name="T18" fmla="*/ 3295 w 3295"/>
                <a:gd name="T19" fmla="*/ 2744 h 3485"/>
                <a:gd name="T20" fmla="*/ 3295 w 3295"/>
                <a:gd name="T21" fmla="*/ 585 h 3485"/>
                <a:gd name="T22" fmla="*/ 2710 w 3295"/>
                <a:gd name="T23" fmla="*/ 0 h 3485"/>
                <a:gd name="T24" fmla="*/ 515 w 3295"/>
                <a:gd name="T25" fmla="*/ 0 h 3485"/>
                <a:gd name="T26" fmla="*/ 3 w 3295"/>
                <a:gd name="T27" fmla="*/ 518 h 3485"/>
                <a:gd name="T28" fmla="*/ 5 w 3295"/>
                <a:gd name="T29" fmla="*/ 799 h 3485"/>
                <a:gd name="T30" fmla="*/ 76 w 3295"/>
                <a:gd name="T31" fmla="*/ 869 h 3485"/>
                <a:gd name="T32" fmla="*/ 394 w 3295"/>
                <a:gd name="T33" fmla="*/ 869 h 3485"/>
                <a:gd name="T34" fmla="*/ 468 w 3295"/>
                <a:gd name="T35" fmla="*/ 794 h 3485"/>
                <a:gd name="T36" fmla="*/ 466 w 3295"/>
                <a:gd name="T37" fmla="*/ 617 h 3485"/>
                <a:gd name="T38" fmla="*/ 978 w 3295"/>
                <a:gd name="T39" fmla="*/ 99 h 3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95" h="3485">
                  <a:moveTo>
                    <a:pt x="978" y="99"/>
                  </a:moveTo>
                  <a:cubicBezTo>
                    <a:pt x="2247" y="99"/>
                    <a:pt x="2247" y="99"/>
                    <a:pt x="2247" y="99"/>
                  </a:cubicBezTo>
                  <a:cubicBezTo>
                    <a:pt x="2570" y="99"/>
                    <a:pt x="2832" y="361"/>
                    <a:pt x="2832" y="684"/>
                  </a:cubicBezTo>
                  <a:cubicBezTo>
                    <a:pt x="2832" y="2744"/>
                    <a:pt x="2832" y="2744"/>
                    <a:pt x="2832" y="2744"/>
                  </a:cubicBezTo>
                  <a:cubicBezTo>
                    <a:pt x="2832" y="2967"/>
                    <a:pt x="2729" y="3177"/>
                    <a:pt x="2552" y="3314"/>
                  </a:cubicBezTo>
                  <a:cubicBezTo>
                    <a:pt x="2485" y="3367"/>
                    <a:pt x="2485" y="3367"/>
                    <a:pt x="2485" y="3367"/>
                  </a:cubicBezTo>
                  <a:cubicBezTo>
                    <a:pt x="2435" y="3405"/>
                    <a:pt x="2462" y="3485"/>
                    <a:pt x="2525" y="3485"/>
                  </a:cubicBezTo>
                  <a:cubicBezTo>
                    <a:pt x="2794" y="3485"/>
                    <a:pt x="2794" y="3485"/>
                    <a:pt x="2794" y="3485"/>
                  </a:cubicBezTo>
                  <a:cubicBezTo>
                    <a:pt x="3015" y="3314"/>
                    <a:pt x="3015" y="3314"/>
                    <a:pt x="3015" y="3314"/>
                  </a:cubicBezTo>
                  <a:cubicBezTo>
                    <a:pt x="3192" y="3177"/>
                    <a:pt x="3295" y="2967"/>
                    <a:pt x="3295" y="2744"/>
                  </a:cubicBezTo>
                  <a:cubicBezTo>
                    <a:pt x="3295" y="585"/>
                    <a:pt x="3295" y="585"/>
                    <a:pt x="3295" y="585"/>
                  </a:cubicBezTo>
                  <a:cubicBezTo>
                    <a:pt x="3295" y="262"/>
                    <a:pt x="3033" y="0"/>
                    <a:pt x="2710" y="0"/>
                  </a:cubicBezTo>
                  <a:cubicBezTo>
                    <a:pt x="515" y="0"/>
                    <a:pt x="515" y="0"/>
                    <a:pt x="515" y="0"/>
                  </a:cubicBezTo>
                  <a:cubicBezTo>
                    <a:pt x="230" y="0"/>
                    <a:pt x="0" y="233"/>
                    <a:pt x="3" y="518"/>
                  </a:cubicBezTo>
                  <a:cubicBezTo>
                    <a:pt x="5" y="799"/>
                    <a:pt x="5" y="799"/>
                    <a:pt x="5" y="799"/>
                  </a:cubicBezTo>
                  <a:cubicBezTo>
                    <a:pt x="6" y="837"/>
                    <a:pt x="37" y="869"/>
                    <a:pt x="76" y="869"/>
                  </a:cubicBezTo>
                  <a:cubicBezTo>
                    <a:pt x="394" y="869"/>
                    <a:pt x="394" y="869"/>
                    <a:pt x="394" y="869"/>
                  </a:cubicBezTo>
                  <a:cubicBezTo>
                    <a:pt x="435" y="869"/>
                    <a:pt x="469" y="835"/>
                    <a:pt x="468" y="794"/>
                  </a:cubicBezTo>
                  <a:cubicBezTo>
                    <a:pt x="466" y="617"/>
                    <a:pt x="466" y="617"/>
                    <a:pt x="466" y="617"/>
                  </a:cubicBezTo>
                  <a:cubicBezTo>
                    <a:pt x="463" y="332"/>
                    <a:pt x="693" y="99"/>
                    <a:pt x="978" y="99"/>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5" name="Freeform 758">
              <a:extLst>
                <a:ext uri="{FF2B5EF4-FFF2-40B4-BE49-F238E27FC236}">
                  <a16:creationId xmlns:a16="http://schemas.microsoft.com/office/drawing/2014/main" id="{E0F9E4E9-0241-46BE-BD5B-433DBB174762}"/>
                </a:ext>
                <a:ext uri="{C183D7F6-B498-43B3-948B-1728B52AA6E4}">
                  <adec:decorative xmlns:adec="http://schemas.microsoft.com/office/drawing/2017/decorative" val="1"/>
                </a:ext>
              </a:extLst>
            </p:cNvPr>
            <p:cNvSpPr>
              <a:spLocks/>
            </p:cNvSpPr>
            <p:nvPr/>
          </p:nvSpPr>
          <p:spPr bwMode="auto">
            <a:xfrm flipH="1">
              <a:off x="11184162" y="4787242"/>
              <a:ext cx="107080" cy="80089"/>
            </a:xfrm>
            <a:custGeom>
              <a:avLst/>
              <a:gdLst>
                <a:gd name="T0" fmla="*/ 59 w 1034"/>
                <a:gd name="T1" fmla="*/ 518 h 770"/>
                <a:gd name="T2" fmla="*/ 61 w 1034"/>
                <a:gd name="T3" fmla="*/ 712 h 770"/>
                <a:gd name="T4" fmla="*/ 4 w 1034"/>
                <a:gd name="T5" fmla="*/ 770 h 770"/>
                <a:gd name="T6" fmla="*/ 0 w 1034"/>
                <a:gd name="T7" fmla="*/ 770 h 770"/>
                <a:gd name="T8" fmla="*/ 462 w 1034"/>
                <a:gd name="T9" fmla="*/ 770 h 770"/>
                <a:gd name="T10" fmla="*/ 524 w 1034"/>
                <a:gd name="T11" fmla="*/ 706 h 770"/>
                <a:gd name="T12" fmla="*/ 522 w 1034"/>
                <a:gd name="T13" fmla="*/ 518 h 770"/>
                <a:gd name="T14" fmla="*/ 1034 w 1034"/>
                <a:gd name="T15" fmla="*/ 0 h 770"/>
                <a:gd name="T16" fmla="*/ 571 w 1034"/>
                <a:gd name="T17" fmla="*/ 0 h 770"/>
                <a:gd name="T18" fmla="*/ 59 w 1034"/>
                <a:gd name="T19" fmla="*/ 51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770">
                  <a:moveTo>
                    <a:pt x="59" y="518"/>
                  </a:moveTo>
                  <a:cubicBezTo>
                    <a:pt x="61" y="712"/>
                    <a:pt x="61" y="712"/>
                    <a:pt x="61" y="712"/>
                  </a:cubicBezTo>
                  <a:cubicBezTo>
                    <a:pt x="61" y="743"/>
                    <a:pt x="36" y="770"/>
                    <a:pt x="4" y="770"/>
                  </a:cubicBezTo>
                  <a:cubicBezTo>
                    <a:pt x="0" y="770"/>
                    <a:pt x="0" y="770"/>
                    <a:pt x="0" y="770"/>
                  </a:cubicBezTo>
                  <a:cubicBezTo>
                    <a:pt x="462" y="770"/>
                    <a:pt x="462" y="770"/>
                    <a:pt x="462" y="770"/>
                  </a:cubicBezTo>
                  <a:cubicBezTo>
                    <a:pt x="497" y="770"/>
                    <a:pt x="525" y="741"/>
                    <a:pt x="524" y="706"/>
                  </a:cubicBezTo>
                  <a:cubicBezTo>
                    <a:pt x="522" y="518"/>
                    <a:pt x="522" y="518"/>
                    <a:pt x="522" y="518"/>
                  </a:cubicBezTo>
                  <a:cubicBezTo>
                    <a:pt x="519" y="233"/>
                    <a:pt x="749" y="0"/>
                    <a:pt x="1034" y="0"/>
                  </a:cubicBezTo>
                  <a:cubicBezTo>
                    <a:pt x="571" y="0"/>
                    <a:pt x="571" y="0"/>
                    <a:pt x="571" y="0"/>
                  </a:cubicBezTo>
                  <a:cubicBezTo>
                    <a:pt x="286" y="0"/>
                    <a:pt x="56" y="233"/>
                    <a:pt x="59" y="51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6" name="Freeform 759">
              <a:extLst>
                <a:ext uri="{FF2B5EF4-FFF2-40B4-BE49-F238E27FC236}">
                  <a16:creationId xmlns:a16="http://schemas.microsoft.com/office/drawing/2014/main" id="{D1CE2729-802C-438E-B93F-6E3D324EF79A}"/>
                </a:ext>
                <a:ext uri="{C183D7F6-B498-43B3-948B-1728B52AA6E4}">
                  <adec:decorative xmlns:adec="http://schemas.microsoft.com/office/drawing/2017/decorative" val="1"/>
                </a:ext>
              </a:extLst>
            </p:cNvPr>
            <p:cNvSpPr>
              <a:spLocks/>
            </p:cNvSpPr>
            <p:nvPr/>
          </p:nvSpPr>
          <p:spPr bwMode="auto">
            <a:xfrm flipH="1">
              <a:off x="10943896" y="4777065"/>
              <a:ext cx="108407" cy="361064"/>
            </a:xfrm>
            <a:custGeom>
              <a:avLst/>
              <a:gdLst>
                <a:gd name="T0" fmla="*/ 463 w 1048"/>
                <a:gd name="T1" fmla="*/ 0 h 3485"/>
                <a:gd name="T2" fmla="*/ 0 w 1048"/>
                <a:gd name="T3" fmla="*/ 0 h 3485"/>
                <a:gd name="T4" fmla="*/ 585 w 1048"/>
                <a:gd name="T5" fmla="*/ 585 h 3485"/>
                <a:gd name="T6" fmla="*/ 585 w 1048"/>
                <a:gd name="T7" fmla="*/ 2810 h 3485"/>
                <a:gd name="T8" fmla="*/ 306 w 1048"/>
                <a:gd name="T9" fmla="*/ 3380 h 3485"/>
                <a:gd name="T10" fmla="*/ 170 w 1048"/>
                <a:gd name="T11" fmla="*/ 3485 h 3485"/>
                <a:gd name="T12" fmla="*/ 583 w 1048"/>
                <a:gd name="T13" fmla="*/ 3485 h 3485"/>
                <a:gd name="T14" fmla="*/ 673 w 1048"/>
                <a:gd name="T15" fmla="*/ 3455 h 3485"/>
                <a:gd name="T16" fmla="*/ 769 w 1048"/>
                <a:gd name="T17" fmla="*/ 3380 h 3485"/>
                <a:gd name="T18" fmla="*/ 1048 w 1048"/>
                <a:gd name="T19" fmla="*/ 2810 h 3485"/>
                <a:gd name="T20" fmla="*/ 1048 w 1048"/>
                <a:gd name="T21" fmla="*/ 585 h 3485"/>
                <a:gd name="T22" fmla="*/ 463 w 1048"/>
                <a:gd name="T23" fmla="*/ 0 h 3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8" h="3485">
                  <a:moveTo>
                    <a:pt x="463" y="0"/>
                  </a:moveTo>
                  <a:cubicBezTo>
                    <a:pt x="0" y="0"/>
                    <a:pt x="0" y="0"/>
                    <a:pt x="0" y="0"/>
                  </a:cubicBezTo>
                  <a:cubicBezTo>
                    <a:pt x="323" y="0"/>
                    <a:pt x="585" y="262"/>
                    <a:pt x="585" y="585"/>
                  </a:cubicBezTo>
                  <a:cubicBezTo>
                    <a:pt x="585" y="2810"/>
                    <a:pt x="585" y="2810"/>
                    <a:pt x="585" y="2810"/>
                  </a:cubicBezTo>
                  <a:cubicBezTo>
                    <a:pt x="585" y="3033"/>
                    <a:pt x="482" y="3244"/>
                    <a:pt x="306" y="3380"/>
                  </a:cubicBezTo>
                  <a:cubicBezTo>
                    <a:pt x="170" y="3485"/>
                    <a:pt x="170" y="3485"/>
                    <a:pt x="170" y="3485"/>
                  </a:cubicBezTo>
                  <a:cubicBezTo>
                    <a:pt x="583" y="3485"/>
                    <a:pt x="583" y="3485"/>
                    <a:pt x="583" y="3485"/>
                  </a:cubicBezTo>
                  <a:cubicBezTo>
                    <a:pt x="616" y="3485"/>
                    <a:pt x="647" y="3474"/>
                    <a:pt x="673" y="3455"/>
                  </a:cubicBezTo>
                  <a:cubicBezTo>
                    <a:pt x="769" y="3380"/>
                    <a:pt x="769" y="3380"/>
                    <a:pt x="769" y="3380"/>
                  </a:cubicBezTo>
                  <a:cubicBezTo>
                    <a:pt x="945" y="3244"/>
                    <a:pt x="1048" y="3033"/>
                    <a:pt x="1048" y="2810"/>
                  </a:cubicBezTo>
                  <a:cubicBezTo>
                    <a:pt x="1048" y="585"/>
                    <a:pt x="1048" y="585"/>
                    <a:pt x="1048" y="585"/>
                  </a:cubicBezTo>
                  <a:cubicBezTo>
                    <a:pt x="1048" y="262"/>
                    <a:pt x="786" y="0"/>
                    <a:pt x="46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67" name="Freeform 760">
              <a:extLst>
                <a:ext uri="{FF2B5EF4-FFF2-40B4-BE49-F238E27FC236}">
                  <a16:creationId xmlns:a16="http://schemas.microsoft.com/office/drawing/2014/main" id="{2A26D7EB-E23D-4FA3-B59D-B5F0C15F628A}"/>
                </a:ext>
                <a:ext uri="{C183D7F6-B498-43B3-948B-1728B52AA6E4}">
                  <adec:decorative xmlns:adec="http://schemas.microsoft.com/office/drawing/2017/decorative" val="1"/>
                </a:ext>
              </a:extLst>
            </p:cNvPr>
            <p:cNvSpPr>
              <a:spLocks/>
            </p:cNvSpPr>
            <p:nvPr/>
          </p:nvSpPr>
          <p:spPr bwMode="auto">
            <a:xfrm flipH="1">
              <a:off x="10364251" y="5412909"/>
              <a:ext cx="148230" cy="132744"/>
            </a:xfrm>
            <a:custGeom>
              <a:avLst/>
              <a:gdLst>
                <a:gd name="T0" fmla="*/ 0 w 1429"/>
                <a:gd name="T1" fmla="*/ 718 h 1280"/>
                <a:gd name="T2" fmla="*/ 1191 w 1429"/>
                <a:gd name="T3" fmla="*/ 0 h 1280"/>
                <a:gd name="T4" fmla="*/ 1429 w 1429"/>
                <a:gd name="T5" fmla="*/ 592 h 1280"/>
                <a:gd name="T6" fmla="*/ 302 w 1429"/>
                <a:gd name="T7" fmla="*/ 1280 h 1280"/>
                <a:gd name="T8" fmla="*/ 0 w 1429"/>
                <a:gd name="T9" fmla="*/ 718 h 1280"/>
              </a:gdLst>
              <a:ahLst/>
              <a:cxnLst>
                <a:cxn ang="0">
                  <a:pos x="T0" y="T1"/>
                </a:cxn>
                <a:cxn ang="0">
                  <a:pos x="T2" y="T3"/>
                </a:cxn>
                <a:cxn ang="0">
                  <a:pos x="T4" y="T5"/>
                </a:cxn>
                <a:cxn ang="0">
                  <a:pos x="T6" y="T7"/>
                </a:cxn>
                <a:cxn ang="0">
                  <a:pos x="T8" y="T9"/>
                </a:cxn>
              </a:cxnLst>
              <a:rect l="0" t="0" r="r" b="b"/>
              <a:pathLst>
                <a:path w="1429" h="1280">
                  <a:moveTo>
                    <a:pt x="0" y="718"/>
                  </a:moveTo>
                  <a:cubicBezTo>
                    <a:pt x="584" y="420"/>
                    <a:pt x="1191" y="0"/>
                    <a:pt x="1191" y="0"/>
                  </a:cubicBezTo>
                  <a:cubicBezTo>
                    <a:pt x="1429" y="592"/>
                    <a:pt x="1429" y="592"/>
                    <a:pt x="1429" y="592"/>
                  </a:cubicBezTo>
                  <a:cubicBezTo>
                    <a:pt x="1429" y="592"/>
                    <a:pt x="1048" y="885"/>
                    <a:pt x="302" y="1280"/>
                  </a:cubicBezTo>
                  <a:lnTo>
                    <a:pt x="0" y="718"/>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68" name="Freeform 761">
              <a:extLst>
                <a:ext uri="{FF2B5EF4-FFF2-40B4-BE49-F238E27FC236}">
                  <a16:creationId xmlns:a16="http://schemas.microsoft.com/office/drawing/2014/main" id="{97054906-0680-4F6F-862B-AF485AC1E67A}"/>
                </a:ext>
                <a:ext uri="{C183D7F6-B498-43B3-948B-1728B52AA6E4}">
                  <adec:decorative xmlns:adec="http://schemas.microsoft.com/office/drawing/2017/decorative" val="1"/>
                </a:ext>
              </a:extLst>
            </p:cNvPr>
            <p:cNvSpPr>
              <a:spLocks/>
            </p:cNvSpPr>
            <p:nvPr/>
          </p:nvSpPr>
          <p:spPr bwMode="auto">
            <a:xfrm flipH="1">
              <a:off x="10830622" y="5487688"/>
              <a:ext cx="162389" cy="138054"/>
            </a:xfrm>
            <a:custGeom>
              <a:avLst/>
              <a:gdLst>
                <a:gd name="T0" fmla="*/ 0 w 1565"/>
                <a:gd name="T1" fmla="*/ 1333 h 1333"/>
                <a:gd name="T2" fmla="*/ 6 w 1565"/>
                <a:gd name="T3" fmla="*/ 1174 h 1333"/>
                <a:gd name="T4" fmla="*/ 163 w 1565"/>
                <a:gd name="T5" fmla="*/ 632 h 1333"/>
                <a:gd name="T6" fmla="*/ 529 w 1565"/>
                <a:gd name="T7" fmla="*/ 40 h 1333"/>
                <a:gd name="T8" fmla="*/ 556 w 1565"/>
                <a:gd name="T9" fmla="*/ 0 h 1333"/>
                <a:gd name="T10" fmla="*/ 1415 w 1565"/>
                <a:gd name="T11" fmla="*/ 0 h 1333"/>
                <a:gd name="T12" fmla="*/ 1565 w 1565"/>
                <a:gd name="T13" fmla="*/ 1333 h 1333"/>
                <a:gd name="T14" fmla="*/ 0 w 1565"/>
                <a:gd name="T15" fmla="*/ 1333 h 1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5" h="1333">
                  <a:moveTo>
                    <a:pt x="0" y="1333"/>
                  </a:moveTo>
                  <a:cubicBezTo>
                    <a:pt x="6" y="1174"/>
                    <a:pt x="6" y="1174"/>
                    <a:pt x="6" y="1174"/>
                  </a:cubicBezTo>
                  <a:cubicBezTo>
                    <a:pt x="14" y="983"/>
                    <a:pt x="68" y="797"/>
                    <a:pt x="163" y="632"/>
                  </a:cubicBezTo>
                  <a:cubicBezTo>
                    <a:pt x="267" y="453"/>
                    <a:pt x="409" y="216"/>
                    <a:pt x="529" y="40"/>
                  </a:cubicBezTo>
                  <a:cubicBezTo>
                    <a:pt x="556" y="0"/>
                    <a:pt x="556" y="0"/>
                    <a:pt x="556" y="0"/>
                  </a:cubicBezTo>
                  <a:cubicBezTo>
                    <a:pt x="1415" y="0"/>
                    <a:pt x="1415" y="0"/>
                    <a:pt x="1415" y="0"/>
                  </a:cubicBezTo>
                  <a:cubicBezTo>
                    <a:pt x="1565" y="1333"/>
                    <a:pt x="1565" y="1333"/>
                    <a:pt x="1565" y="1333"/>
                  </a:cubicBezTo>
                  <a:lnTo>
                    <a:pt x="0" y="133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69" name="Freeform 762">
              <a:extLst>
                <a:ext uri="{FF2B5EF4-FFF2-40B4-BE49-F238E27FC236}">
                  <a16:creationId xmlns:a16="http://schemas.microsoft.com/office/drawing/2014/main" id="{20F2227E-5A7E-4EB7-B138-BD3846617BF7}"/>
                </a:ext>
                <a:ext uri="{C183D7F6-B498-43B3-948B-1728B52AA6E4}">
                  <adec:decorative xmlns:adec="http://schemas.microsoft.com/office/drawing/2017/decorative" val="1"/>
                </a:ext>
              </a:extLst>
            </p:cNvPr>
            <p:cNvSpPr>
              <a:spLocks/>
            </p:cNvSpPr>
            <p:nvPr/>
          </p:nvSpPr>
          <p:spPr bwMode="auto">
            <a:xfrm flipH="1">
              <a:off x="10833277" y="5457157"/>
              <a:ext cx="143363" cy="86284"/>
            </a:xfrm>
            <a:custGeom>
              <a:avLst/>
              <a:gdLst>
                <a:gd name="T0" fmla="*/ 40 w 1379"/>
                <a:gd name="T1" fmla="*/ 163 h 834"/>
                <a:gd name="T2" fmla="*/ 1379 w 1379"/>
                <a:gd name="T3" fmla="*/ 149 h 834"/>
                <a:gd name="T4" fmla="*/ 1332 w 1379"/>
                <a:gd name="T5" fmla="*/ 733 h 834"/>
                <a:gd name="T6" fmla="*/ 0 w 1379"/>
                <a:gd name="T7" fmla="*/ 834 h 834"/>
                <a:gd name="T8" fmla="*/ 40 w 1379"/>
                <a:gd name="T9" fmla="*/ 163 h 834"/>
              </a:gdLst>
              <a:ahLst/>
              <a:cxnLst>
                <a:cxn ang="0">
                  <a:pos x="T0" y="T1"/>
                </a:cxn>
                <a:cxn ang="0">
                  <a:pos x="T2" y="T3"/>
                </a:cxn>
                <a:cxn ang="0">
                  <a:pos x="T4" y="T5"/>
                </a:cxn>
                <a:cxn ang="0">
                  <a:pos x="T6" y="T7"/>
                </a:cxn>
                <a:cxn ang="0">
                  <a:pos x="T8" y="T9"/>
                </a:cxn>
              </a:cxnLst>
              <a:rect l="0" t="0" r="r" b="b"/>
              <a:pathLst>
                <a:path w="1379" h="834">
                  <a:moveTo>
                    <a:pt x="40" y="163"/>
                  </a:moveTo>
                  <a:cubicBezTo>
                    <a:pt x="40" y="163"/>
                    <a:pt x="721" y="0"/>
                    <a:pt x="1379" y="149"/>
                  </a:cubicBezTo>
                  <a:cubicBezTo>
                    <a:pt x="1339" y="368"/>
                    <a:pt x="1332" y="733"/>
                    <a:pt x="1332" y="733"/>
                  </a:cubicBezTo>
                  <a:cubicBezTo>
                    <a:pt x="1332" y="733"/>
                    <a:pt x="732" y="628"/>
                    <a:pt x="0" y="834"/>
                  </a:cubicBezTo>
                  <a:lnTo>
                    <a:pt x="40" y="163"/>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70" name="Freeform 763">
              <a:extLst>
                <a:ext uri="{FF2B5EF4-FFF2-40B4-BE49-F238E27FC236}">
                  <a16:creationId xmlns:a16="http://schemas.microsoft.com/office/drawing/2014/main" id="{9FF1A1C7-9467-4F95-A198-437E503EECC9}"/>
                </a:ext>
                <a:ext uri="{C183D7F6-B498-43B3-948B-1728B52AA6E4}">
                  <adec:decorative xmlns:adec="http://schemas.microsoft.com/office/drawing/2017/decorative" val="1"/>
                </a:ext>
              </a:extLst>
            </p:cNvPr>
            <p:cNvSpPr>
              <a:spLocks/>
            </p:cNvSpPr>
            <p:nvPr/>
          </p:nvSpPr>
          <p:spPr bwMode="auto">
            <a:xfrm flipH="1">
              <a:off x="10816463" y="5554945"/>
              <a:ext cx="176549" cy="70797"/>
            </a:xfrm>
            <a:custGeom>
              <a:avLst/>
              <a:gdLst>
                <a:gd name="T0" fmla="*/ 0 w 1699"/>
                <a:gd name="T1" fmla="*/ 684 h 684"/>
                <a:gd name="T2" fmla="*/ 1699 w 1699"/>
                <a:gd name="T3" fmla="*/ 684 h 684"/>
                <a:gd name="T4" fmla="*/ 1699 w 1699"/>
                <a:gd name="T5" fmla="*/ 531 h 684"/>
                <a:gd name="T6" fmla="*/ 1692 w 1699"/>
                <a:gd name="T7" fmla="*/ 466 h 684"/>
                <a:gd name="T8" fmla="*/ 1080 w 1699"/>
                <a:gd name="T9" fmla="*/ 0 h 684"/>
                <a:gd name="T10" fmla="*/ 726 w 1699"/>
                <a:gd name="T11" fmla="*/ 0 h 684"/>
                <a:gd name="T12" fmla="*/ 154 w 1699"/>
                <a:gd name="T13" fmla="*/ 361 h 684"/>
                <a:gd name="T14" fmla="*/ 0 w 1699"/>
                <a:gd name="T15" fmla="*/ 684 h 6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9" h="684">
                  <a:moveTo>
                    <a:pt x="0" y="684"/>
                  </a:moveTo>
                  <a:cubicBezTo>
                    <a:pt x="1699" y="684"/>
                    <a:pt x="1699" y="684"/>
                    <a:pt x="1699" y="684"/>
                  </a:cubicBezTo>
                  <a:cubicBezTo>
                    <a:pt x="1699" y="531"/>
                    <a:pt x="1699" y="531"/>
                    <a:pt x="1699" y="531"/>
                  </a:cubicBezTo>
                  <a:cubicBezTo>
                    <a:pt x="1699" y="509"/>
                    <a:pt x="1697" y="487"/>
                    <a:pt x="1692" y="466"/>
                  </a:cubicBezTo>
                  <a:cubicBezTo>
                    <a:pt x="1616" y="192"/>
                    <a:pt x="1367" y="0"/>
                    <a:pt x="1080" y="0"/>
                  </a:cubicBezTo>
                  <a:cubicBezTo>
                    <a:pt x="726" y="0"/>
                    <a:pt x="726" y="0"/>
                    <a:pt x="726" y="0"/>
                  </a:cubicBezTo>
                  <a:cubicBezTo>
                    <a:pt x="482" y="0"/>
                    <a:pt x="259" y="141"/>
                    <a:pt x="154" y="361"/>
                  </a:cubicBezTo>
                  <a:lnTo>
                    <a:pt x="0" y="68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latin typeface="Segoe UI Semilight" panose="020B0402040204020203" pitchFamily="34" charset="0"/>
                <a:cs typeface="Segoe UI Semilight" panose="020B0402040204020203" pitchFamily="34" charset="0"/>
              </a:endParaRPr>
            </a:p>
          </p:txBody>
        </p:sp>
        <p:sp>
          <p:nvSpPr>
            <p:cNvPr id="71" name="Freeform 764">
              <a:extLst>
                <a:ext uri="{FF2B5EF4-FFF2-40B4-BE49-F238E27FC236}">
                  <a16:creationId xmlns:a16="http://schemas.microsoft.com/office/drawing/2014/main" id="{99A032CB-DDAD-4926-B2F1-DFD4C041C81A}"/>
                </a:ext>
                <a:ext uri="{C183D7F6-B498-43B3-948B-1728B52AA6E4}">
                  <adec:decorative xmlns:adec="http://schemas.microsoft.com/office/drawing/2017/decorative" val="1"/>
                </a:ext>
              </a:extLst>
            </p:cNvPr>
            <p:cNvSpPr>
              <a:spLocks/>
            </p:cNvSpPr>
            <p:nvPr/>
          </p:nvSpPr>
          <p:spPr bwMode="auto">
            <a:xfrm flipH="1">
              <a:off x="10305844" y="4816445"/>
              <a:ext cx="85398" cy="273895"/>
            </a:xfrm>
            <a:custGeom>
              <a:avLst/>
              <a:gdLst>
                <a:gd name="T0" fmla="*/ 193 w 193"/>
                <a:gd name="T1" fmla="*/ 0 h 619"/>
                <a:gd name="T2" fmla="*/ 174 w 193"/>
                <a:gd name="T3" fmla="*/ 619 h 619"/>
                <a:gd name="T4" fmla="*/ 13 w 193"/>
                <a:gd name="T5" fmla="*/ 440 h 619"/>
                <a:gd name="T6" fmla="*/ 0 w 193"/>
                <a:gd name="T7" fmla="*/ 0 h 619"/>
                <a:gd name="T8" fmla="*/ 193 w 193"/>
                <a:gd name="T9" fmla="*/ 0 h 619"/>
              </a:gdLst>
              <a:ahLst/>
              <a:cxnLst>
                <a:cxn ang="0">
                  <a:pos x="T0" y="T1"/>
                </a:cxn>
                <a:cxn ang="0">
                  <a:pos x="T2" y="T3"/>
                </a:cxn>
                <a:cxn ang="0">
                  <a:pos x="T4" y="T5"/>
                </a:cxn>
                <a:cxn ang="0">
                  <a:pos x="T6" y="T7"/>
                </a:cxn>
                <a:cxn ang="0">
                  <a:pos x="T8" y="T9"/>
                </a:cxn>
              </a:cxnLst>
              <a:rect l="0" t="0" r="r" b="b"/>
              <a:pathLst>
                <a:path w="193" h="619">
                  <a:moveTo>
                    <a:pt x="193" y="0"/>
                  </a:moveTo>
                  <a:lnTo>
                    <a:pt x="174" y="619"/>
                  </a:lnTo>
                  <a:lnTo>
                    <a:pt x="13" y="440"/>
                  </a:lnTo>
                  <a:lnTo>
                    <a:pt x="0" y="0"/>
                  </a:lnTo>
                  <a:lnTo>
                    <a:pt x="193"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72" name="Freeform 765">
              <a:extLst>
                <a:ext uri="{FF2B5EF4-FFF2-40B4-BE49-F238E27FC236}">
                  <a16:creationId xmlns:a16="http://schemas.microsoft.com/office/drawing/2014/main" id="{1B32C211-F6D8-4F8B-9943-AC0F31CD0EFC}"/>
                </a:ext>
                <a:ext uri="{C183D7F6-B498-43B3-948B-1728B52AA6E4}">
                  <adec:decorative xmlns:adec="http://schemas.microsoft.com/office/drawing/2017/decorative" val="1"/>
                </a:ext>
              </a:extLst>
            </p:cNvPr>
            <p:cNvSpPr>
              <a:spLocks/>
            </p:cNvSpPr>
            <p:nvPr/>
          </p:nvSpPr>
          <p:spPr bwMode="auto">
            <a:xfrm flipH="1">
              <a:off x="10305844" y="4816445"/>
              <a:ext cx="85398" cy="273895"/>
            </a:xfrm>
            <a:custGeom>
              <a:avLst/>
              <a:gdLst>
                <a:gd name="T0" fmla="*/ 193 w 193"/>
                <a:gd name="T1" fmla="*/ 0 h 619"/>
                <a:gd name="T2" fmla="*/ 174 w 193"/>
                <a:gd name="T3" fmla="*/ 619 h 619"/>
                <a:gd name="T4" fmla="*/ 13 w 193"/>
                <a:gd name="T5" fmla="*/ 440 h 619"/>
                <a:gd name="T6" fmla="*/ 0 w 193"/>
                <a:gd name="T7" fmla="*/ 0 h 619"/>
                <a:gd name="T8" fmla="*/ 193 w 193"/>
                <a:gd name="T9" fmla="*/ 0 h 619"/>
              </a:gdLst>
              <a:ahLst/>
              <a:cxnLst>
                <a:cxn ang="0">
                  <a:pos x="T0" y="T1"/>
                </a:cxn>
                <a:cxn ang="0">
                  <a:pos x="T2" y="T3"/>
                </a:cxn>
                <a:cxn ang="0">
                  <a:pos x="T4" y="T5"/>
                </a:cxn>
                <a:cxn ang="0">
                  <a:pos x="T6" y="T7"/>
                </a:cxn>
                <a:cxn ang="0">
                  <a:pos x="T8" y="T9"/>
                </a:cxn>
              </a:cxnLst>
              <a:rect l="0" t="0" r="r" b="b"/>
              <a:pathLst>
                <a:path w="193" h="619">
                  <a:moveTo>
                    <a:pt x="193" y="0"/>
                  </a:moveTo>
                  <a:lnTo>
                    <a:pt x="174" y="619"/>
                  </a:lnTo>
                  <a:lnTo>
                    <a:pt x="13" y="440"/>
                  </a:lnTo>
                  <a:lnTo>
                    <a:pt x="0" y="0"/>
                  </a:lnTo>
                  <a:lnTo>
                    <a:pt x="1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73" name="Line 766">
              <a:extLst>
                <a:ext uri="{FF2B5EF4-FFF2-40B4-BE49-F238E27FC236}">
                  <a16:creationId xmlns:a16="http://schemas.microsoft.com/office/drawing/2014/main" id="{9D1A3BD0-1BAB-4AB1-8AFF-BBE3B0BA51F2}"/>
                </a:ext>
                <a:ext uri="{C183D7F6-B498-43B3-948B-1728B52AA6E4}">
                  <adec:decorative xmlns:adec="http://schemas.microsoft.com/office/drawing/2017/decorative" val="1"/>
                </a:ext>
              </a:extLst>
            </p:cNvPr>
            <p:cNvSpPr>
              <a:spLocks noChangeShapeType="1"/>
            </p:cNvSpPr>
            <p:nvPr/>
          </p:nvSpPr>
          <p:spPr bwMode="auto">
            <a:xfrm flipH="1">
              <a:off x="11614250" y="48164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74" name="Line 767">
              <a:extLst>
                <a:ext uri="{FF2B5EF4-FFF2-40B4-BE49-F238E27FC236}">
                  <a16:creationId xmlns:a16="http://schemas.microsoft.com/office/drawing/2014/main" id="{ACD8CDA8-713A-4575-A84D-93F8D20246B5}"/>
                </a:ext>
                <a:ext uri="{C183D7F6-B498-43B3-948B-1728B52AA6E4}">
                  <adec:decorative xmlns:adec="http://schemas.microsoft.com/office/drawing/2017/decorative" val="1"/>
                </a:ext>
              </a:extLst>
            </p:cNvPr>
            <p:cNvSpPr>
              <a:spLocks noChangeShapeType="1"/>
            </p:cNvSpPr>
            <p:nvPr/>
          </p:nvSpPr>
          <p:spPr bwMode="auto">
            <a:xfrm flipH="1">
              <a:off x="11614250" y="48164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75" name="Rectangle 768">
              <a:extLst>
                <a:ext uri="{FF2B5EF4-FFF2-40B4-BE49-F238E27FC236}">
                  <a16:creationId xmlns:a16="http://schemas.microsoft.com/office/drawing/2014/main" id="{B102B8CE-C2B3-4847-92F9-70DB9D0D3B94}"/>
                </a:ext>
                <a:ext uri="{C183D7F6-B498-43B3-948B-1728B52AA6E4}">
                  <adec:decorative xmlns:adec="http://schemas.microsoft.com/office/drawing/2017/decorative" val="1"/>
                </a:ext>
              </a:extLst>
            </p:cNvPr>
            <p:cNvSpPr>
              <a:spLocks noChangeArrowheads="1"/>
            </p:cNvSpPr>
            <p:nvPr/>
          </p:nvSpPr>
          <p:spPr bwMode="auto">
            <a:xfrm flipH="1">
              <a:off x="9582393" y="4692993"/>
              <a:ext cx="1528760" cy="123452"/>
            </a:xfrm>
            <a:prstGeom prst="rect">
              <a:avLst/>
            </a:prstGeom>
            <a:solidFill>
              <a:srgbClr val="7259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76" name="Rectangle 769">
              <a:extLst>
                <a:ext uri="{FF2B5EF4-FFF2-40B4-BE49-F238E27FC236}">
                  <a16:creationId xmlns:a16="http://schemas.microsoft.com/office/drawing/2014/main" id="{21D565D0-3D86-4636-81BA-0A34D05295EF}"/>
                </a:ext>
                <a:ext uri="{C183D7F6-B498-43B3-948B-1728B52AA6E4}">
                  <adec:decorative xmlns:adec="http://schemas.microsoft.com/office/drawing/2017/decorative" val="1"/>
                </a:ext>
              </a:extLst>
            </p:cNvPr>
            <p:cNvSpPr>
              <a:spLocks noChangeArrowheads="1"/>
            </p:cNvSpPr>
            <p:nvPr/>
          </p:nvSpPr>
          <p:spPr bwMode="auto">
            <a:xfrm flipH="1">
              <a:off x="11111153" y="4692993"/>
              <a:ext cx="650442" cy="123452"/>
            </a:xfrm>
            <a:prstGeom prst="rect">
              <a:avLst/>
            </a:prstGeom>
            <a:solidFill>
              <a:srgbClr val="8E7A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77" name="Freeform 770">
              <a:extLst>
                <a:ext uri="{FF2B5EF4-FFF2-40B4-BE49-F238E27FC236}">
                  <a16:creationId xmlns:a16="http://schemas.microsoft.com/office/drawing/2014/main" id="{72061EF5-50AC-4AEE-9C7B-BDEAB4414FDD}"/>
                </a:ext>
                <a:ext uri="{C183D7F6-B498-43B3-948B-1728B52AA6E4}">
                  <adec:decorative xmlns:adec="http://schemas.microsoft.com/office/drawing/2017/decorative" val="1"/>
                </a:ext>
              </a:extLst>
            </p:cNvPr>
            <p:cNvSpPr>
              <a:spLocks/>
            </p:cNvSpPr>
            <p:nvPr/>
          </p:nvSpPr>
          <p:spPr bwMode="auto">
            <a:xfrm flipH="1">
              <a:off x="10884604" y="4816445"/>
              <a:ext cx="85398" cy="809297"/>
            </a:xfrm>
            <a:custGeom>
              <a:avLst/>
              <a:gdLst>
                <a:gd name="T0" fmla="*/ 139 w 193"/>
                <a:gd name="T1" fmla="*/ 1829 h 1829"/>
                <a:gd name="T2" fmla="*/ 54 w 193"/>
                <a:gd name="T3" fmla="*/ 1829 h 1829"/>
                <a:gd name="T4" fmla="*/ 0 w 193"/>
                <a:gd name="T5" fmla="*/ 0 h 1829"/>
                <a:gd name="T6" fmla="*/ 193 w 193"/>
                <a:gd name="T7" fmla="*/ 0 h 1829"/>
                <a:gd name="T8" fmla="*/ 139 w 193"/>
                <a:gd name="T9" fmla="*/ 1829 h 1829"/>
              </a:gdLst>
              <a:ahLst/>
              <a:cxnLst>
                <a:cxn ang="0">
                  <a:pos x="T0" y="T1"/>
                </a:cxn>
                <a:cxn ang="0">
                  <a:pos x="T2" y="T3"/>
                </a:cxn>
                <a:cxn ang="0">
                  <a:pos x="T4" y="T5"/>
                </a:cxn>
                <a:cxn ang="0">
                  <a:pos x="T6" y="T7"/>
                </a:cxn>
                <a:cxn ang="0">
                  <a:pos x="T8" y="T9"/>
                </a:cxn>
              </a:cxnLst>
              <a:rect l="0" t="0" r="r" b="b"/>
              <a:pathLst>
                <a:path w="193" h="1829">
                  <a:moveTo>
                    <a:pt x="139" y="1829"/>
                  </a:moveTo>
                  <a:lnTo>
                    <a:pt x="54" y="1829"/>
                  </a:lnTo>
                  <a:lnTo>
                    <a:pt x="0" y="0"/>
                  </a:lnTo>
                  <a:lnTo>
                    <a:pt x="193" y="0"/>
                  </a:lnTo>
                  <a:lnTo>
                    <a:pt x="139" y="182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78" name="Freeform 771">
              <a:extLst>
                <a:ext uri="{FF2B5EF4-FFF2-40B4-BE49-F238E27FC236}">
                  <a16:creationId xmlns:a16="http://schemas.microsoft.com/office/drawing/2014/main" id="{E7F36759-BB19-483A-B7DD-EA9D74AFB59A}"/>
                </a:ext>
                <a:ext uri="{C183D7F6-B498-43B3-948B-1728B52AA6E4}">
                  <adec:decorative xmlns:adec="http://schemas.microsoft.com/office/drawing/2017/decorative" val="1"/>
                </a:ext>
              </a:extLst>
            </p:cNvPr>
            <p:cNvSpPr>
              <a:spLocks/>
            </p:cNvSpPr>
            <p:nvPr/>
          </p:nvSpPr>
          <p:spPr bwMode="auto">
            <a:xfrm flipH="1">
              <a:off x="11528852" y="4816445"/>
              <a:ext cx="85398" cy="809297"/>
            </a:xfrm>
            <a:custGeom>
              <a:avLst/>
              <a:gdLst>
                <a:gd name="T0" fmla="*/ 138 w 193"/>
                <a:gd name="T1" fmla="*/ 1829 h 1829"/>
                <a:gd name="T2" fmla="*/ 54 w 193"/>
                <a:gd name="T3" fmla="*/ 1829 h 1829"/>
                <a:gd name="T4" fmla="*/ 0 w 193"/>
                <a:gd name="T5" fmla="*/ 0 h 1829"/>
                <a:gd name="T6" fmla="*/ 193 w 193"/>
                <a:gd name="T7" fmla="*/ 0 h 1829"/>
                <a:gd name="T8" fmla="*/ 138 w 193"/>
                <a:gd name="T9" fmla="*/ 1829 h 1829"/>
              </a:gdLst>
              <a:ahLst/>
              <a:cxnLst>
                <a:cxn ang="0">
                  <a:pos x="T0" y="T1"/>
                </a:cxn>
                <a:cxn ang="0">
                  <a:pos x="T2" y="T3"/>
                </a:cxn>
                <a:cxn ang="0">
                  <a:pos x="T4" y="T5"/>
                </a:cxn>
                <a:cxn ang="0">
                  <a:pos x="T6" y="T7"/>
                </a:cxn>
                <a:cxn ang="0">
                  <a:pos x="T8" y="T9"/>
                </a:cxn>
              </a:cxnLst>
              <a:rect l="0" t="0" r="r" b="b"/>
              <a:pathLst>
                <a:path w="193" h="1829">
                  <a:moveTo>
                    <a:pt x="138" y="1829"/>
                  </a:moveTo>
                  <a:lnTo>
                    <a:pt x="54" y="1829"/>
                  </a:lnTo>
                  <a:lnTo>
                    <a:pt x="0" y="0"/>
                  </a:lnTo>
                  <a:lnTo>
                    <a:pt x="193" y="0"/>
                  </a:lnTo>
                  <a:lnTo>
                    <a:pt x="138" y="1829"/>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79" name="Freeform 772">
              <a:extLst>
                <a:ext uri="{FF2B5EF4-FFF2-40B4-BE49-F238E27FC236}">
                  <a16:creationId xmlns:a16="http://schemas.microsoft.com/office/drawing/2014/main" id="{CB4AA481-5714-4DA6-BEFA-4720E6A95A07}"/>
                </a:ext>
                <a:ext uri="{C183D7F6-B498-43B3-948B-1728B52AA6E4}">
                  <adec:decorative xmlns:adec="http://schemas.microsoft.com/office/drawing/2017/decorative" val="1"/>
                </a:ext>
              </a:extLst>
            </p:cNvPr>
            <p:cNvSpPr>
              <a:spLocks/>
            </p:cNvSpPr>
            <p:nvPr/>
          </p:nvSpPr>
          <p:spPr bwMode="auto">
            <a:xfrm flipH="1">
              <a:off x="9730181" y="4816445"/>
              <a:ext cx="85398" cy="809297"/>
            </a:xfrm>
            <a:custGeom>
              <a:avLst/>
              <a:gdLst>
                <a:gd name="T0" fmla="*/ 139 w 193"/>
                <a:gd name="T1" fmla="*/ 1829 h 1829"/>
                <a:gd name="T2" fmla="*/ 54 w 193"/>
                <a:gd name="T3" fmla="*/ 1829 h 1829"/>
                <a:gd name="T4" fmla="*/ 0 w 193"/>
                <a:gd name="T5" fmla="*/ 0 h 1829"/>
                <a:gd name="T6" fmla="*/ 193 w 193"/>
                <a:gd name="T7" fmla="*/ 0 h 1829"/>
                <a:gd name="T8" fmla="*/ 139 w 193"/>
                <a:gd name="T9" fmla="*/ 1829 h 1829"/>
              </a:gdLst>
              <a:ahLst/>
              <a:cxnLst>
                <a:cxn ang="0">
                  <a:pos x="T0" y="T1"/>
                </a:cxn>
                <a:cxn ang="0">
                  <a:pos x="T2" y="T3"/>
                </a:cxn>
                <a:cxn ang="0">
                  <a:pos x="T4" y="T5"/>
                </a:cxn>
                <a:cxn ang="0">
                  <a:pos x="T6" y="T7"/>
                </a:cxn>
                <a:cxn ang="0">
                  <a:pos x="T8" y="T9"/>
                </a:cxn>
              </a:cxnLst>
              <a:rect l="0" t="0" r="r" b="b"/>
              <a:pathLst>
                <a:path w="193" h="1829">
                  <a:moveTo>
                    <a:pt x="139" y="1829"/>
                  </a:moveTo>
                  <a:lnTo>
                    <a:pt x="54" y="1829"/>
                  </a:lnTo>
                  <a:lnTo>
                    <a:pt x="0" y="0"/>
                  </a:lnTo>
                  <a:lnTo>
                    <a:pt x="193" y="0"/>
                  </a:lnTo>
                  <a:lnTo>
                    <a:pt x="139" y="182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80" name="Freeform 774">
              <a:extLst>
                <a:ext uri="{FF2B5EF4-FFF2-40B4-BE49-F238E27FC236}">
                  <a16:creationId xmlns:a16="http://schemas.microsoft.com/office/drawing/2014/main" id="{57E91A47-F8F0-4CF1-9B46-1548810C686C}"/>
                </a:ext>
                <a:ext uri="{C183D7F6-B498-43B3-948B-1728B52AA6E4}">
                  <adec:decorative xmlns:adec="http://schemas.microsoft.com/office/drawing/2017/decorative" val="1"/>
                </a:ext>
              </a:extLst>
            </p:cNvPr>
            <p:cNvSpPr>
              <a:spLocks/>
            </p:cNvSpPr>
            <p:nvPr/>
          </p:nvSpPr>
          <p:spPr bwMode="auto">
            <a:xfrm flipH="1">
              <a:off x="10054959" y="4379717"/>
              <a:ext cx="911946" cy="313276"/>
            </a:xfrm>
            <a:custGeom>
              <a:avLst/>
              <a:gdLst>
                <a:gd name="T0" fmla="*/ 8726 w 8791"/>
                <a:gd name="T1" fmla="*/ 71 h 3023"/>
                <a:gd name="T2" fmla="*/ 8485 w 8791"/>
                <a:gd name="T3" fmla="*/ 0 h 3023"/>
                <a:gd name="T4" fmla="*/ 4056 w 8791"/>
                <a:gd name="T5" fmla="*/ 0 h 3023"/>
                <a:gd name="T6" fmla="*/ 3651 w 8791"/>
                <a:gd name="T7" fmla="*/ 277 h 3023"/>
                <a:gd name="T8" fmla="*/ 2707 w 8791"/>
                <a:gd name="T9" fmla="*/ 2672 h 3023"/>
                <a:gd name="T10" fmla="*/ 2567 w 8791"/>
                <a:gd name="T11" fmla="*/ 2768 h 3023"/>
                <a:gd name="T12" fmla="*/ 0 w 8791"/>
                <a:gd name="T13" fmla="*/ 2768 h 3023"/>
                <a:gd name="T14" fmla="*/ 0 w 8791"/>
                <a:gd name="T15" fmla="*/ 3023 h 3023"/>
                <a:gd name="T16" fmla="*/ 2855 w 8791"/>
                <a:gd name="T17" fmla="*/ 3023 h 3023"/>
                <a:gd name="T18" fmla="*/ 7913 w 8791"/>
                <a:gd name="T19" fmla="*/ 2716 h 3023"/>
                <a:gd name="T20" fmla="*/ 7953 w 8791"/>
                <a:gd name="T21" fmla="*/ 2612 h 3023"/>
                <a:gd name="T22" fmla="*/ 8791 w 8791"/>
                <a:gd name="T23" fmla="*/ 114 h 3023"/>
                <a:gd name="T24" fmla="*/ 8726 w 8791"/>
                <a:gd name="T25" fmla="*/ 71 h 3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91" h="3023">
                  <a:moveTo>
                    <a:pt x="8726" y="71"/>
                  </a:moveTo>
                  <a:cubicBezTo>
                    <a:pt x="8654" y="25"/>
                    <a:pt x="8570" y="0"/>
                    <a:pt x="8485" y="0"/>
                  </a:cubicBezTo>
                  <a:cubicBezTo>
                    <a:pt x="4056" y="0"/>
                    <a:pt x="4056" y="0"/>
                    <a:pt x="4056" y="0"/>
                  </a:cubicBezTo>
                  <a:cubicBezTo>
                    <a:pt x="3877" y="0"/>
                    <a:pt x="3716" y="110"/>
                    <a:pt x="3651" y="277"/>
                  </a:cubicBezTo>
                  <a:cubicBezTo>
                    <a:pt x="2707" y="2672"/>
                    <a:pt x="2707" y="2672"/>
                    <a:pt x="2707" y="2672"/>
                  </a:cubicBezTo>
                  <a:cubicBezTo>
                    <a:pt x="2685" y="2730"/>
                    <a:pt x="2629" y="2768"/>
                    <a:pt x="2567" y="2768"/>
                  </a:cubicBezTo>
                  <a:cubicBezTo>
                    <a:pt x="0" y="2768"/>
                    <a:pt x="0" y="2768"/>
                    <a:pt x="0" y="2768"/>
                  </a:cubicBezTo>
                  <a:cubicBezTo>
                    <a:pt x="0" y="3023"/>
                    <a:pt x="0" y="3023"/>
                    <a:pt x="0" y="3023"/>
                  </a:cubicBezTo>
                  <a:cubicBezTo>
                    <a:pt x="2855" y="3023"/>
                    <a:pt x="2855" y="3023"/>
                    <a:pt x="2855" y="3023"/>
                  </a:cubicBezTo>
                  <a:cubicBezTo>
                    <a:pt x="7913" y="2716"/>
                    <a:pt x="7913" y="2716"/>
                    <a:pt x="7913" y="2716"/>
                  </a:cubicBezTo>
                  <a:cubicBezTo>
                    <a:pt x="7953" y="2612"/>
                    <a:pt x="7953" y="2612"/>
                    <a:pt x="7953" y="2612"/>
                  </a:cubicBezTo>
                  <a:cubicBezTo>
                    <a:pt x="8791" y="114"/>
                    <a:pt x="8791" y="114"/>
                    <a:pt x="8791" y="114"/>
                  </a:cubicBezTo>
                  <a:lnTo>
                    <a:pt x="8726" y="7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81" name="Freeform 775">
              <a:extLst>
                <a:ext uri="{FF2B5EF4-FFF2-40B4-BE49-F238E27FC236}">
                  <a16:creationId xmlns:a16="http://schemas.microsoft.com/office/drawing/2014/main" id="{C0F08BDC-DDF9-448B-BAAD-770DE3EF99BC}"/>
                </a:ext>
                <a:ext uri="{C183D7F6-B498-43B3-948B-1728B52AA6E4}">
                  <adec:decorative xmlns:adec="http://schemas.microsoft.com/office/drawing/2017/decorative" val="1"/>
                </a:ext>
              </a:extLst>
            </p:cNvPr>
            <p:cNvSpPr>
              <a:spLocks/>
            </p:cNvSpPr>
            <p:nvPr/>
          </p:nvSpPr>
          <p:spPr bwMode="auto">
            <a:xfrm flipH="1">
              <a:off x="10146109" y="4661135"/>
              <a:ext cx="550442" cy="31859"/>
            </a:xfrm>
            <a:custGeom>
              <a:avLst/>
              <a:gdLst>
                <a:gd name="T0" fmla="*/ 370 w 5308"/>
                <a:gd name="T1" fmla="*/ 0 h 307"/>
                <a:gd name="T2" fmla="*/ 341 w 5308"/>
                <a:gd name="T3" fmla="*/ 75 h 307"/>
                <a:gd name="T4" fmla="*/ 0 w 5308"/>
                <a:gd name="T5" fmla="*/ 307 h 307"/>
                <a:gd name="T6" fmla="*/ 5188 w 5308"/>
                <a:gd name="T7" fmla="*/ 307 h 307"/>
                <a:gd name="T8" fmla="*/ 5308 w 5308"/>
                <a:gd name="T9" fmla="*/ 0 h 307"/>
                <a:gd name="T10" fmla="*/ 370 w 5308"/>
                <a:gd name="T11" fmla="*/ 0 h 307"/>
              </a:gdLst>
              <a:ahLst/>
              <a:cxnLst>
                <a:cxn ang="0">
                  <a:pos x="T0" y="T1"/>
                </a:cxn>
                <a:cxn ang="0">
                  <a:pos x="T2" y="T3"/>
                </a:cxn>
                <a:cxn ang="0">
                  <a:pos x="T4" y="T5"/>
                </a:cxn>
                <a:cxn ang="0">
                  <a:pos x="T6" y="T7"/>
                </a:cxn>
                <a:cxn ang="0">
                  <a:pos x="T8" y="T9"/>
                </a:cxn>
                <a:cxn ang="0">
                  <a:pos x="T10" y="T11"/>
                </a:cxn>
              </a:cxnLst>
              <a:rect l="0" t="0" r="r" b="b"/>
              <a:pathLst>
                <a:path w="5308" h="307">
                  <a:moveTo>
                    <a:pt x="370" y="0"/>
                  </a:moveTo>
                  <a:cubicBezTo>
                    <a:pt x="341" y="75"/>
                    <a:pt x="341" y="75"/>
                    <a:pt x="341" y="75"/>
                  </a:cubicBezTo>
                  <a:cubicBezTo>
                    <a:pt x="286" y="215"/>
                    <a:pt x="151" y="307"/>
                    <a:pt x="0" y="307"/>
                  </a:cubicBezTo>
                  <a:cubicBezTo>
                    <a:pt x="5188" y="307"/>
                    <a:pt x="5188" y="307"/>
                    <a:pt x="5188" y="307"/>
                  </a:cubicBezTo>
                  <a:cubicBezTo>
                    <a:pt x="5308" y="0"/>
                    <a:pt x="5308" y="0"/>
                    <a:pt x="5308" y="0"/>
                  </a:cubicBezTo>
                  <a:lnTo>
                    <a:pt x="37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82" name="Freeform 776">
              <a:extLst>
                <a:ext uri="{FF2B5EF4-FFF2-40B4-BE49-F238E27FC236}">
                  <a16:creationId xmlns:a16="http://schemas.microsoft.com/office/drawing/2014/main" id="{CADB07C1-B4A8-40BD-8E31-2E0103DEC71F}"/>
                </a:ext>
                <a:ext uri="{C183D7F6-B498-43B3-948B-1728B52AA6E4}">
                  <adec:decorative xmlns:adec="http://schemas.microsoft.com/office/drawing/2017/decorative" val="1"/>
                </a:ext>
              </a:extLst>
            </p:cNvPr>
            <p:cNvSpPr>
              <a:spLocks/>
            </p:cNvSpPr>
            <p:nvPr/>
          </p:nvSpPr>
          <p:spPr bwMode="auto">
            <a:xfrm flipH="1">
              <a:off x="10044340" y="4390337"/>
              <a:ext cx="609734" cy="260178"/>
            </a:xfrm>
            <a:custGeom>
              <a:avLst/>
              <a:gdLst>
                <a:gd name="T0" fmla="*/ 5719 w 5878"/>
                <a:gd name="T1" fmla="*/ 0 h 2511"/>
                <a:gd name="T2" fmla="*/ 1216 w 5878"/>
                <a:gd name="T3" fmla="*/ 0 h 2511"/>
                <a:gd name="T4" fmla="*/ 889 w 5878"/>
                <a:gd name="T5" fmla="*/ 224 h 2511"/>
                <a:gd name="T6" fmla="*/ 0 w 5878"/>
                <a:gd name="T7" fmla="*/ 2511 h 2511"/>
                <a:gd name="T8" fmla="*/ 4938 w 5878"/>
                <a:gd name="T9" fmla="*/ 2511 h 2511"/>
                <a:gd name="T10" fmla="*/ 5844 w 5878"/>
                <a:gd name="T11" fmla="*/ 183 h 2511"/>
                <a:gd name="T12" fmla="*/ 5719 w 5878"/>
                <a:gd name="T13" fmla="*/ 0 h 2511"/>
              </a:gdLst>
              <a:ahLst/>
              <a:cxnLst>
                <a:cxn ang="0">
                  <a:pos x="T0" y="T1"/>
                </a:cxn>
                <a:cxn ang="0">
                  <a:pos x="T2" y="T3"/>
                </a:cxn>
                <a:cxn ang="0">
                  <a:pos x="T4" y="T5"/>
                </a:cxn>
                <a:cxn ang="0">
                  <a:pos x="T6" y="T7"/>
                </a:cxn>
                <a:cxn ang="0">
                  <a:pos x="T8" y="T9"/>
                </a:cxn>
                <a:cxn ang="0">
                  <a:pos x="T10" y="T11"/>
                </a:cxn>
                <a:cxn ang="0">
                  <a:pos x="T12" y="T13"/>
                </a:cxn>
              </a:cxnLst>
              <a:rect l="0" t="0" r="r" b="b"/>
              <a:pathLst>
                <a:path w="5878" h="2511">
                  <a:moveTo>
                    <a:pt x="5719" y="0"/>
                  </a:moveTo>
                  <a:cubicBezTo>
                    <a:pt x="1216" y="0"/>
                    <a:pt x="1216" y="0"/>
                    <a:pt x="1216" y="0"/>
                  </a:cubicBezTo>
                  <a:cubicBezTo>
                    <a:pt x="1071" y="0"/>
                    <a:pt x="942" y="89"/>
                    <a:pt x="889" y="224"/>
                  </a:cubicBezTo>
                  <a:cubicBezTo>
                    <a:pt x="0" y="2511"/>
                    <a:pt x="0" y="2511"/>
                    <a:pt x="0" y="2511"/>
                  </a:cubicBezTo>
                  <a:cubicBezTo>
                    <a:pt x="4938" y="2511"/>
                    <a:pt x="4938" y="2511"/>
                    <a:pt x="4938" y="2511"/>
                  </a:cubicBezTo>
                  <a:cubicBezTo>
                    <a:pt x="5844" y="183"/>
                    <a:pt x="5844" y="183"/>
                    <a:pt x="5844" y="183"/>
                  </a:cubicBezTo>
                  <a:cubicBezTo>
                    <a:pt x="5878" y="95"/>
                    <a:pt x="5813" y="0"/>
                    <a:pt x="5719"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83" name="Freeform 777">
              <a:extLst>
                <a:ext uri="{FF2B5EF4-FFF2-40B4-BE49-F238E27FC236}">
                  <a16:creationId xmlns:a16="http://schemas.microsoft.com/office/drawing/2014/main" id="{4B013E2E-0DF8-4A7E-BAEA-4AEEEE15C9FA}"/>
                </a:ext>
                <a:ext uri="{C183D7F6-B498-43B3-948B-1728B52AA6E4}">
                  <adec:decorative xmlns:adec="http://schemas.microsoft.com/office/drawing/2017/decorative" val="1"/>
                </a:ext>
              </a:extLst>
            </p:cNvPr>
            <p:cNvSpPr>
              <a:spLocks/>
            </p:cNvSpPr>
            <p:nvPr/>
          </p:nvSpPr>
          <p:spPr bwMode="auto">
            <a:xfrm flipH="1">
              <a:off x="10331065" y="4510692"/>
              <a:ext cx="37611" cy="19912"/>
            </a:xfrm>
            <a:custGeom>
              <a:avLst/>
              <a:gdLst>
                <a:gd name="T0" fmla="*/ 67 w 85"/>
                <a:gd name="T1" fmla="*/ 45 h 45"/>
                <a:gd name="T2" fmla="*/ 85 w 85"/>
                <a:gd name="T3" fmla="*/ 0 h 45"/>
                <a:gd name="T4" fmla="*/ 18 w 85"/>
                <a:gd name="T5" fmla="*/ 0 h 45"/>
                <a:gd name="T6" fmla="*/ 0 w 85"/>
                <a:gd name="T7" fmla="*/ 45 h 45"/>
                <a:gd name="T8" fmla="*/ 67 w 85"/>
                <a:gd name="T9" fmla="*/ 45 h 45"/>
              </a:gdLst>
              <a:ahLst/>
              <a:cxnLst>
                <a:cxn ang="0">
                  <a:pos x="T0" y="T1"/>
                </a:cxn>
                <a:cxn ang="0">
                  <a:pos x="T2" y="T3"/>
                </a:cxn>
                <a:cxn ang="0">
                  <a:pos x="T4" y="T5"/>
                </a:cxn>
                <a:cxn ang="0">
                  <a:pos x="T6" y="T7"/>
                </a:cxn>
                <a:cxn ang="0">
                  <a:pos x="T8" y="T9"/>
                </a:cxn>
              </a:cxnLst>
              <a:rect l="0" t="0" r="r" b="b"/>
              <a:pathLst>
                <a:path w="85" h="45">
                  <a:moveTo>
                    <a:pt x="67" y="45"/>
                  </a:moveTo>
                  <a:lnTo>
                    <a:pt x="85" y="0"/>
                  </a:lnTo>
                  <a:lnTo>
                    <a:pt x="18" y="0"/>
                  </a:lnTo>
                  <a:lnTo>
                    <a:pt x="0" y="45"/>
                  </a:lnTo>
                  <a:lnTo>
                    <a:pt x="67"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84" name="Freeform 778">
              <a:extLst>
                <a:ext uri="{FF2B5EF4-FFF2-40B4-BE49-F238E27FC236}">
                  <a16:creationId xmlns:a16="http://schemas.microsoft.com/office/drawing/2014/main" id="{BF9AA7DE-F2D3-4814-B5BC-15EFF77A181F}"/>
                </a:ext>
                <a:ext uri="{C183D7F6-B498-43B3-948B-1728B52AA6E4}">
                  <adec:decorative xmlns:adec="http://schemas.microsoft.com/office/drawing/2017/decorative" val="1"/>
                </a:ext>
              </a:extLst>
            </p:cNvPr>
            <p:cNvSpPr>
              <a:spLocks/>
            </p:cNvSpPr>
            <p:nvPr/>
          </p:nvSpPr>
          <p:spPr bwMode="auto">
            <a:xfrm flipH="1">
              <a:off x="10296994" y="4510692"/>
              <a:ext cx="34513" cy="19912"/>
            </a:xfrm>
            <a:custGeom>
              <a:avLst/>
              <a:gdLst>
                <a:gd name="T0" fmla="*/ 0 w 78"/>
                <a:gd name="T1" fmla="*/ 45 h 45"/>
                <a:gd name="T2" fmla="*/ 60 w 78"/>
                <a:gd name="T3" fmla="*/ 45 h 45"/>
                <a:gd name="T4" fmla="*/ 78 w 78"/>
                <a:gd name="T5" fmla="*/ 0 h 45"/>
                <a:gd name="T6" fmla="*/ 18 w 78"/>
                <a:gd name="T7" fmla="*/ 0 h 45"/>
                <a:gd name="T8" fmla="*/ 0 w 78"/>
                <a:gd name="T9" fmla="*/ 45 h 45"/>
              </a:gdLst>
              <a:ahLst/>
              <a:cxnLst>
                <a:cxn ang="0">
                  <a:pos x="T0" y="T1"/>
                </a:cxn>
                <a:cxn ang="0">
                  <a:pos x="T2" y="T3"/>
                </a:cxn>
                <a:cxn ang="0">
                  <a:pos x="T4" y="T5"/>
                </a:cxn>
                <a:cxn ang="0">
                  <a:pos x="T6" y="T7"/>
                </a:cxn>
                <a:cxn ang="0">
                  <a:pos x="T8" y="T9"/>
                </a:cxn>
              </a:cxnLst>
              <a:rect l="0" t="0" r="r" b="b"/>
              <a:pathLst>
                <a:path w="78" h="45">
                  <a:moveTo>
                    <a:pt x="0" y="45"/>
                  </a:moveTo>
                  <a:lnTo>
                    <a:pt x="60" y="45"/>
                  </a:lnTo>
                  <a:lnTo>
                    <a:pt x="78" y="0"/>
                  </a:lnTo>
                  <a:lnTo>
                    <a:pt x="18" y="0"/>
                  </a:ln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85" name="Freeform 779">
              <a:extLst>
                <a:ext uri="{FF2B5EF4-FFF2-40B4-BE49-F238E27FC236}">
                  <a16:creationId xmlns:a16="http://schemas.microsoft.com/office/drawing/2014/main" id="{0C476DC6-B4FD-4B69-80AD-0AE58A6B54A5}"/>
                </a:ext>
                <a:ext uri="{C183D7F6-B498-43B3-948B-1728B52AA6E4}">
                  <adec:decorative xmlns:adec="http://schemas.microsoft.com/office/drawing/2017/decorative" val="1"/>
                </a:ext>
              </a:extLst>
            </p:cNvPr>
            <p:cNvSpPr>
              <a:spLocks/>
            </p:cNvSpPr>
            <p:nvPr/>
          </p:nvSpPr>
          <p:spPr bwMode="auto">
            <a:xfrm flipH="1">
              <a:off x="10341684" y="4537240"/>
              <a:ext cx="37611" cy="19912"/>
            </a:xfrm>
            <a:custGeom>
              <a:avLst/>
              <a:gdLst>
                <a:gd name="T0" fmla="*/ 85 w 85"/>
                <a:gd name="T1" fmla="*/ 0 h 45"/>
                <a:gd name="T2" fmla="*/ 18 w 85"/>
                <a:gd name="T3" fmla="*/ 0 h 45"/>
                <a:gd name="T4" fmla="*/ 0 w 85"/>
                <a:gd name="T5" fmla="*/ 45 h 45"/>
                <a:gd name="T6" fmla="*/ 67 w 85"/>
                <a:gd name="T7" fmla="*/ 45 h 45"/>
                <a:gd name="T8" fmla="*/ 85 w 85"/>
                <a:gd name="T9" fmla="*/ 0 h 45"/>
              </a:gdLst>
              <a:ahLst/>
              <a:cxnLst>
                <a:cxn ang="0">
                  <a:pos x="T0" y="T1"/>
                </a:cxn>
                <a:cxn ang="0">
                  <a:pos x="T2" y="T3"/>
                </a:cxn>
                <a:cxn ang="0">
                  <a:pos x="T4" y="T5"/>
                </a:cxn>
                <a:cxn ang="0">
                  <a:pos x="T6" y="T7"/>
                </a:cxn>
                <a:cxn ang="0">
                  <a:pos x="T8" y="T9"/>
                </a:cxn>
              </a:cxnLst>
              <a:rect l="0" t="0" r="r" b="b"/>
              <a:pathLst>
                <a:path w="85" h="45">
                  <a:moveTo>
                    <a:pt x="85" y="0"/>
                  </a:moveTo>
                  <a:lnTo>
                    <a:pt x="18" y="0"/>
                  </a:lnTo>
                  <a:lnTo>
                    <a:pt x="0" y="45"/>
                  </a:lnTo>
                  <a:lnTo>
                    <a:pt x="67" y="45"/>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86" name="Freeform 780">
              <a:extLst>
                <a:ext uri="{FF2B5EF4-FFF2-40B4-BE49-F238E27FC236}">
                  <a16:creationId xmlns:a16="http://schemas.microsoft.com/office/drawing/2014/main" id="{A31B59F7-A1C3-4146-8EAF-FF3EA8222853}"/>
                </a:ext>
                <a:ext uri="{C183D7F6-B498-43B3-948B-1728B52AA6E4}">
                  <adec:decorative xmlns:adec="http://schemas.microsoft.com/office/drawing/2017/decorative" val="1"/>
                </a:ext>
              </a:extLst>
            </p:cNvPr>
            <p:cNvSpPr>
              <a:spLocks/>
            </p:cNvSpPr>
            <p:nvPr/>
          </p:nvSpPr>
          <p:spPr bwMode="auto">
            <a:xfrm flipH="1">
              <a:off x="10307614" y="4537240"/>
              <a:ext cx="34513" cy="19912"/>
            </a:xfrm>
            <a:custGeom>
              <a:avLst/>
              <a:gdLst>
                <a:gd name="T0" fmla="*/ 18 w 78"/>
                <a:gd name="T1" fmla="*/ 0 h 45"/>
                <a:gd name="T2" fmla="*/ 0 w 78"/>
                <a:gd name="T3" fmla="*/ 45 h 45"/>
                <a:gd name="T4" fmla="*/ 60 w 78"/>
                <a:gd name="T5" fmla="*/ 45 h 45"/>
                <a:gd name="T6" fmla="*/ 78 w 78"/>
                <a:gd name="T7" fmla="*/ 0 h 45"/>
                <a:gd name="T8" fmla="*/ 18 w 78"/>
                <a:gd name="T9" fmla="*/ 0 h 45"/>
              </a:gdLst>
              <a:ahLst/>
              <a:cxnLst>
                <a:cxn ang="0">
                  <a:pos x="T0" y="T1"/>
                </a:cxn>
                <a:cxn ang="0">
                  <a:pos x="T2" y="T3"/>
                </a:cxn>
                <a:cxn ang="0">
                  <a:pos x="T4" y="T5"/>
                </a:cxn>
                <a:cxn ang="0">
                  <a:pos x="T6" y="T7"/>
                </a:cxn>
                <a:cxn ang="0">
                  <a:pos x="T8" y="T9"/>
                </a:cxn>
              </a:cxnLst>
              <a:rect l="0" t="0" r="r" b="b"/>
              <a:pathLst>
                <a:path w="78" h="45">
                  <a:moveTo>
                    <a:pt x="18" y="0"/>
                  </a:moveTo>
                  <a:lnTo>
                    <a:pt x="0" y="45"/>
                  </a:lnTo>
                  <a:lnTo>
                    <a:pt x="60" y="45"/>
                  </a:lnTo>
                  <a:lnTo>
                    <a:pt x="78" y="0"/>
                  </a:lnTo>
                  <a:lnTo>
                    <a:pt x="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sp>
          <p:nvSpPr>
            <p:cNvPr id="87" name="Freeform 782">
              <a:extLst>
                <a:ext uri="{FF2B5EF4-FFF2-40B4-BE49-F238E27FC236}">
                  <a16:creationId xmlns:a16="http://schemas.microsoft.com/office/drawing/2014/main" id="{C78631D2-00D3-4737-AD35-7163FDB4AA9C}"/>
                </a:ext>
                <a:ext uri="{C183D7F6-B498-43B3-948B-1728B52AA6E4}">
                  <adec:decorative xmlns:adec="http://schemas.microsoft.com/office/drawing/2017/decorative" val="1"/>
                </a:ext>
              </a:extLst>
            </p:cNvPr>
            <p:cNvSpPr>
              <a:spLocks/>
            </p:cNvSpPr>
            <p:nvPr/>
          </p:nvSpPr>
          <p:spPr bwMode="auto">
            <a:xfrm flipH="1">
              <a:off x="11528852" y="4816445"/>
              <a:ext cx="85398" cy="82744"/>
            </a:xfrm>
            <a:custGeom>
              <a:avLst/>
              <a:gdLst>
                <a:gd name="T0" fmla="*/ 0 w 193"/>
                <a:gd name="T1" fmla="*/ 0 h 187"/>
                <a:gd name="T2" fmla="*/ 187 w 193"/>
                <a:gd name="T3" fmla="*/ 187 h 187"/>
                <a:gd name="T4" fmla="*/ 193 w 193"/>
                <a:gd name="T5" fmla="*/ 0 h 187"/>
                <a:gd name="T6" fmla="*/ 0 w 193"/>
                <a:gd name="T7" fmla="*/ 0 h 187"/>
              </a:gdLst>
              <a:ahLst/>
              <a:cxnLst>
                <a:cxn ang="0">
                  <a:pos x="T0" y="T1"/>
                </a:cxn>
                <a:cxn ang="0">
                  <a:pos x="T2" y="T3"/>
                </a:cxn>
                <a:cxn ang="0">
                  <a:pos x="T4" y="T5"/>
                </a:cxn>
                <a:cxn ang="0">
                  <a:pos x="T6" y="T7"/>
                </a:cxn>
              </a:cxnLst>
              <a:rect l="0" t="0" r="r" b="b"/>
              <a:pathLst>
                <a:path w="193" h="187">
                  <a:moveTo>
                    <a:pt x="0" y="0"/>
                  </a:moveTo>
                  <a:lnTo>
                    <a:pt x="187" y="187"/>
                  </a:lnTo>
                  <a:lnTo>
                    <a:pt x="193" y="0"/>
                  </a:ln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Semilight" panose="020B0402040204020203" pitchFamily="34" charset="0"/>
                <a:cs typeface="Segoe UI Semilight" panose="020B0402040204020203" pitchFamily="34" charset="0"/>
              </a:endParaRPr>
            </a:p>
          </p:txBody>
        </p:sp>
        <p:pic>
          <p:nvPicPr>
            <p:cNvPr id="88" name="Picture 87">
              <a:extLst>
                <a:ext uri="{FF2B5EF4-FFF2-40B4-BE49-F238E27FC236}">
                  <a16:creationId xmlns:a16="http://schemas.microsoft.com/office/drawing/2014/main" id="{56A9F68D-B76B-4416-8821-8BE593503DE3}"/>
                </a:ext>
                <a:ext uri="{C183D7F6-B498-43B3-948B-1728B52AA6E4}">
                  <adec:decorative xmlns:adec="http://schemas.microsoft.com/office/drawing/2017/decorative" val="1"/>
                </a:ext>
              </a:extLst>
            </p:cNvPr>
            <p:cNvPicPr>
              <a:picLocks noChangeAspect="1"/>
            </p:cNvPicPr>
            <p:nvPr/>
          </p:nvPicPr>
          <p:blipFill rotWithShape="1">
            <a:blip r:embed="rId2"/>
            <a:srcRect t="25294"/>
            <a:stretch/>
          </p:blipFill>
          <p:spPr>
            <a:xfrm flipH="1">
              <a:off x="9696048" y="3747171"/>
              <a:ext cx="1210304" cy="1610273"/>
            </a:xfrm>
            <a:prstGeom prst="rect">
              <a:avLst/>
            </a:prstGeom>
          </p:spPr>
        </p:pic>
        <p:sp>
          <p:nvSpPr>
            <p:cNvPr id="89" name="Freeform: Shape 88">
              <a:extLst>
                <a:ext uri="{FF2B5EF4-FFF2-40B4-BE49-F238E27FC236}">
                  <a16:creationId xmlns:a16="http://schemas.microsoft.com/office/drawing/2014/main" id="{49E3C986-8084-4487-887B-2B79E20D9DB9}"/>
                </a:ext>
                <a:ext uri="{C183D7F6-B498-43B3-948B-1728B52AA6E4}">
                  <adec:decorative xmlns:adec="http://schemas.microsoft.com/office/drawing/2017/decorative" val="1"/>
                </a:ext>
              </a:extLst>
            </p:cNvPr>
            <p:cNvSpPr/>
            <p:nvPr/>
          </p:nvSpPr>
          <p:spPr>
            <a:xfrm>
              <a:off x="8393828" y="2245476"/>
              <a:ext cx="1053387" cy="491581"/>
            </a:xfrm>
            <a:custGeom>
              <a:avLst/>
              <a:gdLst>
                <a:gd name="connsiteX0" fmla="*/ 559613 w 633046"/>
                <a:gd name="connsiteY0" fmla="*/ 162904 h 295421"/>
                <a:gd name="connsiteX1" fmla="*/ 525006 w 633046"/>
                <a:gd name="connsiteY1" fmla="*/ 170922 h 295421"/>
                <a:gd name="connsiteX2" fmla="*/ 525006 w 633046"/>
                <a:gd name="connsiteY2" fmla="*/ 162904 h 295421"/>
                <a:gd name="connsiteX3" fmla="*/ 362102 w 633046"/>
                <a:gd name="connsiteY3" fmla="*/ 0 h 295421"/>
                <a:gd name="connsiteX4" fmla="*/ 200042 w 633046"/>
                <a:gd name="connsiteY4" fmla="*/ 148133 h 295421"/>
                <a:gd name="connsiteX5" fmla="*/ 110994 w 633046"/>
                <a:gd name="connsiteY5" fmla="*/ 103398 h 295421"/>
                <a:gd name="connsiteX6" fmla="*/ 0 w 633046"/>
                <a:gd name="connsiteY6" fmla="*/ 214392 h 295421"/>
                <a:gd name="connsiteX7" fmla="*/ 110994 w 633046"/>
                <a:gd name="connsiteY7" fmla="*/ 325386 h 295421"/>
                <a:gd name="connsiteX8" fmla="*/ 559613 w 633046"/>
                <a:gd name="connsiteY8" fmla="*/ 325386 h 295421"/>
                <a:gd name="connsiteX9" fmla="*/ 641065 w 633046"/>
                <a:gd name="connsiteY9" fmla="*/ 243934 h 295421"/>
                <a:gd name="connsiteX10" fmla="*/ 559613 w 633046"/>
                <a:gd name="connsiteY10" fmla="*/ 162904 h 29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046" h="295421">
                  <a:moveTo>
                    <a:pt x="559613" y="162904"/>
                  </a:moveTo>
                  <a:cubicBezTo>
                    <a:pt x="547374" y="162904"/>
                    <a:pt x="535557" y="165858"/>
                    <a:pt x="525006" y="170922"/>
                  </a:cubicBezTo>
                  <a:cubicBezTo>
                    <a:pt x="525006" y="168390"/>
                    <a:pt x="525006" y="165858"/>
                    <a:pt x="525006" y="162904"/>
                  </a:cubicBezTo>
                  <a:cubicBezTo>
                    <a:pt x="525006" y="73011"/>
                    <a:pt x="451995" y="0"/>
                    <a:pt x="362102" y="0"/>
                  </a:cubicBezTo>
                  <a:cubicBezTo>
                    <a:pt x="276852" y="0"/>
                    <a:pt x="207217" y="65415"/>
                    <a:pt x="200042" y="148133"/>
                  </a:cubicBezTo>
                  <a:cubicBezTo>
                    <a:pt x="179785" y="121123"/>
                    <a:pt x="147289" y="103398"/>
                    <a:pt x="110994" y="103398"/>
                  </a:cubicBezTo>
                  <a:cubicBezTo>
                    <a:pt x="49800" y="103398"/>
                    <a:pt x="0" y="153197"/>
                    <a:pt x="0" y="214392"/>
                  </a:cubicBezTo>
                  <a:cubicBezTo>
                    <a:pt x="0" y="275586"/>
                    <a:pt x="49800" y="325386"/>
                    <a:pt x="110994" y="325386"/>
                  </a:cubicBezTo>
                  <a:lnTo>
                    <a:pt x="559613" y="325386"/>
                  </a:lnTo>
                  <a:cubicBezTo>
                    <a:pt x="604770" y="325386"/>
                    <a:pt x="641065" y="289091"/>
                    <a:pt x="641065" y="243934"/>
                  </a:cubicBezTo>
                  <a:cubicBezTo>
                    <a:pt x="641065" y="199621"/>
                    <a:pt x="604348" y="162904"/>
                    <a:pt x="559613" y="162904"/>
                  </a:cubicBezTo>
                </a:path>
              </a:pathLst>
            </a:custGeom>
            <a:solidFill>
              <a:schemeClr val="bg1"/>
            </a:solidFill>
            <a:ln w="42182"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92877382-2A55-474A-8C53-1D9467998B09}"/>
                </a:ext>
                <a:ext uri="{C183D7F6-B498-43B3-948B-1728B52AA6E4}">
                  <adec:decorative xmlns:adec="http://schemas.microsoft.com/office/drawing/2017/decorative" val="1"/>
                </a:ext>
              </a:extLst>
            </p:cNvPr>
            <p:cNvSpPr/>
            <p:nvPr/>
          </p:nvSpPr>
          <p:spPr>
            <a:xfrm>
              <a:off x="9526139" y="5617169"/>
              <a:ext cx="2286000" cy="38754"/>
            </a:xfrm>
            <a:custGeom>
              <a:avLst/>
              <a:gdLst>
                <a:gd name="connsiteX0" fmla="*/ 20156 w 3979225"/>
                <a:gd name="connsiteY0" fmla="*/ 0 h 40312"/>
                <a:gd name="connsiteX1" fmla="*/ 3959069 w 3979225"/>
                <a:gd name="connsiteY1" fmla="*/ 0 h 40312"/>
                <a:gd name="connsiteX2" fmla="*/ 3979225 w 3979225"/>
                <a:gd name="connsiteY2" fmla="*/ 20156 h 40312"/>
                <a:gd name="connsiteX3" fmla="*/ 3959069 w 3979225"/>
                <a:gd name="connsiteY3" fmla="*/ 40313 h 40312"/>
                <a:gd name="connsiteX4" fmla="*/ 20156 w 3979225"/>
                <a:gd name="connsiteY4" fmla="*/ 40313 h 40312"/>
                <a:gd name="connsiteX5" fmla="*/ 0 w 3979225"/>
                <a:gd name="connsiteY5" fmla="*/ 20156 h 40312"/>
                <a:gd name="connsiteX6" fmla="*/ 20156 w 3979225"/>
                <a:gd name="connsiteY6" fmla="*/ 0 h 4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225" h="40312">
                  <a:moveTo>
                    <a:pt x="20156" y="0"/>
                  </a:moveTo>
                  <a:lnTo>
                    <a:pt x="3959069" y="0"/>
                  </a:lnTo>
                  <a:cubicBezTo>
                    <a:pt x="3970319" y="0"/>
                    <a:pt x="3979225" y="8906"/>
                    <a:pt x="3979225" y="20156"/>
                  </a:cubicBezTo>
                  <a:cubicBezTo>
                    <a:pt x="3979225" y="31406"/>
                    <a:pt x="3970319" y="40313"/>
                    <a:pt x="3959069" y="40313"/>
                  </a:cubicBezTo>
                  <a:lnTo>
                    <a:pt x="20156" y="40313"/>
                  </a:lnTo>
                  <a:cubicBezTo>
                    <a:pt x="8906" y="40313"/>
                    <a:pt x="0" y="31406"/>
                    <a:pt x="0" y="20156"/>
                  </a:cubicBezTo>
                  <a:cubicBezTo>
                    <a:pt x="0" y="9375"/>
                    <a:pt x="8906" y="0"/>
                    <a:pt x="20156" y="0"/>
                  </a:cubicBezTo>
                </a:path>
              </a:pathLst>
            </a:custGeom>
            <a:solidFill>
              <a:srgbClr val="D2D2D2"/>
            </a:solidFill>
            <a:ln w="46819" cap="flat">
              <a:noFill/>
              <a:prstDash val="solid"/>
              <a:miter/>
            </a:ln>
          </p:spPr>
          <p:txBody>
            <a:bodyPr rtlCol="0" anchor="ctr"/>
            <a:lstStyle/>
            <a:p>
              <a:endParaRPr lang="en-US"/>
            </a:p>
          </p:txBody>
        </p:sp>
      </p:grpSp>
    </p:spTree>
    <p:extLst>
      <p:ext uri="{BB962C8B-B14F-4D97-AF65-F5344CB8AC3E}">
        <p14:creationId xmlns:p14="http://schemas.microsoft.com/office/powerpoint/2010/main" val="219760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descr="Subtitle slide with Microsoft Logo and decorative design">
            <a:extLst>
              <a:ext uri="{FF2B5EF4-FFF2-40B4-BE49-F238E27FC236}">
                <a16:creationId xmlns:a16="http://schemas.microsoft.com/office/drawing/2014/main" id="{4A5B93D8-A8C6-4CDE-9E07-180DA19F25E3}"/>
              </a:ext>
            </a:extLst>
          </p:cNvPr>
          <p:cNvSpPr>
            <a:spLocks noGrp="1"/>
          </p:cNvSpPr>
          <p:nvPr>
            <p:ph type="title"/>
          </p:nvPr>
        </p:nvSpPr>
        <p:spPr>
          <a:prstGeom prst="rect">
            <a:avLst/>
          </a:prstGeom>
          <a:noFill/>
          <a:ln>
            <a:noFill/>
            <a:prstDash/>
          </a:ln>
          <a:effectLst/>
        </p:spPr>
        <p:txBody>
          <a:bodyPr rot="0" spcFirstLastPara="0" vertOverflow="overflow" horzOverflow="overflow" vert="horz" wrap="square" lIns="0" tIns="91440" rIns="146304" bIns="91440" numCol="1" spcCol="0" rtlCol="0" fromWordArt="0" anchor="t" anchorCtr="0" forceAA="0" compatLnSpc="1">
            <a:prstTxWarp prst="textNoShape">
              <a:avLst/>
            </a:prstTxWarp>
            <a:spAutoFit/>
          </a:bodyPr>
          <a:lstStyle/>
          <a:p>
            <a:pPr marL="0" marR="0" lvl="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spc="0" dirty="0">
                <a:ln>
                  <a:noFill/>
                </a:ln>
                <a:solidFill>
                  <a:schemeClr val="tx1"/>
                </a:solidFill>
                <a:latin typeface="+mj-lt"/>
              </a:rPr>
              <a:t>R</a:t>
            </a:r>
            <a:r>
              <a:rPr kumimoji="0" lang="en-US" sz="4896" b="0" i="0" u="none" strike="noStrike" kern="1200" cap="none" spc="0" normalizeH="0" baseline="0" noProof="0" dirty="0" err="1">
                <a:ln>
                  <a:noFill/>
                </a:ln>
                <a:solidFill>
                  <a:schemeClr val="tx1"/>
                </a:solidFill>
                <a:effectLst/>
                <a:uLnTx/>
                <a:uFillTx/>
                <a:latin typeface="+mj-lt"/>
                <a:ea typeface="+mn-ea"/>
                <a:cs typeface="Segoe UI" panose="020B0502040204020203" pitchFamily="34" charset="0"/>
              </a:rPr>
              <a:t>esources</a:t>
            </a:r>
            <a:endParaRPr kumimoji="0" lang="en-US" sz="4896" b="0" i="0" u="none" strike="noStrike" kern="1200" cap="none" spc="0" normalizeH="0" baseline="0" noProof="0" dirty="0">
              <a:ln>
                <a:noFill/>
              </a:ln>
              <a:solidFill>
                <a:schemeClr val="tx1"/>
              </a:solidFill>
              <a:effectLst/>
              <a:uLnTx/>
              <a:uFillTx/>
              <a:latin typeface="+mj-lt"/>
              <a:ea typeface="+mn-ea"/>
              <a:cs typeface="Segoe UI" panose="020B0502040204020203" pitchFamily="34" charset="0"/>
            </a:endParaRPr>
          </a:p>
        </p:txBody>
      </p:sp>
    </p:spTree>
    <p:extLst>
      <p:ext uri="{BB962C8B-B14F-4D97-AF65-F5344CB8AC3E}">
        <p14:creationId xmlns:p14="http://schemas.microsoft.com/office/powerpoint/2010/main" val="247584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4A2C5-48DE-47FF-913A-BD2A653AA3FC}"/>
              </a:ext>
            </a:extLst>
          </p:cNvPr>
          <p:cNvSpPr>
            <a:spLocks noGrp="1"/>
          </p:cNvSpPr>
          <p:nvPr>
            <p:ph type="title"/>
          </p:nvPr>
        </p:nvSpPr>
        <p:spPr/>
        <p:txBody>
          <a:bodyPr/>
          <a:lstStyle/>
          <a:p>
            <a:r>
              <a:rPr lang="en-US" dirty="0">
                <a:solidFill>
                  <a:srgbClr val="002060"/>
                </a:solidFill>
              </a:rPr>
              <a:t>Get ready!</a:t>
            </a:r>
          </a:p>
        </p:txBody>
      </p:sp>
      <p:grpSp>
        <p:nvGrpSpPr>
          <p:cNvPr id="5" name="Group 4">
            <a:extLst>
              <a:ext uri="{FF2B5EF4-FFF2-40B4-BE49-F238E27FC236}">
                <a16:creationId xmlns:a16="http://schemas.microsoft.com/office/drawing/2014/main" id="{C5CE1D75-CA9B-46F0-8391-DF84F342F0D2}"/>
              </a:ext>
              <a:ext uri="{C183D7F6-B498-43B3-948B-1728B52AA6E4}">
                <adec:decorative xmlns:adec="http://schemas.microsoft.com/office/drawing/2017/decorative" val="1"/>
              </a:ext>
            </a:extLst>
          </p:cNvPr>
          <p:cNvGrpSpPr/>
          <p:nvPr/>
        </p:nvGrpSpPr>
        <p:grpSpPr>
          <a:xfrm>
            <a:off x="10986843" y="4065562"/>
            <a:ext cx="1447870" cy="2941982"/>
            <a:chOff x="10752275" y="3973033"/>
            <a:chExt cx="1419811" cy="2884967"/>
          </a:xfrm>
        </p:grpSpPr>
        <p:pic>
          <p:nvPicPr>
            <p:cNvPr id="6" name="Graphic 5">
              <a:extLst>
                <a:ext uri="{FF2B5EF4-FFF2-40B4-BE49-F238E27FC236}">
                  <a16:creationId xmlns:a16="http://schemas.microsoft.com/office/drawing/2014/main" id="{A743CF1B-724C-4D2B-95D3-2F9C360C1AB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14928" t="24838" r="73426" b="33095"/>
            <a:stretch/>
          </p:blipFill>
          <p:spPr>
            <a:xfrm>
              <a:off x="10752275" y="3973033"/>
              <a:ext cx="1419811" cy="2884967"/>
            </a:xfrm>
            <a:prstGeom prst="rect">
              <a:avLst/>
            </a:prstGeom>
          </p:spPr>
        </p:pic>
        <p:sp>
          <p:nvSpPr>
            <p:cNvPr id="7" name="Oval 6">
              <a:extLst>
                <a:ext uri="{FF2B5EF4-FFF2-40B4-BE49-F238E27FC236}">
                  <a16:creationId xmlns:a16="http://schemas.microsoft.com/office/drawing/2014/main" id="{B976513D-B9E8-4D59-AAF0-E0F6ADF683AB}"/>
                </a:ext>
                <a:ext uri="{C183D7F6-B498-43B3-948B-1728B52AA6E4}">
                  <adec:decorative xmlns:adec="http://schemas.microsoft.com/office/drawing/2017/decorative" val="1"/>
                </a:ext>
              </a:extLst>
            </p:cNvPr>
            <p:cNvSpPr/>
            <p:nvPr/>
          </p:nvSpPr>
          <p:spPr bwMode="auto">
            <a:xfrm>
              <a:off x="11412581" y="6556913"/>
              <a:ext cx="121291" cy="121291"/>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BAE82ACC-6769-4709-9965-E1A96588EA4D}"/>
              </a:ext>
            </a:extLst>
          </p:cNvPr>
          <p:cNvSpPr/>
          <p:nvPr/>
        </p:nvSpPr>
        <p:spPr bwMode="auto">
          <a:xfrm>
            <a:off x="475366" y="1130408"/>
            <a:ext cx="2969448" cy="749485"/>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1" forceAA="0" compatLnSpc="1">
            <a:prstTxWarp prst="textNoShape">
              <a:avLst/>
            </a:prstTxWarp>
            <a:noAutofit/>
          </a:bodyPr>
          <a:lstStyle/>
          <a:p>
            <a:pPr marL="0" marR="0" lvl="0" indent="0" algn="l" defTabSz="498584" rtl="0" eaLnBrk="1" fontAlgn="auto" latinLnBrk="0" hangingPunct="1">
              <a:lnSpc>
                <a:spcPct val="100000"/>
              </a:lnSpc>
              <a:spcBef>
                <a:spcPct val="0"/>
              </a:spcBef>
              <a:spcAft>
                <a:spcPts val="306"/>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Start learning</a:t>
            </a:r>
          </a:p>
        </p:txBody>
      </p:sp>
      <p:sp>
        <p:nvSpPr>
          <p:cNvPr id="13" name="Rectangle 12">
            <a:extLst>
              <a:ext uri="{FF2B5EF4-FFF2-40B4-BE49-F238E27FC236}">
                <a16:creationId xmlns:a16="http://schemas.microsoft.com/office/drawing/2014/main" id="{7576344B-E3D7-406D-B9CF-4DF7B1BA1B06}"/>
              </a:ext>
            </a:extLst>
          </p:cNvPr>
          <p:cNvSpPr/>
          <p:nvPr/>
        </p:nvSpPr>
        <p:spPr bwMode="auto">
          <a:xfrm>
            <a:off x="475366" y="1882587"/>
            <a:ext cx="2969449" cy="21829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285750" indent="-285750" defTabSz="932472" fontAlgn="base">
              <a:spcBef>
                <a:spcPct val="0"/>
              </a:spcBef>
              <a:spcAft>
                <a:spcPts val="600"/>
              </a:spcAft>
              <a:buFont typeface="Arial" panose="020B0604020202020204" pitchFamily="34" charset="0"/>
              <a:buChar char="•"/>
            </a:pPr>
            <a:r>
              <a:rPr kumimoji="0" lang="en-US" sz="1600" b="0" i="0" u="none" strike="noStrike" kern="1200" cap="none" spc="0" normalizeH="0" baseline="0" noProof="0" dirty="0">
                <a:ln>
                  <a:noFill/>
                </a:ln>
                <a:solidFill>
                  <a:srgbClr val="1A1A1A"/>
                </a:solidFill>
                <a:effectLst/>
                <a:uLnTx/>
                <a:uFillTx/>
                <a:latin typeface="Segoe UI"/>
                <a:ea typeface="+mn-ea"/>
                <a:cs typeface="Segoe UI"/>
              </a:rPr>
              <a:t>Complete Azure Fundamentals </a:t>
            </a:r>
            <a:r>
              <a:rPr kumimoji="0" lang="en-US" sz="1600" b="1" i="0" u="none" strike="noStrike" kern="1200" cap="none" spc="0" normalizeH="0" baseline="0" noProof="0" dirty="0">
                <a:ln>
                  <a:noFill/>
                </a:ln>
                <a:solidFill>
                  <a:srgbClr val="1A1A1A"/>
                </a:solidFill>
                <a:effectLst/>
                <a:uLnTx/>
                <a:uFillTx/>
                <a:latin typeface="Segoe UI"/>
                <a:ea typeface="+mn-ea"/>
                <a:cs typeface="Segoe UI"/>
              </a:rPr>
              <a:t>self-paced learning</a:t>
            </a:r>
            <a:r>
              <a:rPr kumimoji="0" lang="en-US" sz="1600" b="0" i="0" u="none" strike="noStrike" kern="1200" cap="none" spc="0" normalizeH="0" baseline="0" noProof="0" dirty="0">
                <a:ln>
                  <a:noFill/>
                </a:ln>
                <a:solidFill>
                  <a:srgbClr val="1A1A1A"/>
                </a:solidFill>
                <a:effectLst/>
                <a:uLnTx/>
                <a:uFillTx/>
                <a:latin typeface="Segoe UI"/>
                <a:ea typeface="+mn-ea"/>
                <a:cs typeface="Segoe UI"/>
              </a:rPr>
              <a:t> on </a:t>
            </a:r>
            <a:r>
              <a:rPr lang="en-US" sz="1600" dirty="0">
                <a:solidFill>
                  <a:srgbClr val="1A1A1A"/>
                </a:solidFill>
                <a:latin typeface="Segoe UI"/>
                <a:cs typeface="Segoe UI"/>
              </a:rPr>
              <a:t>Microsoft Learn</a:t>
            </a:r>
          </a:p>
          <a:p>
            <a:pPr marL="285750" indent="-285750" defTabSz="932472" fontAlgn="base">
              <a:spcBef>
                <a:spcPct val="0"/>
              </a:spcBef>
              <a:spcAft>
                <a:spcPts val="600"/>
              </a:spcAft>
              <a:buFont typeface="Arial" panose="020B0604020202020204" pitchFamily="34" charset="0"/>
              <a:buChar char="•"/>
            </a:pPr>
            <a:r>
              <a:rPr lang="en-US" sz="1600" dirty="0">
                <a:solidFill>
                  <a:srgbClr val="1A1A1A"/>
                </a:solidFill>
                <a:latin typeface="Segoe UI"/>
                <a:cs typeface="Segoe UI"/>
              </a:rPr>
              <a:t>Attend a Microsoft Virtual Training Day: </a:t>
            </a:r>
            <a:r>
              <a:rPr lang="en-US" sz="1600" dirty="0">
                <a:solidFill>
                  <a:srgbClr val="1A1A1A"/>
                </a:solidFill>
                <a:latin typeface="Segoe UI"/>
                <a:cs typeface="Segoe UI"/>
                <a:hlinkClick r:id="rId5"/>
              </a:rPr>
              <a:t>events.Microsoft.com</a:t>
            </a:r>
            <a:r>
              <a:rPr lang="en-US" sz="1600" dirty="0">
                <a:solidFill>
                  <a:srgbClr val="1A1A1A"/>
                </a:solidFill>
                <a:latin typeface="Segoe UI"/>
                <a:cs typeface="Segoe UI"/>
              </a:rPr>
              <a:t> </a:t>
            </a:r>
          </a:p>
        </p:txBody>
      </p:sp>
      <p:sp>
        <p:nvSpPr>
          <p:cNvPr id="17" name="Arrow: Chevron 16" descr="Arrow pointing  forward">
            <a:extLst>
              <a:ext uri="{FF2B5EF4-FFF2-40B4-BE49-F238E27FC236}">
                <a16:creationId xmlns:a16="http://schemas.microsoft.com/office/drawing/2014/main" id="{30B782F0-E3A3-4EEF-9003-E9FD519564C6}"/>
              </a:ext>
            </a:extLst>
          </p:cNvPr>
          <p:cNvSpPr/>
          <p:nvPr/>
        </p:nvSpPr>
        <p:spPr bwMode="auto">
          <a:xfrm>
            <a:off x="3902901" y="1305724"/>
            <a:ext cx="272231" cy="454520"/>
          </a:xfrm>
          <a:prstGeom prst="chevron">
            <a:avLst>
              <a:gd name="adj" fmla="val 63647"/>
            </a:avLst>
          </a:prstGeom>
          <a:solidFill>
            <a:srgbClr val="1A1A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1E35B3B-DFD1-46D7-8F14-3D38792F2C98}"/>
              </a:ext>
            </a:extLst>
          </p:cNvPr>
          <p:cNvSpPr/>
          <p:nvPr/>
        </p:nvSpPr>
        <p:spPr bwMode="auto">
          <a:xfrm>
            <a:off x="4633220" y="1130408"/>
            <a:ext cx="2971800" cy="74948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1" forceAA="0" compatLnSpc="1">
            <a:prstTxWarp prst="textNoShape">
              <a:avLst/>
            </a:prstTxWarp>
            <a:noAutofit/>
          </a:bodyPr>
          <a:lstStyle/>
          <a:p>
            <a:pPr marL="0" marR="0" lvl="0" indent="0" algn="l" defTabSz="498584" rtl="0" eaLnBrk="1" fontAlgn="auto" latinLnBrk="0" hangingPunct="1">
              <a:lnSpc>
                <a:spcPct val="100000"/>
              </a:lnSpc>
              <a:spcBef>
                <a:spcPct val="0"/>
              </a:spcBef>
              <a:spcAft>
                <a:spcPts val="306"/>
              </a:spcAft>
              <a:buClrTx/>
              <a:buSzTx/>
              <a:buFontTx/>
              <a:buNone/>
              <a:tabLst/>
              <a:defRPr/>
            </a:pPr>
            <a:r>
              <a:rPr lang="en-US" sz="2000" dirty="0">
                <a:solidFill>
                  <a:srgbClr val="FFFFFF"/>
                </a:solidFill>
                <a:latin typeface="Segoe UI Semibold" panose="020B0702040204020203" pitchFamily="34" charset="0"/>
                <a:cs typeface="Segoe UI Semibold" panose="020B0702040204020203" pitchFamily="34" charset="0"/>
              </a:rPr>
              <a:t>Practice exam</a:t>
            </a:r>
          </a:p>
        </p:txBody>
      </p:sp>
      <p:sp>
        <p:nvSpPr>
          <p:cNvPr id="19" name="Rectangle 18">
            <a:extLst>
              <a:ext uri="{FF2B5EF4-FFF2-40B4-BE49-F238E27FC236}">
                <a16:creationId xmlns:a16="http://schemas.microsoft.com/office/drawing/2014/main" id="{A7FD3839-FDA9-48D9-A4A5-6A5335CE496B}"/>
              </a:ext>
            </a:extLst>
          </p:cNvPr>
          <p:cNvSpPr/>
          <p:nvPr/>
        </p:nvSpPr>
        <p:spPr bwMode="auto">
          <a:xfrm>
            <a:off x="4636450" y="1879892"/>
            <a:ext cx="2968570" cy="10020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285750" indent="-285750" defTabSz="932472" fontAlgn="base">
              <a:spcBef>
                <a:spcPct val="0"/>
              </a:spcBef>
              <a:spcAft>
                <a:spcPts val="600"/>
              </a:spcAft>
              <a:buFont typeface="Arial" panose="020B0604020202020204" pitchFamily="34" charset="0"/>
              <a:buChar char="•"/>
            </a:pPr>
            <a:r>
              <a:rPr lang="en-US" sz="1600" dirty="0">
                <a:solidFill>
                  <a:srgbClr val="002060"/>
                </a:solidFill>
                <a:ea typeface="Segoe UI" pitchFamily="34" charset="0"/>
                <a:cs typeface="Segoe UI"/>
              </a:rPr>
              <a:t>Free or discounted practice exams are available to Educators </a:t>
            </a:r>
          </a:p>
        </p:txBody>
      </p:sp>
      <p:sp>
        <p:nvSpPr>
          <p:cNvPr id="20" name="Arrow: Chevron 19" descr="Arrow pointing  forward">
            <a:extLst>
              <a:ext uri="{FF2B5EF4-FFF2-40B4-BE49-F238E27FC236}">
                <a16:creationId xmlns:a16="http://schemas.microsoft.com/office/drawing/2014/main" id="{D33ED012-E4D5-4D5A-AA98-F766378011D8}"/>
              </a:ext>
            </a:extLst>
          </p:cNvPr>
          <p:cNvSpPr/>
          <p:nvPr/>
        </p:nvSpPr>
        <p:spPr bwMode="auto">
          <a:xfrm>
            <a:off x="8059878" y="1234670"/>
            <a:ext cx="272231" cy="454520"/>
          </a:xfrm>
          <a:prstGeom prst="chevron">
            <a:avLst>
              <a:gd name="adj" fmla="val 63647"/>
            </a:avLst>
          </a:prstGeom>
          <a:solidFill>
            <a:srgbClr val="1A1A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9D937520-C6F2-4D4D-8F11-BBC5A738CE63}"/>
              </a:ext>
            </a:extLst>
          </p:cNvPr>
          <p:cNvSpPr/>
          <p:nvPr/>
        </p:nvSpPr>
        <p:spPr bwMode="auto">
          <a:xfrm>
            <a:off x="8786968" y="1135843"/>
            <a:ext cx="2971800" cy="74948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1" forceAA="0" compatLnSpc="1">
            <a:prstTxWarp prst="textNoShape">
              <a:avLst/>
            </a:prstTxWarp>
            <a:noAutofit/>
          </a:bodyPr>
          <a:lstStyle/>
          <a:p>
            <a:pPr marL="0" marR="0" lvl="0" indent="0" algn="l" defTabSz="498584" rtl="0" eaLnBrk="1" fontAlgn="auto" latinLnBrk="0" hangingPunct="1">
              <a:lnSpc>
                <a:spcPct val="100000"/>
              </a:lnSpc>
              <a:spcBef>
                <a:spcPct val="0"/>
              </a:spcBef>
              <a:spcAft>
                <a:spcPts val="306"/>
              </a:spcAft>
              <a:buClrTx/>
              <a:buSzTx/>
              <a:buFontTx/>
              <a:buNone/>
              <a:tabLst/>
              <a:defRPr/>
            </a:pPr>
            <a:r>
              <a:rPr lang="en-US" sz="2000" dirty="0">
                <a:solidFill>
                  <a:srgbClr val="FFFFFF"/>
                </a:solidFill>
                <a:latin typeface="Segoe UI Semibold" panose="020B0702040204020203" pitchFamily="34" charset="0"/>
                <a:cs typeface="Segoe UI Semibold" panose="020B0702040204020203" pitchFamily="34" charset="0"/>
              </a:rPr>
              <a:t>Certification exam</a:t>
            </a:r>
          </a:p>
        </p:txBody>
      </p:sp>
      <p:sp>
        <p:nvSpPr>
          <p:cNvPr id="30" name="TextBox 29">
            <a:extLst>
              <a:ext uri="{FF2B5EF4-FFF2-40B4-BE49-F238E27FC236}">
                <a16:creationId xmlns:a16="http://schemas.microsoft.com/office/drawing/2014/main" id="{786864CA-4B26-409E-B997-B9D5C17C4FA9}"/>
              </a:ext>
            </a:extLst>
          </p:cNvPr>
          <p:cNvSpPr txBox="1"/>
          <p:nvPr/>
        </p:nvSpPr>
        <p:spPr>
          <a:xfrm>
            <a:off x="8786968" y="1885075"/>
            <a:ext cx="2968571" cy="787908"/>
          </a:xfrm>
          <a:prstGeom prst="rect">
            <a:avLst/>
          </a:prstGeom>
          <a:solidFill>
            <a:schemeClr val="bg1"/>
          </a:solidFill>
        </p:spPr>
        <p:txBody>
          <a:bodyPr wrap="square" lIns="91440" tIns="146304" rIns="91440" bIns="146304" rtlCol="0">
            <a:spAutoFit/>
          </a:bodyPr>
          <a:lstStyle/>
          <a:p>
            <a:pPr marL="285750" indent="-285750" defTabSz="951028" fontAlgn="base">
              <a:spcBef>
                <a:spcPct val="0"/>
              </a:spcBef>
              <a:spcAft>
                <a:spcPts val="600"/>
              </a:spcAft>
              <a:buFont typeface="Arial" panose="020B0604020202020204" pitchFamily="34" charset="0"/>
              <a:buChar char="•"/>
            </a:pPr>
            <a:r>
              <a:rPr lang="en-US" sz="1600" dirty="0">
                <a:solidFill>
                  <a:srgbClr val="000000"/>
                </a:solidFill>
              </a:rPr>
              <a:t>Exam </a:t>
            </a:r>
            <a:r>
              <a:rPr lang="en-US" sz="1600" b="0" i="0" dirty="0">
                <a:solidFill>
                  <a:srgbClr val="000000"/>
                </a:solidFill>
                <a:effectLst/>
              </a:rPr>
              <a:t>vouchers are available to Educators  </a:t>
            </a:r>
          </a:p>
        </p:txBody>
      </p:sp>
    </p:spTree>
    <p:extLst>
      <p:ext uri="{BB962C8B-B14F-4D97-AF65-F5344CB8AC3E}">
        <p14:creationId xmlns:p14="http://schemas.microsoft.com/office/powerpoint/2010/main" val="227545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3.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08.potx" id="{9689FEF3-BE5F-4CE8-BE5E-E55A806F9CD8}" vid="{509A57C2-1BE7-4A39-9AFA-408763EFA8B9}"/>
    </a:ext>
  </a:extLst>
</a:theme>
</file>

<file path=ppt/theme/theme4.xml><?xml version="1.0" encoding="utf-8"?>
<a:theme xmlns:a="http://schemas.openxmlformats.org/drawingml/2006/main" name="Theme2">
  <a:themeElements>
    <a:clrScheme name="Paradoxes_1">
      <a:dk1>
        <a:srgbClr val="231F20"/>
      </a:dk1>
      <a:lt1>
        <a:sysClr val="window" lastClr="FFFFFF"/>
      </a:lt1>
      <a:dk2>
        <a:srgbClr val="231F20"/>
      </a:dk2>
      <a:lt2>
        <a:srgbClr val="F2F2F2"/>
      </a:lt2>
      <a:accent1>
        <a:srgbClr val="691417"/>
      </a:accent1>
      <a:accent2>
        <a:srgbClr val="E3A404"/>
      </a:accent2>
      <a:accent3>
        <a:srgbClr val="4D7181"/>
      </a:accent3>
      <a:accent4>
        <a:srgbClr val="918881"/>
      </a:accent4>
      <a:accent5>
        <a:srgbClr val="55662F"/>
      </a:accent5>
      <a:accent6>
        <a:srgbClr val="75C8CC"/>
      </a:accent6>
      <a:hlink>
        <a:srgbClr val="00B0F0"/>
      </a:hlink>
      <a:folHlink>
        <a:srgbClr val="00B0F0"/>
      </a:folHlink>
    </a:clrScheme>
    <a:fontScheme name="Paradoxes">
      <a:majorFont>
        <a:latin typeface="Century Gothic"/>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2" id="{871AEA6B-1B16-45A8-9DD0-AA9E1C8C1D29}" vid="{D8359B95-8102-40DB-8BA3-116E8ABFEA71}"/>
    </a:ext>
  </a:extLst>
</a:theme>
</file>

<file path=ppt/theme/theme5.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164A080E-0CA4-4411-B7D3-58E2EAA142CB}" vid="{99A8F926-7D70-481C-8571-3C86D5522C9D}"/>
    </a:ext>
  </a:extLst>
</a:theme>
</file>

<file path=ppt/theme/theme6.xml><?xml version="1.0" encoding="utf-8"?>
<a:theme xmlns:a="http://schemas.openxmlformats.org/drawingml/2006/main" name="1_COLOR TEMPLATE">
  <a:themeElements>
    <a:clrScheme name="Custom 2">
      <a:dk1>
        <a:srgbClr val="505050"/>
      </a:dk1>
      <a:lt1>
        <a:srgbClr val="FFFFFF"/>
      </a:lt1>
      <a:dk2>
        <a:srgbClr val="0078D8"/>
      </a:dk2>
      <a:lt2>
        <a:srgbClr val="02BBF3"/>
      </a:lt2>
      <a:accent1>
        <a:srgbClr val="0D7D0D"/>
      </a:accent1>
      <a:accent2>
        <a:srgbClr val="5C2E91"/>
      </a:accent2>
      <a:accent3>
        <a:srgbClr val="008272"/>
      </a:accent3>
      <a:accent4>
        <a:srgbClr val="D63B02"/>
      </a:accent4>
      <a:accent5>
        <a:srgbClr val="004B50"/>
      </a:accent5>
      <a:accent6>
        <a:srgbClr val="D83B01"/>
      </a:accent6>
      <a:hlink>
        <a:srgbClr val="0078D8"/>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7.xml><?xml version="1.0" encoding="utf-8"?>
<a:theme xmlns:a="http://schemas.openxmlformats.org/drawingml/2006/main" name="3-50155_May_Leadership_Summit_Template_Light">
  <a:themeElements>
    <a:clrScheme name="MSFT 5">
      <a:dk1>
        <a:srgbClr val="1A1A1A"/>
      </a:dk1>
      <a:lt1>
        <a:srgbClr val="FFFFFF"/>
      </a:lt1>
      <a:dk2>
        <a:srgbClr val="0D0D0D"/>
      </a:dk2>
      <a:lt2>
        <a:srgbClr val="E6E6E6"/>
      </a:lt2>
      <a:accent1>
        <a:srgbClr val="0078D4"/>
      </a:accent1>
      <a:accent2>
        <a:srgbClr val="8661C5"/>
      </a:accent2>
      <a:accent3>
        <a:srgbClr val="008575"/>
      </a:accent3>
      <a:accent4>
        <a:srgbClr val="50E6FF"/>
      </a:accent4>
      <a:accent5>
        <a:srgbClr val="243A5E"/>
      </a:accent5>
      <a:accent6>
        <a:srgbClr val="505050"/>
      </a:accent6>
      <a:hlink>
        <a:srgbClr val="0078D4"/>
      </a:hlink>
      <a:folHlink>
        <a:srgbClr val="0078D4"/>
      </a:folHlink>
    </a:clrScheme>
    <a:fontScheme name="Custom 18">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50155_May_Leadership_Summit_Template_Light" id="{8AB1FAB3-BC34-45FE-A463-5A78CF1250D2}" vid="{E1DB6A38-B1BC-41A6-A09A-21842CEB242F}"/>
    </a:ext>
  </a:extLst>
</a:theme>
</file>

<file path=ppt/theme/theme8.xml><?xml version="1.0" encoding="utf-8"?>
<a:theme xmlns:a="http://schemas.openxmlformats.org/drawingml/2006/main" name="1_3-50155_May_Leadership_Summit_Template_Light">
  <a:themeElements>
    <a:clrScheme name="MSFT 5">
      <a:dk1>
        <a:srgbClr val="1A1A1A"/>
      </a:dk1>
      <a:lt1>
        <a:srgbClr val="FFFFFF"/>
      </a:lt1>
      <a:dk2>
        <a:srgbClr val="0D0D0D"/>
      </a:dk2>
      <a:lt2>
        <a:srgbClr val="E6E6E6"/>
      </a:lt2>
      <a:accent1>
        <a:srgbClr val="0078D4"/>
      </a:accent1>
      <a:accent2>
        <a:srgbClr val="8661C5"/>
      </a:accent2>
      <a:accent3>
        <a:srgbClr val="008575"/>
      </a:accent3>
      <a:accent4>
        <a:srgbClr val="50E6FF"/>
      </a:accent4>
      <a:accent5>
        <a:srgbClr val="243A5E"/>
      </a:accent5>
      <a:accent6>
        <a:srgbClr val="505050"/>
      </a:accent6>
      <a:hlink>
        <a:srgbClr val="0078D4"/>
      </a:hlink>
      <a:folHlink>
        <a:srgbClr val="0078D4"/>
      </a:folHlink>
    </a:clrScheme>
    <a:fontScheme name="Custom 18">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50155_May_Leadership_Summit_Template_Light" id="{8AB1FAB3-BC34-45FE-A463-5A78CF1250D2}" vid="{E1DB6A38-B1BC-41A6-A09A-21842CEB242F}"/>
    </a:ext>
  </a:extLst>
</a:theme>
</file>

<file path=ppt/theme/theme9.xml><?xml version="1.0" encoding="utf-8"?>
<a:theme xmlns:a="http://schemas.openxmlformats.org/drawingml/2006/main" name="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D8982480EA72948A9BF02C7BFDBDDC0" ma:contentTypeVersion="8" ma:contentTypeDescription="Create a new document." ma:contentTypeScope="" ma:versionID="96c9d6b8b11b451249535aba0e11831b">
  <xsd:schema xmlns:xsd="http://www.w3.org/2001/XMLSchema" xmlns:xs="http://www.w3.org/2001/XMLSchema" xmlns:p="http://schemas.microsoft.com/office/2006/metadata/properties" xmlns:ns1="http://schemas.microsoft.com/sharepoint/v3" xmlns:ns2="5044789c-ea0d-40d6-8e0e-402cd974e1b5" xmlns:ns3="17784ca5-eeac-448a-ab50-62413c7a338e" targetNamespace="http://schemas.microsoft.com/office/2006/metadata/properties" ma:root="true" ma:fieldsID="12567415f5d2adf5269e4703bfbcbb5d" ns1:_="" ns2:_="" ns3:_="">
    <xsd:import namespace="http://schemas.microsoft.com/sharepoint/v3"/>
    <xsd:import namespace="5044789c-ea0d-40d6-8e0e-402cd974e1b5"/>
    <xsd:import namespace="17784ca5-eeac-448a-ab50-62413c7a338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044789c-ea0d-40d6-8e0e-402cd974e1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7784ca5-eeac-448a-ab50-62413c7a338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6BE66A-782B-4DB2-AC8F-9F54A71575F1}">
  <ds:schemaRefs>
    <ds:schemaRef ds:uri="http://www.w3.org/XML/1998/namespace"/>
    <ds:schemaRef ds:uri="http://schemas.microsoft.com/office/2006/metadata/properties"/>
    <ds:schemaRef ds:uri="http://schemas.microsoft.com/office/2006/documentManagement/types"/>
    <ds:schemaRef ds:uri="http://schemas.openxmlformats.org/package/2006/metadata/core-properties"/>
    <ds:schemaRef ds:uri="87ac91ba-6ca1-4065-9c39-674c07450c3f"/>
    <ds:schemaRef ds:uri="http://schemas.microsoft.com/office/infopath/2007/PartnerControls"/>
    <ds:schemaRef ds:uri="http://purl.org/dc/dcmitype/"/>
    <ds:schemaRef ds:uri="529cd750-95a0-4aff-9a64-be56ad262efd"/>
    <ds:schemaRef ds:uri="http://purl.org/dc/elements/1.1/"/>
    <ds:schemaRef ds:uri="http://schemas.microsoft.com/sharepoint/v3"/>
    <ds:schemaRef ds:uri="http://purl.org/dc/terms/"/>
  </ds:schemaRefs>
</ds:datastoreItem>
</file>

<file path=customXml/itemProps2.xml><?xml version="1.0" encoding="utf-8"?>
<ds:datastoreItem xmlns:ds="http://schemas.openxmlformats.org/officeDocument/2006/customXml" ds:itemID="{C47014F1-A6AA-41B7-9307-6CE4DB086A7A}">
  <ds:schemaRefs>
    <ds:schemaRef ds:uri="http://schemas.microsoft.com/sharepoint/v3/contenttype/forms"/>
  </ds:schemaRefs>
</ds:datastoreItem>
</file>

<file path=customXml/itemProps3.xml><?xml version="1.0" encoding="utf-8"?>
<ds:datastoreItem xmlns:ds="http://schemas.openxmlformats.org/officeDocument/2006/customXml" ds:itemID="{46D3941C-4365-4CE4-8E5B-A33A9D5B63BB}"/>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emplate>LeX_External_PowerPoint_073117_cs</Template>
  <TotalTime>0</TotalTime>
  <Words>1467</Words>
  <Application>Microsoft Office PowerPoint</Application>
  <PresentationFormat>Custom</PresentationFormat>
  <Paragraphs>284</Paragraphs>
  <Slides>37</Slides>
  <Notes>25</Notes>
  <HiddenSlides>2</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37</vt:i4>
      </vt:variant>
    </vt:vector>
  </HeadingPairs>
  <TitlesOfParts>
    <vt:vector size="59" baseType="lpstr">
      <vt:lpstr>Arial</vt:lpstr>
      <vt:lpstr>Calibri</vt:lpstr>
      <vt:lpstr>Calibri Light</vt:lpstr>
      <vt:lpstr>Century Gothic</vt:lpstr>
      <vt:lpstr>Consolas</vt:lpstr>
      <vt:lpstr>Segoe UI</vt:lpstr>
      <vt:lpstr>Segoe UI Light</vt:lpstr>
      <vt:lpstr>Segoe UI Semibold</vt:lpstr>
      <vt:lpstr>Segoe UI Semilight</vt:lpstr>
      <vt:lpstr>Symbol</vt:lpstr>
      <vt:lpstr>Trebuchet MS</vt:lpstr>
      <vt:lpstr>Wingdings</vt:lpstr>
      <vt:lpstr>Office Theme</vt:lpstr>
      <vt:lpstr>Dynamics 365</vt:lpstr>
      <vt:lpstr>3_WHITE TEMPLATE</vt:lpstr>
      <vt:lpstr>Theme2</vt:lpstr>
      <vt:lpstr>2_White Template</vt:lpstr>
      <vt:lpstr>1_COLOR TEMPLATE</vt:lpstr>
      <vt:lpstr>3-50155_May_Leadership_Summit_Template_Light</vt:lpstr>
      <vt:lpstr>1_3-50155_May_Leadership_Summit_Template_Light</vt:lpstr>
      <vt:lpstr>WHITE TEMPLATE</vt:lpstr>
      <vt:lpstr>think-cell Slide</vt:lpstr>
      <vt:lpstr>Note to Educators</vt:lpstr>
      <vt:lpstr>Microsoft Learn for Educators Virtual Educator Prep Session</vt:lpstr>
      <vt:lpstr>Welcome! Let’s get acquainted</vt:lpstr>
      <vt:lpstr>Welcome!</vt:lpstr>
      <vt:lpstr>Virtual Educator Prep Session expectations</vt:lpstr>
      <vt:lpstr>Introductions!</vt:lpstr>
      <vt:lpstr>Virtual Educator Prep Session agenda</vt:lpstr>
      <vt:lpstr>Resources</vt:lpstr>
      <vt:lpstr>Get ready!</vt:lpstr>
      <vt:lpstr>Overview of teaching materials on Learning Download Center</vt:lpstr>
      <vt:lpstr>Azure credits</vt:lpstr>
      <vt:lpstr>Accessibility </vt:lpstr>
      <vt:lpstr>Accessibility</vt:lpstr>
      <vt:lpstr>Overall approach</vt:lpstr>
      <vt:lpstr>Objective domains</vt:lpstr>
      <vt:lpstr>Certification areas (AZ-900)</vt:lpstr>
      <vt:lpstr>Overall approach – setting expectations</vt:lpstr>
      <vt:lpstr>Customize content to fit your environment</vt:lpstr>
      <vt:lpstr>Technical requirements</vt:lpstr>
      <vt:lpstr>Technical requirements for Educators and Students</vt:lpstr>
      <vt:lpstr>Course flow</vt:lpstr>
      <vt:lpstr>Going with the flow</vt:lpstr>
      <vt:lpstr>Module best practices </vt:lpstr>
      <vt:lpstr>Tips for Module 1 – Core Azure concepts</vt:lpstr>
      <vt:lpstr>Tips for Module 2 – Core Azure services</vt:lpstr>
      <vt:lpstr>Tips for Module 3 – Core solutions and management tools</vt:lpstr>
      <vt:lpstr>Tips for Module 4 – General security and network security features</vt:lpstr>
      <vt:lpstr>Tips for Module 5 – Identity, governance, privacy and compliance features</vt:lpstr>
      <vt:lpstr>Tips for Module 6 – Azure cost management and Service Level Agreements</vt:lpstr>
      <vt:lpstr>Demos &amp; labs</vt:lpstr>
      <vt:lpstr>Show me!</vt:lpstr>
      <vt:lpstr>Supplemental materials </vt:lpstr>
      <vt:lpstr>Supplemental materials</vt:lpstr>
      <vt:lpstr>Exam preparation</vt:lpstr>
      <vt:lpstr>Wrap up</vt:lpstr>
      <vt:lpstr>Take the surve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te to Educators</dc:title>
  <dc:creator/>
  <cp:lastModifiedBy/>
  <cp:revision>7</cp:revision>
  <dcterms:created xsi:type="dcterms:W3CDTF">2020-09-12T19:30:02Z</dcterms:created>
  <dcterms:modified xsi:type="dcterms:W3CDTF">2021-02-12T19:4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8982480EA72948A9BF02C7BFDBDDC0</vt:lpwstr>
  </property>
</Properties>
</file>